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0.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1.xml" ContentType="application/vnd.openxmlformats-officedocument.theme+xml"/>
  <Override PartName="/ppt/slideLayouts/slideLayout226.xml" ContentType="application/vnd.openxmlformats-officedocument.presentationml.slideLayout+xml"/>
  <Override PartName="/ppt/theme/theme12.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4.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15.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7.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comment1.xml" ContentType="application/vnd.openxmlformats-officedocument.presentationml.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681" r:id="rId6"/>
    <p:sldMasterId id="2147483706" r:id="rId7"/>
    <p:sldMasterId id="2147483729" r:id="rId8"/>
    <p:sldMasterId id="2147483739" r:id="rId9"/>
    <p:sldMasterId id="2147483768" r:id="rId10"/>
    <p:sldMasterId id="2147483797" r:id="rId11"/>
    <p:sldMasterId id="2147483826" r:id="rId12"/>
    <p:sldMasterId id="2147483837" r:id="rId13"/>
    <p:sldMasterId id="2147483841" r:id="rId14"/>
    <p:sldMasterId id="2147483880" r:id="rId15"/>
    <p:sldMasterId id="2147483882" r:id="rId16"/>
    <p:sldMasterId id="2147483925" r:id="rId17"/>
    <p:sldMasterId id="2147483943" r:id="rId18"/>
    <p:sldMasterId id="2147483966" r:id="rId19"/>
    <p:sldMasterId id="2147483987" r:id="rId20"/>
    <p:sldMasterId id="2147484010" r:id="rId21"/>
    <p:sldMasterId id="2147484037" r:id="rId22"/>
  </p:sldMasterIdLst>
  <p:notesMasterIdLst>
    <p:notesMasterId r:id="rId77"/>
  </p:notesMasterIdLst>
  <p:sldIdLst>
    <p:sldId id="8111" r:id="rId23"/>
    <p:sldId id="8118" r:id="rId24"/>
    <p:sldId id="4132" r:id="rId25"/>
    <p:sldId id="8143" r:id="rId26"/>
    <p:sldId id="8134" r:id="rId27"/>
    <p:sldId id="4225" r:id="rId28"/>
    <p:sldId id="371" r:id="rId29"/>
    <p:sldId id="8144" r:id="rId30"/>
    <p:sldId id="2545" r:id="rId31"/>
    <p:sldId id="8120" r:id="rId32"/>
    <p:sldId id="8122" r:id="rId33"/>
    <p:sldId id="8287" r:id="rId34"/>
    <p:sldId id="8288" r:id="rId35"/>
    <p:sldId id="8289" r:id="rId36"/>
    <p:sldId id="8290" r:id="rId37"/>
    <p:sldId id="8139" r:id="rId38"/>
    <p:sldId id="4130" r:id="rId39"/>
    <p:sldId id="4248" r:id="rId40"/>
    <p:sldId id="4250" r:id="rId41"/>
    <p:sldId id="4249" r:id="rId42"/>
    <p:sldId id="8146" r:id="rId43"/>
    <p:sldId id="8148" r:id="rId44"/>
    <p:sldId id="8147" r:id="rId45"/>
    <p:sldId id="8132" r:id="rId46"/>
    <p:sldId id="3467" r:id="rId47"/>
    <p:sldId id="1268" r:id="rId48"/>
    <p:sldId id="4251" r:id="rId49"/>
    <p:sldId id="8126" r:id="rId50"/>
    <p:sldId id="3676" r:id="rId51"/>
    <p:sldId id="4142" r:id="rId52"/>
    <p:sldId id="8285" r:id="rId53"/>
    <p:sldId id="8150" r:id="rId54"/>
    <p:sldId id="8294" r:id="rId55"/>
    <p:sldId id="8297" r:id="rId56"/>
    <p:sldId id="289" r:id="rId57"/>
    <p:sldId id="8292" r:id="rId58"/>
    <p:sldId id="8291" r:id="rId59"/>
    <p:sldId id="8293" r:id="rId60"/>
    <p:sldId id="8138" r:id="rId61"/>
    <p:sldId id="4143" r:id="rId62"/>
    <p:sldId id="3677" r:id="rId63"/>
    <p:sldId id="8127" r:id="rId64"/>
    <p:sldId id="4254" r:id="rId65"/>
    <p:sldId id="4253" r:id="rId66"/>
    <p:sldId id="8109" r:id="rId67"/>
    <p:sldId id="8130" r:id="rId68"/>
    <p:sldId id="8140" r:id="rId69"/>
    <p:sldId id="8295" r:id="rId70"/>
    <p:sldId id="8131" r:id="rId71"/>
    <p:sldId id="4255" r:id="rId72"/>
    <p:sldId id="4772" r:id="rId73"/>
    <p:sldId id="4771" r:id="rId74"/>
    <p:sldId id="4773" r:id="rId75"/>
    <p:sldId id="3559" r:id="rId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D'Orazio" initials="KD" lastIdx="16" clrIdx="0">
    <p:extLst>
      <p:ext uri="{19B8F6BF-5375-455C-9EA6-DF929625EA0E}">
        <p15:presenceInfo xmlns:p15="http://schemas.microsoft.com/office/powerpoint/2012/main" userId="S::kador@microsoft.com::2e4d3ada-6011-4411-9f1b-b25d6046d2a8" providerId="AD"/>
      </p:ext>
    </p:extLst>
  </p:cmAuthor>
  <p:cmAuthor id="2" name="Sebastien Le Calvez" initials="SLC" lastIdx="1" clrIdx="1">
    <p:extLst>
      <p:ext uri="{19B8F6BF-5375-455C-9EA6-DF929625EA0E}">
        <p15:presenceInfo xmlns:p15="http://schemas.microsoft.com/office/powerpoint/2012/main" userId="Sebastien Le Calve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0505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5676D6-5881-4FC0-AC1A-77F4F4D781FE}" v="1" dt="2019-12-02T13:05:35.9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1" d="100"/>
          <a:sy n="111" d="100"/>
        </p:scale>
        <p:origin x="252"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microsoft.com/office/2015/10/relationships/revisionInfo" Target="revisionInfo.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39.xml"/><Relationship Id="rId82" Type="http://schemas.openxmlformats.org/officeDocument/2006/relationships/tableStyles" Target="tableStyle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7" Type="http://schemas.openxmlformats.org/officeDocument/2006/relationships/slideMaster" Target="slideMasters/slideMaster4.xml"/><Relationship Id="rId71" Type="http://schemas.openxmlformats.org/officeDocument/2006/relationships/slide" Target="slides/slide49.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lentina Coria" userId="S::vacoria@microsoft.com::ee7ec395-16af-48ae-b3ba-f457c559f645" providerId="AD" clId="Web-{CE1FBEC0-892B-4190-BD6F-2EB019EEB0D7}"/>
    <pc:docChg chg="modSld">
      <pc:chgData name="Valentina Coria" userId="S::vacoria@microsoft.com::ee7ec395-16af-48ae-b3ba-f457c559f645" providerId="AD" clId="Web-{CE1FBEC0-892B-4190-BD6F-2EB019EEB0D7}" dt="2019-02-03T19:22:03.569" v="0" actId="1076"/>
      <pc:docMkLst>
        <pc:docMk/>
      </pc:docMkLst>
      <pc:sldChg chg="modSp">
        <pc:chgData name="Valentina Coria" userId="S::vacoria@microsoft.com::ee7ec395-16af-48ae-b3ba-f457c559f645" providerId="AD" clId="Web-{CE1FBEC0-892B-4190-BD6F-2EB019EEB0D7}" dt="2019-02-03T19:22:03.569" v="0" actId="1076"/>
        <pc:sldMkLst>
          <pc:docMk/>
          <pc:sldMk cId="172171424" sldId="4225"/>
        </pc:sldMkLst>
        <pc:spChg chg="mod">
          <ac:chgData name="Valentina Coria" userId="S::vacoria@microsoft.com::ee7ec395-16af-48ae-b3ba-f457c559f645" providerId="AD" clId="Web-{CE1FBEC0-892B-4190-BD6F-2EB019EEB0D7}" dt="2019-02-03T19:22:03.569" v="0" actId="1076"/>
          <ac:spMkLst>
            <pc:docMk/>
            <pc:sldMk cId="172171424" sldId="4225"/>
            <ac:spMk id="18" creationId="{4C9B031F-3680-4114-B91B-ECBA58802179}"/>
          </ac:spMkLst>
        </pc:spChg>
      </pc:sldChg>
    </pc:docChg>
  </pc:docChgLst>
  <pc:docChgLst>
    <pc:chgData name="Ankur Mishra" userId="0299fa9c-90dc-481e-8c01-9fdf2a3b2eb1" providerId="ADAL" clId="{FA386AA1-21DB-4AC8-9E12-FB85A5A7DF41}"/>
    <pc:docChg chg="modSld">
      <pc:chgData name="Ankur Mishra" userId="0299fa9c-90dc-481e-8c01-9fdf2a3b2eb1" providerId="ADAL" clId="{FA386AA1-21DB-4AC8-9E12-FB85A5A7DF41}" dt="2019-02-11T18:49:28.805" v="0"/>
      <pc:docMkLst>
        <pc:docMk/>
      </pc:docMkLst>
      <pc:sldChg chg="modTransition">
        <pc:chgData name="Ankur Mishra" userId="0299fa9c-90dc-481e-8c01-9fdf2a3b2eb1" providerId="ADAL" clId="{FA386AA1-21DB-4AC8-9E12-FB85A5A7DF41}" dt="2019-02-11T18:49:28.805" v="0"/>
        <pc:sldMkLst>
          <pc:docMk/>
          <pc:sldMk cId="4294166853" sldId="371"/>
        </pc:sldMkLst>
      </pc:sldChg>
    </pc:docChg>
  </pc:docChgLst>
  <pc:docChgLst>
    <pc:chgData name="Lisa Schnitzius" userId="adc2a09d-8ecc-4a9a-b08a-3814ab83a7e9" providerId="ADAL" clId="{15F2AE0D-5F69-4C6D-93FA-BF048B343C89}"/>
    <pc:docChg chg="addSld delSld modSld">
      <pc:chgData name="Lisa Schnitzius" userId="adc2a09d-8ecc-4a9a-b08a-3814ab83a7e9" providerId="ADAL" clId="{15F2AE0D-5F69-4C6D-93FA-BF048B343C89}" dt="2019-02-04T22:20:47.963" v="1"/>
      <pc:docMkLst>
        <pc:docMk/>
      </pc:docMkLst>
      <pc:sldChg chg="add del">
        <pc:chgData name="Lisa Schnitzius" userId="adc2a09d-8ecc-4a9a-b08a-3814ab83a7e9" providerId="ADAL" clId="{15F2AE0D-5F69-4C6D-93FA-BF048B343C89}" dt="2019-02-04T22:20:47.963" v="1"/>
        <pc:sldMkLst>
          <pc:docMk/>
          <pc:sldMk cId="3133898935" sldId="8298"/>
        </pc:sldMkLst>
      </pc:sldChg>
    </pc:docChg>
  </pc:docChgLst>
  <pc:docChgLst>
    <pc:chgData name="Arwa Kaddoura" userId="S::arkadd@microsoft.com::5941276e-39f6-4b18-be93-b2ac3ad32a46" providerId="AD" clId="Web-{FE058EAE-9CEA-4559-91E8-9DB6B0EBB82F}"/>
    <pc:docChg chg="modSld">
      <pc:chgData name="Arwa Kaddoura" userId="S::arkadd@microsoft.com::5941276e-39f6-4b18-be93-b2ac3ad32a46" providerId="AD" clId="Web-{FE058EAE-9CEA-4559-91E8-9DB6B0EBB82F}" dt="2019-02-13T22:23:44.560" v="3" actId="20577"/>
      <pc:docMkLst>
        <pc:docMk/>
      </pc:docMkLst>
      <pc:sldChg chg="modSp">
        <pc:chgData name="Arwa Kaddoura" userId="S::arkadd@microsoft.com::5941276e-39f6-4b18-be93-b2ac3ad32a46" providerId="AD" clId="Web-{FE058EAE-9CEA-4559-91E8-9DB6B0EBB82F}" dt="2019-02-13T22:23:44.560" v="2" actId="20577"/>
        <pc:sldMkLst>
          <pc:docMk/>
          <pc:sldMk cId="845823551" sldId="4248"/>
        </pc:sldMkLst>
        <pc:spChg chg="mod">
          <ac:chgData name="Arwa Kaddoura" userId="S::arkadd@microsoft.com::5941276e-39f6-4b18-be93-b2ac3ad32a46" providerId="AD" clId="Web-{FE058EAE-9CEA-4559-91E8-9DB6B0EBB82F}" dt="2019-02-13T22:23:44.560" v="2" actId="20577"/>
          <ac:spMkLst>
            <pc:docMk/>
            <pc:sldMk cId="845823551" sldId="4248"/>
            <ac:spMk id="2" creationId="{B7BEF25B-8F33-4CB2-87BF-DD4CDD8FC209}"/>
          </ac:spMkLst>
        </pc:spChg>
      </pc:sldChg>
    </pc:docChg>
  </pc:docChgLst>
  <pc:docChgLst>
    <pc:chgData name="James Byun" userId="d16249b9-0599-488a-8956-8583d14383ee" providerId="ADAL" clId="{C45676D6-5881-4FC0-AC1A-77F4F4D781FE}"/>
    <pc:docChg chg="modSld sldOrd">
      <pc:chgData name="James Byun" userId="d16249b9-0599-488a-8956-8583d14383ee" providerId="ADAL" clId="{C45676D6-5881-4FC0-AC1A-77F4F4D781FE}" dt="2019-12-02T13:05:25.814" v="1"/>
      <pc:docMkLst>
        <pc:docMk/>
      </pc:docMkLst>
      <pc:sldChg chg="ord">
        <pc:chgData name="James Byun" userId="d16249b9-0599-488a-8956-8583d14383ee" providerId="ADAL" clId="{C45676D6-5881-4FC0-AC1A-77F4F4D781FE}" dt="2019-12-02T13:05:25.814" v="1"/>
        <pc:sldMkLst>
          <pc:docMk/>
          <pc:sldMk cId="4294166853" sldId="371"/>
        </pc:sldMkLst>
      </pc:sldChg>
    </pc:docChg>
  </pc:docChgLst>
  <pc:docChgLst>
    <pc:chgData name="Lia Taylor" userId="2ccad05f-5017-4e2b-87e4-bbc6d22f4e64" providerId="ADAL" clId="{5D8D3AB3-4B72-4147-AB5F-4974BAA18A23}"/>
    <pc:docChg chg="custSel modSld">
      <pc:chgData name="Lia Taylor" userId="2ccad05f-5017-4e2b-87e4-bbc6d22f4e64" providerId="ADAL" clId="{5D8D3AB3-4B72-4147-AB5F-4974BAA18A23}" dt="2019-03-25T23:27:46.715" v="12" actId="5793"/>
      <pc:docMkLst>
        <pc:docMk/>
      </pc:docMkLst>
      <pc:sldChg chg="addSp delSp modSp">
        <pc:chgData name="Lia Taylor" userId="2ccad05f-5017-4e2b-87e4-bbc6d22f4e64" providerId="ADAL" clId="{5D8D3AB3-4B72-4147-AB5F-4974BAA18A23}" dt="2019-03-25T23:27:46.715" v="12" actId="5793"/>
        <pc:sldMkLst>
          <pc:docMk/>
          <pc:sldMk cId="4294166853" sldId="371"/>
        </pc:sldMkLst>
        <pc:spChg chg="mod">
          <ac:chgData name="Lia Taylor" userId="2ccad05f-5017-4e2b-87e4-bbc6d22f4e64" providerId="ADAL" clId="{5D8D3AB3-4B72-4147-AB5F-4974BAA18A23}" dt="2019-03-25T23:27:46.715" v="12" actId="5793"/>
          <ac:spMkLst>
            <pc:docMk/>
            <pc:sldMk cId="4294166853" sldId="371"/>
            <ac:spMk id="11" creationId="{60D6C504-9B31-44FE-A75C-95FD0E10376D}"/>
          </ac:spMkLst>
        </pc:spChg>
        <pc:picChg chg="del">
          <ac:chgData name="Lia Taylor" userId="2ccad05f-5017-4e2b-87e4-bbc6d22f4e64" providerId="ADAL" clId="{5D8D3AB3-4B72-4147-AB5F-4974BAA18A23}" dt="2019-03-19T20:55:24.159" v="2" actId="478"/>
          <ac:picMkLst>
            <pc:docMk/>
            <pc:sldMk cId="4294166853" sldId="371"/>
            <ac:picMk id="3" creationId="{8A274115-A6F7-4978-B728-A51E68C8E2DD}"/>
          </ac:picMkLst>
        </pc:picChg>
        <pc:picChg chg="add mod modCrop">
          <ac:chgData name="Lia Taylor" userId="2ccad05f-5017-4e2b-87e4-bbc6d22f4e64" providerId="ADAL" clId="{5D8D3AB3-4B72-4147-AB5F-4974BAA18A23}" dt="2019-03-19T20:55:56.566" v="9" actId="14100"/>
          <ac:picMkLst>
            <pc:docMk/>
            <pc:sldMk cId="4294166853" sldId="371"/>
            <ac:picMk id="4" creationId="{1CA45C9D-57E5-4B2D-ACE2-00831B49C990}"/>
          </ac:picMkLst>
        </pc:picChg>
      </pc:sldChg>
      <pc:sldChg chg="modSp">
        <pc:chgData name="Lia Taylor" userId="2ccad05f-5017-4e2b-87e4-bbc6d22f4e64" providerId="ADAL" clId="{5D8D3AB3-4B72-4147-AB5F-4974BAA18A23}" dt="2019-03-18T18:25:13.777" v="1" actId="20577"/>
        <pc:sldMkLst>
          <pc:docMk/>
          <pc:sldMk cId="2548039390" sldId="8138"/>
        </pc:sldMkLst>
        <pc:graphicFrameChg chg="modGraphic">
          <ac:chgData name="Lia Taylor" userId="2ccad05f-5017-4e2b-87e4-bbc6d22f4e64" providerId="ADAL" clId="{5D8D3AB3-4B72-4147-AB5F-4974BAA18A23}" dt="2019-03-18T18:25:13.777" v="1" actId="20577"/>
          <ac:graphicFrameMkLst>
            <pc:docMk/>
            <pc:sldMk cId="2548039390" sldId="8138"/>
            <ac:graphicFrameMk id="13" creationId="{C0020E4D-D77C-46DA-ACFE-36C81995D9F2}"/>
          </ac:graphicFrameMkLst>
        </pc:graphicFrameChg>
      </pc:sldChg>
      <pc:sldChg chg="modSp">
        <pc:chgData name="Lia Taylor" userId="2ccad05f-5017-4e2b-87e4-bbc6d22f4e64" providerId="ADAL" clId="{5D8D3AB3-4B72-4147-AB5F-4974BAA18A23}" dt="2019-03-20T00:11:59.330" v="11" actId="20577"/>
        <pc:sldMkLst>
          <pc:docMk/>
          <pc:sldMk cId="411881949" sldId="8285"/>
        </pc:sldMkLst>
        <pc:spChg chg="mod">
          <ac:chgData name="Lia Taylor" userId="2ccad05f-5017-4e2b-87e4-bbc6d22f4e64" providerId="ADAL" clId="{5D8D3AB3-4B72-4147-AB5F-4974BAA18A23}" dt="2019-03-20T00:11:59.330" v="11" actId="20577"/>
          <ac:spMkLst>
            <pc:docMk/>
            <pc:sldMk cId="411881949" sldId="8285"/>
            <ac:spMk id="8" creationId="{D80A8C82-7FB5-4500-A7CF-D522289183CF}"/>
          </ac:spMkLst>
        </pc:spChg>
      </pc:sldChg>
    </pc:docChg>
  </pc:docChgLst>
  <pc:docChgLst>
    <pc:chgData name="Jek Hermida" userId="S::jhermida@microsoft.com::16d50755-a1a4-466d-afef-045937f27829" providerId="AD" clId="Web-{387EE8DE-422B-4583-8EAA-4252F7A3598E}"/>
    <pc:docChg chg="sldOrd">
      <pc:chgData name="Jek Hermida" userId="S::jhermida@microsoft.com::16d50755-a1a4-466d-afef-045937f27829" providerId="AD" clId="Web-{387EE8DE-422B-4583-8EAA-4252F7A3598E}" dt="2019-01-07T23:04:35.545" v="0"/>
      <pc:docMkLst>
        <pc:docMk/>
      </pc:docMkLst>
      <pc:sldChg chg="ord">
        <pc:chgData name="Jek Hermida" userId="S::jhermida@microsoft.com::16d50755-a1a4-466d-afef-045937f27829" providerId="AD" clId="Web-{387EE8DE-422B-4583-8EAA-4252F7A3598E}" dt="2019-01-07T23:04:35.545" v="0"/>
        <pc:sldMkLst>
          <pc:docMk/>
          <pc:sldMk cId="1214537133" sldId="8150"/>
        </pc:sldMkLst>
      </pc:sldChg>
    </pc:docChg>
  </pc:docChgLst>
  <pc:docChgLst>
    <pc:chgData name="Sebastien Le Calvez" userId="5b868893-6501-4a03-9fae-d428d31169d0" providerId="ADAL" clId="{AFCA53B3-A882-4F4E-A5EB-030A125B5466}"/>
    <pc:docChg chg="custSel modSld">
      <pc:chgData name="Sebastien Le Calvez" userId="5b868893-6501-4a03-9fae-d428d31169d0" providerId="ADAL" clId="{AFCA53B3-A882-4F4E-A5EB-030A125B5466}" dt="2018-12-17T19:13:30.705" v="4" actId="790"/>
      <pc:docMkLst>
        <pc:docMk/>
      </pc:docMkLst>
      <pc:sldChg chg="modSp">
        <pc:chgData name="Sebastien Le Calvez" userId="5b868893-6501-4a03-9fae-d428d31169d0" providerId="ADAL" clId="{AFCA53B3-A882-4F4E-A5EB-030A125B5466}" dt="2018-12-17T19:13:30.705" v="4" actId="790"/>
        <pc:sldMkLst>
          <pc:docMk/>
          <pc:sldMk cId="1748051645" sldId="8122"/>
        </pc:sldMkLst>
        <pc:spChg chg="mod">
          <ac:chgData name="Sebastien Le Calvez" userId="5b868893-6501-4a03-9fae-d428d31169d0" providerId="ADAL" clId="{AFCA53B3-A882-4F4E-A5EB-030A125B5466}" dt="2018-12-17T19:13:30.705" v="4" actId="790"/>
          <ac:spMkLst>
            <pc:docMk/>
            <pc:sldMk cId="1748051645" sldId="8122"/>
            <ac:spMk id="42" creationId="{3CF4105B-F038-45C0-95F5-A4E70D4DE56E}"/>
          </ac:spMkLst>
        </pc:spChg>
      </pc:sldChg>
      <pc:sldChg chg="modSp addCm modCm">
        <pc:chgData name="Sebastien Le Calvez" userId="5b868893-6501-4a03-9fae-d428d31169d0" providerId="ADAL" clId="{AFCA53B3-A882-4F4E-A5EB-030A125B5466}" dt="2018-12-14T18:46:44.857" v="3"/>
        <pc:sldMkLst>
          <pc:docMk/>
          <pc:sldMk cId="2548039390" sldId="8138"/>
        </pc:sldMkLst>
        <pc:graphicFrameChg chg="modGraphic">
          <ac:chgData name="Sebastien Le Calvez" userId="5b868893-6501-4a03-9fae-d428d31169d0" providerId="ADAL" clId="{AFCA53B3-A882-4F4E-A5EB-030A125B5466}" dt="2018-12-14T18:43:55.838" v="1" actId="207"/>
          <ac:graphicFrameMkLst>
            <pc:docMk/>
            <pc:sldMk cId="2548039390" sldId="8138"/>
            <ac:graphicFrameMk id="18" creationId="{3CB292CB-0425-4E3B-B13F-66D141E109D9}"/>
          </ac:graphicFrameMkLst>
        </pc:graphicFrameChg>
      </pc:sldChg>
    </pc:docChg>
  </pc:docChgLst>
  <pc:docChgLst>
    <pc:chgData name="Ling Yi Chang" userId="0b504e5b-6e89-41d2-bd5c-e143a14b69c6" providerId="ADAL" clId="{01670D5B-3384-4638-8799-48290C3AD831}"/>
    <pc:docChg chg="modSld">
      <pc:chgData name="Ling Yi Chang" userId="0b504e5b-6e89-41d2-bd5c-e143a14b69c6" providerId="ADAL" clId="{01670D5B-3384-4638-8799-48290C3AD831}" dt="2019-08-21T15:56:55.061" v="0" actId="14100"/>
      <pc:docMkLst>
        <pc:docMk/>
      </pc:docMkLst>
      <pc:sldChg chg="modSp">
        <pc:chgData name="Ling Yi Chang" userId="0b504e5b-6e89-41d2-bd5c-e143a14b69c6" providerId="ADAL" clId="{01670D5B-3384-4638-8799-48290C3AD831}" dt="2019-08-21T15:56:55.061" v="0" actId="14100"/>
        <pc:sldMkLst>
          <pc:docMk/>
          <pc:sldMk cId="647999187" sldId="4773"/>
        </pc:sldMkLst>
        <pc:graphicFrameChg chg="mod modGraphic">
          <ac:chgData name="Ling Yi Chang" userId="0b504e5b-6e89-41d2-bd5c-e143a14b69c6" providerId="ADAL" clId="{01670D5B-3384-4638-8799-48290C3AD831}" dt="2019-08-21T15:56:55.061" v="0" actId="14100"/>
          <ac:graphicFrameMkLst>
            <pc:docMk/>
            <pc:sldMk cId="647999187" sldId="4773"/>
            <ac:graphicFrameMk id="10" creationId="{5BE18670-2D11-4FAD-B5BB-958F6157CD2E}"/>
          </ac:graphicFrameMkLst>
        </pc:graphicFrameChg>
      </pc:sldChg>
    </pc:docChg>
  </pc:docChgLst>
  <pc:docChgLst>
    <pc:chgData name="Lia Taylor" userId="2ccad05f-5017-4e2b-87e4-bbc6d22f4e64" providerId="ADAL" clId="{F700537D-3675-41CA-A525-EB2E79DB2D9A}"/>
    <pc:docChg chg="undo redo custSel mod addSld delSld modSld sldOrd delMainMaster">
      <pc:chgData name="Lia Taylor" userId="2ccad05f-5017-4e2b-87e4-bbc6d22f4e64" providerId="ADAL" clId="{F700537D-3675-41CA-A525-EB2E79DB2D9A}" dt="2018-12-13T22:44:52.789" v="7419" actId="20577"/>
      <pc:docMkLst>
        <pc:docMk/>
      </pc:docMkLst>
      <pc:sldChg chg="del">
        <pc:chgData name="Lia Taylor" userId="2ccad05f-5017-4e2b-87e4-bbc6d22f4e64" providerId="ADAL" clId="{F700537D-3675-41CA-A525-EB2E79DB2D9A}" dt="2018-12-04T21:26:25.018" v="2" actId="2696"/>
        <pc:sldMkLst>
          <pc:docMk/>
          <pc:sldMk cId="1005123640" sldId="256"/>
        </pc:sldMkLst>
      </pc:sldChg>
      <pc:sldChg chg="add del">
        <pc:chgData name="Lia Taylor" userId="2ccad05f-5017-4e2b-87e4-bbc6d22f4e64" providerId="ADAL" clId="{F700537D-3675-41CA-A525-EB2E79DB2D9A}" dt="2018-12-10T21:32:42.662" v="4456" actId="2696"/>
        <pc:sldMkLst>
          <pc:docMk/>
          <pc:sldMk cId="3576887583" sldId="259"/>
        </pc:sldMkLst>
      </pc:sldChg>
      <pc:sldChg chg="add del">
        <pc:chgData name="Lia Taylor" userId="2ccad05f-5017-4e2b-87e4-bbc6d22f4e64" providerId="ADAL" clId="{F700537D-3675-41CA-A525-EB2E79DB2D9A}" dt="2018-12-10T21:32:43.409" v="4467" actId="2696"/>
        <pc:sldMkLst>
          <pc:docMk/>
          <pc:sldMk cId="990107307" sldId="262"/>
        </pc:sldMkLst>
      </pc:sldChg>
      <pc:sldChg chg="del">
        <pc:chgData name="Lia Taylor" userId="2ccad05f-5017-4e2b-87e4-bbc6d22f4e64" providerId="ADAL" clId="{F700537D-3675-41CA-A525-EB2E79DB2D9A}" dt="2018-12-05T19:57:29.942" v="1238" actId="2696"/>
        <pc:sldMkLst>
          <pc:docMk/>
          <pc:sldMk cId="1927023829" sldId="262"/>
        </pc:sldMkLst>
      </pc:sldChg>
      <pc:sldChg chg="add del">
        <pc:chgData name="Lia Taylor" userId="2ccad05f-5017-4e2b-87e4-bbc6d22f4e64" providerId="ADAL" clId="{F700537D-3675-41CA-A525-EB2E79DB2D9A}" dt="2018-12-12T17:47:50.055" v="6468" actId="2696"/>
        <pc:sldMkLst>
          <pc:docMk/>
          <pc:sldMk cId="1034541420" sldId="316"/>
        </pc:sldMkLst>
      </pc:sldChg>
      <pc:sldChg chg="add del">
        <pc:chgData name="Lia Taylor" userId="2ccad05f-5017-4e2b-87e4-bbc6d22f4e64" providerId="ADAL" clId="{F700537D-3675-41CA-A525-EB2E79DB2D9A}" dt="2018-12-13T22:41:05.015" v="7203"/>
        <pc:sldMkLst>
          <pc:docMk/>
          <pc:sldMk cId="2634557664" sldId="371"/>
        </pc:sldMkLst>
      </pc:sldChg>
      <pc:sldChg chg="addSp delSp modSp del">
        <pc:chgData name="Lia Taylor" userId="2ccad05f-5017-4e2b-87e4-bbc6d22f4e64" providerId="ADAL" clId="{F700537D-3675-41CA-A525-EB2E79DB2D9A}" dt="2018-12-13T22:40:50.127" v="7201" actId="2696"/>
        <pc:sldMkLst>
          <pc:docMk/>
          <pc:sldMk cId="4118601710" sldId="371"/>
        </pc:sldMkLst>
        <pc:spChg chg="mod">
          <ac:chgData name="Lia Taylor" userId="2ccad05f-5017-4e2b-87e4-bbc6d22f4e64" providerId="ADAL" clId="{F700537D-3675-41CA-A525-EB2E79DB2D9A}" dt="2018-12-09T18:50:15.080" v="3525" actId="207"/>
          <ac:spMkLst>
            <pc:docMk/>
            <pc:sldMk cId="4118601710" sldId="371"/>
            <ac:spMk id="2" creationId="{86F4C7C8-3C27-4976-887C-A0BDFFF08841}"/>
          </ac:spMkLst>
        </pc:spChg>
        <pc:spChg chg="del">
          <ac:chgData name="Lia Taylor" userId="2ccad05f-5017-4e2b-87e4-bbc6d22f4e64" providerId="ADAL" clId="{F700537D-3675-41CA-A525-EB2E79DB2D9A}" dt="2018-12-12T17:48:06.526" v="6477" actId="478"/>
          <ac:spMkLst>
            <pc:docMk/>
            <pc:sldMk cId="4118601710" sldId="371"/>
            <ac:spMk id="4" creationId="{238D702C-58EA-4AAD-B3B4-C95A666A9E80}"/>
          </ac:spMkLst>
        </pc:spChg>
        <pc:spChg chg="del">
          <ac:chgData name="Lia Taylor" userId="2ccad05f-5017-4e2b-87e4-bbc6d22f4e64" providerId="ADAL" clId="{F700537D-3675-41CA-A525-EB2E79DB2D9A}" dt="2018-12-12T01:11:46.254" v="6239" actId="478"/>
          <ac:spMkLst>
            <pc:docMk/>
            <pc:sldMk cId="4118601710" sldId="371"/>
            <ac:spMk id="5" creationId="{4CB6A880-A892-4716-9119-CEB4CDDE5B59}"/>
          </ac:spMkLst>
        </pc:spChg>
        <pc:spChg chg="mod">
          <ac:chgData name="Lia Taylor" userId="2ccad05f-5017-4e2b-87e4-bbc6d22f4e64" providerId="ADAL" clId="{F700537D-3675-41CA-A525-EB2E79DB2D9A}" dt="2018-12-09T18:50:28.089" v="3526" actId="207"/>
          <ac:spMkLst>
            <pc:docMk/>
            <pc:sldMk cId="4118601710" sldId="371"/>
            <ac:spMk id="9" creationId="{E09A0AE9-B605-4629-AE92-2AF2B2153376}"/>
          </ac:spMkLst>
        </pc:spChg>
        <pc:spChg chg="mod">
          <ac:chgData name="Lia Taylor" userId="2ccad05f-5017-4e2b-87e4-bbc6d22f4e64" providerId="ADAL" clId="{F700537D-3675-41CA-A525-EB2E79DB2D9A}" dt="2018-12-12T01:10:44.587" v="6236" actId="20577"/>
          <ac:spMkLst>
            <pc:docMk/>
            <pc:sldMk cId="4118601710" sldId="371"/>
            <ac:spMk id="11" creationId="{60D6C504-9B31-44FE-A75C-95FD0E10376D}"/>
          </ac:spMkLst>
        </pc:spChg>
        <pc:spChg chg="del">
          <ac:chgData name="Lia Taylor" userId="2ccad05f-5017-4e2b-87e4-bbc6d22f4e64" providerId="ADAL" clId="{F700537D-3675-41CA-A525-EB2E79DB2D9A}" dt="2018-12-09T18:43:28.497" v="3455" actId="478"/>
          <ac:spMkLst>
            <pc:docMk/>
            <pc:sldMk cId="4118601710" sldId="371"/>
            <ac:spMk id="12" creationId="{F3C51380-B72A-4013-9215-417D3D0ECFA2}"/>
          </ac:spMkLst>
        </pc:spChg>
        <pc:spChg chg="mod">
          <ac:chgData name="Lia Taylor" userId="2ccad05f-5017-4e2b-87e4-bbc6d22f4e64" providerId="ADAL" clId="{F700537D-3675-41CA-A525-EB2E79DB2D9A}" dt="2018-12-12T01:11:41.529" v="6238" actId="1076"/>
          <ac:spMkLst>
            <pc:docMk/>
            <pc:sldMk cId="4118601710" sldId="371"/>
            <ac:spMk id="13" creationId="{0B811BF8-DA8E-4DF3-B828-2C2403690D69}"/>
          </ac:spMkLst>
        </pc:spChg>
        <pc:picChg chg="add mod modCrop">
          <ac:chgData name="Lia Taylor" userId="2ccad05f-5017-4e2b-87e4-bbc6d22f4e64" providerId="ADAL" clId="{F700537D-3675-41CA-A525-EB2E79DB2D9A}" dt="2018-12-09T19:50:42.651" v="4338" actId="1076"/>
          <ac:picMkLst>
            <pc:docMk/>
            <pc:sldMk cId="4118601710" sldId="371"/>
            <ac:picMk id="3" creationId="{8A274115-A6F7-4978-B728-A51E68C8E2DD}"/>
          </ac:picMkLst>
        </pc:picChg>
      </pc:sldChg>
      <pc:sldChg chg="modSp add">
        <pc:chgData name="Lia Taylor" userId="2ccad05f-5017-4e2b-87e4-bbc6d22f4e64" providerId="ADAL" clId="{F700537D-3675-41CA-A525-EB2E79DB2D9A}" dt="2018-12-13T22:44:52.789" v="7419" actId="20577"/>
        <pc:sldMkLst>
          <pc:docMk/>
          <pc:sldMk cId="4294166853" sldId="371"/>
        </pc:sldMkLst>
        <pc:spChg chg="mod">
          <ac:chgData name="Lia Taylor" userId="2ccad05f-5017-4e2b-87e4-bbc6d22f4e64" providerId="ADAL" clId="{F700537D-3675-41CA-A525-EB2E79DB2D9A}" dt="2018-12-13T22:44:52.789" v="7419" actId="20577"/>
          <ac:spMkLst>
            <pc:docMk/>
            <pc:sldMk cId="4294166853" sldId="371"/>
            <ac:spMk id="9" creationId="{E09A0AE9-B605-4629-AE92-2AF2B2153376}"/>
          </ac:spMkLst>
        </pc:spChg>
      </pc:sldChg>
      <pc:sldChg chg="add del">
        <pc:chgData name="Lia Taylor" userId="2ccad05f-5017-4e2b-87e4-bbc6d22f4e64" providerId="ADAL" clId="{F700537D-3675-41CA-A525-EB2E79DB2D9A}" dt="2018-12-12T17:47:50.119" v="6470" actId="2696"/>
        <pc:sldMkLst>
          <pc:docMk/>
          <pc:sldMk cId="2422089823" sldId="433"/>
        </pc:sldMkLst>
      </pc:sldChg>
      <pc:sldChg chg="modSp add del modTransition">
        <pc:chgData name="Lia Taylor" userId="2ccad05f-5017-4e2b-87e4-bbc6d22f4e64" providerId="ADAL" clId="{F700537D-3675-41CA-A525-EB2E79DB2D9A}" dt="2018-12-13T22:28:58.079" v="6733" actId="2696"/>
        <pc:sldMkLst>
          <pc:docMk/>
          <pc:sldMk cId="22794109" sldId="492"/>
        </pc:sldMkLst>
        <pc:graphicFrameChg chg="mod">
          <ac:chgData name="Lia Taylor" userId="2ccad05f-5017-4e2b-87e4-bbc6d22f4e64" providerId="ADAL" clId="{F700537D-3675-41CA-A525-EB2E79DB2D9A}" dt="2018-12-10T22:42:01.817" v="4962" actId="20577"/>
          <ac:graphicFrameMkLst>
            <pc:docMk/>
            <pc:sldMk cId="22794109" sldId="492"/>
            <ac:graphicFrameMk id="2" creationId="{3B54F3C7-9428-42BB-B6F8-34E5A9AD5EDF}"/>
          </ac:graphicFrameMkLst>
        </pc:graphicFrameChg>
      </pc:sldChg>
      <pc:sldChg chg="add del">
        <pc:chgData name="Lia Taylor" userId="2ccad05f-5017-4e2b-87e4-bbc6d22f4e64" providerId="ADAL" clId="{F700537D-3675-41CA-A525-EB2E79DB2D9A}" dt="2018-12-10T21:32:42.606" v="4455" actId="2696"/>
        <pc:sldMkLst>
          <pc:docMk/>
          <pc:sldMk cId="2286587389" sldId="1086"/>
        </pc:sldMkLst>
      </pc:sldChg>
      <pc:sldChg chg="delSp modSp">
        <pc:chgData name="Lia Taylor" userId="2ccad05f-5017-4e2b-87e4-bbc6d22f4e64" providerId="ADAL" clId="{F700537D-3675-41CA-A525-EB2E79DB2D9A}" dt="2018-12-13T22:40:22.572" v="7200" actId="20577"/>
        <pc:sldMkLst>
          <pc:docMk/>
          <pc:sldMk cId="4099721327" sldId="1268"/>
        </pc:sldMkLst>
        <pc:spChg chg="mod">
          <ac:chgData name="Lia Taylor" userId="2ccad05f-5017-4e2b-87e4-bbc6d22f4e64" providerId="ADAL" clId="{F700537D-3675-41CA-A525-EB2E79DB2D9A}" dt="2018-12-13T22:40:22.572" v="7200" actId="20577"/>
          <ac:spMkLst>
            <pc:docMk/>
            <pc:sldMk cId="4099721327" sldId="1268"/>
            <ac:spMk id="2" creationId="{7D034E3F-E91B-4495-A2EF-F36EBB6FC608}"/>
          </ac:spMkLst>
        </pc:spChg>
        <pc:spChg chg="mod">
          <ac:chgData name="Lia Taylor" userId="2ccad05f-5017-4e2b-87e4-bbc6d22f4e64" providerId="ADAL" clId="{F700537D-3675-41CA-A525-EB2E79DB2D9A}" dt="2018-12-09T18:50:10.795" v="3524" actId="207"/>
          <ac:spMkLst>
            <pc:docMk/>
            <pc:sldMk cId="4099721327" sldId="1268"/>
            <ac:spMk id="3" creationId="{F2EEB5CD-50E6-487F-BBF7-A83170A60906}"/>
          </ac:spMkLst>
        </pc:spChg>
        <pc:spChg chg="mod">
          <ac:chgData name="Lia Taylor" userId="2ccad05f-5017-4e2b-87e4-bbc6d22f4e64" providerId="ADAL" clId="{F700537D-3675-41CA-A525-EB2E79DB2D9A}" dt="2018-12-13T22:38:30.086" v="7173" actId="1076"/>
          <ac:spMkLst>
            <pc:docMk/>
            <pc:sldMk cId="4099721327" sldId="1268"/>
            <ac:spMk id="6"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41" creationId="{00000000-0000-0000-0000-000000000000}"/>
          </ac:spMkLst>
        </pc:spChg>
        <pc:spChg chg="mod">
          <ac:chgData name="Lia Taylor" userId="2ccad05f-5017-4e2b-87e4-bbc6d22f4e64" providerId="ADAL" clId="{F700537D-3675-41CA-A525-EB2E79DB2D9A}" dt="2018-12-13T22:38:30.086" v="7173" actId="1076"/>
          <ac:spMkLst>
            <pc:docMk/>
            <pc:sldMk cId="4099721327" sldId="1268"/>
            <ac:spMk id="42"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43"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45"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46"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47"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52" creationId="{00000000-0000-0000-0000-000000000000}"/>
          </ac:spMkLst>
        </pc:spChg>
        <pc:spChg chg="mod">
          <ac:chgData name="Lia Taylor" userId="2ccad05f-5017-4e2b-87e4-bbc6d22f4e64" providerId="ADAL" clId="{F700537D-3675-41CA-A525-EB2E79DB2D9A}" dt="2018-12-13T22:38:30.086" v="7173" actId="1076"/>
          <ac:spMkLst>
            <pc:docMk/>
            <pc:sldMk cId="4099721327" sldId="1268"/>
            <ac:spMk id="53" creationId="{00000000-0000-0000-0000-000000000000}"/>
          </ac:spMkLst>
        </pc:spChg>
        <pc:spChg chg="mod">
          <ac:chgData name="Lia Taylor" userId="2ccad05f-5017-4e2b-87e4-bbc6d22f4e64" providerId="ADAL" clId="{F700537D-3675-41CA-A525-EB2E79DB2D9A}" dt="2018-12-13T22:38:30.086" v="7173" actId="1076"/>
          <ac:spMkLst>
            <pc:docMk/>
            <pc:sldMk cId="4099721327" sldId="1268"/>
            <ac:spMk id="54" creationId="{00000000-0000-0000-0000-000000000000}"/>
          </ac:spMkLst>
        </pc:spChg>
        <pc:spChg chg="mod">
          <ac:chgData name="Lia Taylor" userId="2ccad05f-5017-4e2b-87e4-bbc6d22f4e64" providerId="ADAL" clId="{F700537D-3675-41CA-A525-EB2E79DB2D9A}" dt="2018-12-13T22:38:30.086" v="7173" actId="1076"/>
          <ac:spMkLst>
            <pc:docMk/>
            <pc:sldMk cId="4099721327" sldId="1268"/>
            <ac:spMk id="55" creationId="{00000000-0000-0000-0000-000000000000}"/>
          </ac:spMkLst>
        </pc:spChg>
        <pc:spChg chg="mod">
          <ac:chgData name="Lia Taylor" userId="2ccad05f-5017-4e2b-87e4-bbc6d22f4e64" providerId="ADAL" clId="{F700537D-3675-41CA-A525-EB2E79DB2D9A}" dt="2018-12-13T22:38:30.086" v="7173" actId="1076"/>
          <ac:spMkLst>
            <pc:docMk/>
            <pc:sldMk cId="4099721327" sldId="1268"/>
            <ac:spMk id="56"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57"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58"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59"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60" creationId="{3E2B1880-FE14-4A01-9161-FE2E5690ECDD}"/>
          </ac:spMkLst>
        </pc:spChg>
        <pc:spChg chg="mod">
          <ac:chgData name="Lia Taylor" userId="2ccad05f-5017-4e2b-87e4-bbc6d22f4e64" providerId="ADAL" clId="{F700537D-3675-41CA-A525-EB2E79DB2D9A}" dt="2018-12-13T22:38:30.086" v="7173" actId="1076"/>
          <ac:spMkLst>
            <pc:docMk/>
            <pc:sldMk cId="4099721327" sldId="1268"/>
            <ac:spMk id="65" creationId="{00000000-0000-0000-0000-000000000000}"/>
          </ac:spMkLst>
        </pc:spChg>
        <pc:spChg chg="mod">
          <ac:chgData name="Lia Taylor" userId="2ccad05f-5017-4e2b-87e4-bbc6d22f4e64" providerId="ADAL" clId="{F700537D-3675-41CA-A525-EB2E79DB2D9A}" dt="2018-12-13T22:39:09.081" v="7179" actId="14100"/>
          <ac:spMkLst>
            <pc:docMk/>
            <pc:sldMk cId="4099721327" sldId="1268"/>
            <ac:spMk id="70" creationId="{6C1717E9-881F-4173-A4A9-20BB72EC0EB0}"/>
          </ac:spMkLst>
        </pc:spChg>
        <pc:spChg chg="del">
          <ac:chgData name="Lia Taylor" userId="2ccad05f-5017-4e2b-87e4-bbc6d22f4e64" providerId="ADAL" clId="{F700537D-3675-41CA-A525-EB2E79DB2D9A}" dt="2018-12-09T18:43:20.781" v="3453" actId="478"/>
          <ac:spMkLst>
            <pc:docMk/>
            <pc:sldMk cId="4099721327" sldId="1268"/>
            <ac:spMk id="71" creationId="{2ED7D1CD-34BA-447D-9C8B-681B040B4A1B}"/>
          </ac:spMkLst>
        </pc:spChg>
        <pc:grpChg chg="mod">
          <ac:chgData name="Lia Taylor" userId="2ccad05f-5017-4e2b-87e4-bbc6d22f4e64" providerId="ADAL" clId="{F700537D-3675-41CA-A525-EB2E79DB2D9A}" dt="2018-12-13T22:38:30.086" v="7173" actId="1076"/>
          <ac:grpSpMkLst>
            <pc:docMk/>
            <pc:sldMk cId="4099721327" sldId="1268"/>
            <ac:grpSpMk id="7" creationId="{966986C6-C168-4CB1-B5E9-75EC6F5C8F41}"/>
          </ac:grpSpMkLst>
        </pc:grpChg>
        <pc:grpChg chg="mod">
          <ac:chgData name="Lia Taylor" userId="2ccad05f-5017-4e2b-87e4-bbc6d22f4e64" providerId="ADAL" clId="{F700537D-3675-41CA-A525-EB2E79DB2D9A}" dt="2018-12-13T22:38:30.086" v="7173" actId="1076"/>
          <ac:grpSpMkLst>
            <pc:docMk/>
            <pc:sldMk cId="4099721327" sldId="1268"/>
            <ac:grpSpMk id="11" creationId="{966986C6-C168-4CB1-B5E9-75EC6F5C8F41}"/>
          </ac:grpSpMkLst>
        </pc:grpChg>
        <pc:grpChg chg="mod">
          <ac:chgData name="Lia Taylor" userId="2ccad05f-5017-4e2b-87e4-bbc6d22f4e64" providerId="ADAL" clId="{F700537D-3675-41CA-A525-EB2E79DB2D9A}" dt="2018-12-13T22:38:30.086" v="7173" actId="1076"/>
          <ac:grpSpMkLst>
            <pc:docMk/>
            <pc:sldMk cId="4099721327" sldId="1268"/>
            <ac:grpSpMk id="15" creationId="{00000000-0000-0000-0000-000000000000}"/>
          </ac:grpSpMkLst>
        </pc:grpChg>
        <pc:grpChg chg="mod">
          <ac:chgData name="Lia Taylor" userId="2ccad05f-5017-4e2b-87e4-bbc6d22f4e64" providerId="ADAL" clId="{F700537D-3675-41CA-A525-EB2E79DB2D9A}" dt="2018-12-13T22:38:30.086" v="7173" actId="1076"/>
          <ac:grpSpMkLst>
            <pc:docMk/>
            <pc:sldMk cId="4099721327" sldId="1268"/>
            <ac:grpSpMk id="24" creationId="{00000000-0000-0000-0000-000000000000}"/>
          </ac:grpSpMkLst>
        </pc:grpChg>
        <pc:grpChg chg="mod">
          <ac:chgData name="Lia Taylor" userId="2ccad05f-5017-4e2b-87e4-bbc6d22f4e64" providerId="ADAL" clId="{F700537D-3675-41CA-A525-EB2E79DB2D9A}" dt="2018-12-13T22:38:30.086" v="7173" actId="1076"/>
          <ac:grpSpMkLst>
            <pc:docMk/>
            <pc:sldMk cId="4099721327" sldId="1268"/>
            <ac:grpSpMk id="31" creationId="{00000000-0000-0000-0000-000000000000}"/>
          </ac:grpSpMkLst>
        </pc:grpChg>
        <pc:cxnChg chg="mod">
          <ac:chgData name="Lia Taylor" userId="2ccad05f-5017-4e2b-87e4-bbc6d22f4e64" providerId="ADAL" clId="{F700537D-3675-41CA-A525-EB2E79DB2D9A}" dt="2018-12-13T22:38:30.086" v="7173" actId="1076"/>
          <ac:cxnSpMkLst>
            <pc:docMk/>
            <pc:sldMk cId="4099721327" sldId="1268"/>
            <ac:cxnSpMk id="48" creationId="{00000000-0000-0000-0000-000000000000}"/>
          </ac:cxnSpMkLst>
        </pc:cxnChg>
        <pc:cxnChg chg="mod">
          <ac:chgData name="Lia Taylor" userId="2ccad05f-5017-4e2b-87e4-bbc6d22f4e64" providerId="ADAL" clId="{F700537D-3675-41CA-A525-EB2E79DB2D9A}" dt="2018-12-13T22:38:30.086" v="7173" actId="1076"/>
          <ac:cxnSpMkLst>
            <pc:docMk/>
            <pc:sldMk cId="4099721327" sldId="1268"/>
            <ac:cxnSpMk id="49" creationId="{00000000-0000-0000-0000-000000000000}"/>
          </ac:cxnSpMkLst>
        </pc:cxnChg>
        <pc:cxnChg chg="mod">
          <ac:chgData name="Lia Taylor" userId="2ccad05f-5017-4e2b-87e4-bbc6d22f4e64" providerId="ADAL" clId="{F700537D-3675-41CA-A525-EB2E79DB2D9A}" dt="2018-12-13T22:38:30.086" v="7173" actId="1076"/>
          <ac:cxnSpMkLst>
            <pc:docMk/>
            <pc:sldMk cId="4099721327" sldId="1268"/>
            <ac:cxnSpMk id="50" creationId="{00000000-0000-0000-0000-000000000000}"/>
          </ac:cxnSpMkLst>
        </pc:cxnChg>
        <pc:cxnChg chg="mod">
          <ac:chgData name="Lia Taylor" userId="2ccad05f-5017-4e2b-87e4-bbc6d22f4e64" providerId="ADAL" clId="{F700537D-3675-41CA-A525-EB2E79DB2D9A}" dt="2018-12-13T22:38:30.086" v="7173" actId="1076"/>
          <ac:cxnSpMkLst>
            <pc:docMk/>
            <pc:sldMk cId="4099721327" sldId="1268"/>
            <ac:cxnSpMk id="51" creationId="{00000000-0000-0000-0000-000000000000}"/>
          </ac:cxnSpMkLst>
        </pc:cxnChg>
        <pc:cxnChg chg="mod">
          <ac:chgData name="Lia Taylor" userId="2ccad05f-5017-4e2b-87e4-bbc6d22f4e64" providerId="ADAL" clId="{F700537D-3675-41CA-A525-EB2E79DB2D9A}" dt="2018-12-13T22:38:30.086" v="7173" actId="1076"/>
          <ac:cxnSpMkLst>
            <pc:docMk/>
            <pc:sldMk cId="4099721327" sldId="1268"/>
            <ac:cxnSpMk id="62" creationId="{00000000-0000-0000-0000-000000000000}"/>
          </ac:cxnSpMkLst>
        </pc:cxnChg>
        <pc:cxnChg chg="mod">
          <ac:chgData name="Lia Taylor" userId="2ccad05f-5017-4e2b-87e4-bbc6d22f4e64" providerId="ADAL" clId="{F700537D-3675-41CA-A525-EB2E79DB2D9A}" dt="2018-12-13T22:38:30.086" v="7173" actId="1076"/>
          <ac:cxnSpMkLst>
            <pc:docMk/>
            <pc:sldMk cId="4099721327" sldId="1268"/>
            <ac:cxnSpMk id="63" creationId="{00000000-0000-0000-0000-000000000000}"/>
          </ac:cxnSpMkLst>
        </pc:cxnChg>
        <pc:cxnChg chg="mod">
          <ac:chgData name="Lia Taylor" userId="2ccad05f-5017-4e2b-87e4-bbc6d22f4e64" providerId="ADAL" clId="{F700537D-3675-41CA-A525-EB2E79DB2D9A}" dt="2018-12-13T22:38:30.086" v="7173" actId="1076"/>
          <ac:cxnSpMkLst>
            <pc:docMk/>
            <pc:sldMk cId="4099721327" sldId="1268"/>
            <ac:cxnSpMk id="64" creationId="{00000000-0000-0000-0000-000000000000}"/>
          </ac:cxnSpMkLst>
        </pc:cxnChg>
      </pc:sldChg>
      <pc:sldChg chg="addSp delSp modSp ord delCm">
        <pc:chgData name="Lia Taylor" userId="2ccad05f-5017-4e2b-87e4-bbc6d22f4e64" providerId="ADAL" clId="{F700537D-3675-41CA-A525-EB2E79DB2D9A}" dt="2018-12-13T22:32:17.142" v="6785" actId="1592"/>
        <pc:sldMkLst>
          <pc:docMk/>
          <pc:sldMk cId="1653215607" sldId="2545"/>
        </pc:sldMkLst>
        <pc:spChg chg="add mod">
          <ac:chgData name="Lia Taylor" userId="2ccad05f-5017-4e2b-87e4-bbc6d22f4e64" providerId="ADAL" clId="{F700537D-3675-41CA-A525-EB2E79DB2D9A}" dt="2018-12-13T00:33:08.661" v="6596" actId="1076"/>
          <ac:spMkLst>
            <pc:docMk/>
            <pc:sldMk cId="1653215607" sldId="2545"/>
            <ac:spMk id="2" creationId="{24C07F8B-5932-4B25-BF62-99AF84D324ED}"/>
          </ac:spMkLst>
        </pc:spChg>
        <pc:spChg chg="mod">
          <ac:chgData name="Lia Taylor" userId="2ccad05f-5017-4e2b-87e4-bbc6d22f4e64" providerId="ADAL" clId="{F700537D-3675-41CA-A525-EB2E79DB2D9A}" dt="2018-12-09T18:55:41.730" v="3577" actId="1076"/>
          <ac:spMkLst>
            <pc:docMk/>
            <pc:sldMk cId="1653215607" sldId="2545"/>
            <ac:spMk id="37" creationId="{A3E0CD0A-539E-4E77-AF2B-FE336926BAED}"/>
          </ac:spMkLst>
        </pc:spChg>
        <pc:spChg chg="mod">
          <ac:chgData name="Lia Taylor" userId="2ccad05f-5017-4e2b-87e4-bbc6d22f4e64" providerId="ADAL" clId="{F700537D-3675-41CA-A525-EB2E79DB2D9A}" dt="2018-12-09T18:55:41.730" v="3577" actId="1076"/>
          <ac:spMkLst>
            <pc:docMk/>
            <pc:sldMk cId="1653215607" sldId="2545"/>
            <ac:spMk id="38" creationId="{7DB83E32-0A4F-4909-A276-75F0166CC773}"/>
          </ac:spMkLst>
        </pc:spChg>
        <pc:spChg chg="mod">
          <ac:chgData name="Lia Taylor" userId="2ccad05f-5017-4e2b-87e4-bbc6d22f4e64" providerId="ADAL" clId="{F700537D-3675-41CA-A525-EB2E79DB2D9A}" dt="2018-12-09T19:03:47.158" v="3888" actId="113"/>
          <ac:spMkLst>
            <pc:docMk/>
            <pc:sldMk cId="1653215607" sldId="2545"/>
            <ac:spMk id="39" creationId="{67ACED00-315A-4DDD-B655-180CEFCCC74F}"/>
          </ac:spMkLst>
        </pc:spChg>
        <pc:spChg chg="mod">
          <ac:chgData name="Lia Taylor" userId="2ccad05f-5017-4e2b-87e4-bbc6d22f4e64" providerId="ADAL" clId="{F700537D-3675-41CA-A525-EB2E79DB2D9A}" dt="2018-12-09T18:55:41.730" v="3577" actId="1076"/>
          <ac:spMkLst>
            <pc:docMk/>
            <pc:sldMk cId="1653215607" sldId="2545"/>
            <ac:spMk id="40" creationId="{3E060713-56EE-46E0-B311-0578FA240957}"/>
          </ac:spMkLst>
        </pc:spChg>
        <pc:spChg chg="mod">
          <ac:chgData name="Lia Taylor" userId="2ccad05f-5017-4e2b-87e4-bbc6d22f4e64" providerId="ADAL" clId="{F700537D-3675-41CA-A525-EB2E79DB2D9A}" dt="2018-12-09T18:55:41.730" v="3577" actId="1076"/>
          <ac:spMkLst>
            <pc:docMk/>
            <pc:sldMk cId="1653215607" sldId="2545"/>
            <ac:spMk id="41" creationId="{06DD33A8-0B4B-41B0-ACAA-17E9A9D470CA}"/>
          </ac:spMkLst>
        </pc:spChg>
        <pc:spChg chg="del">
          <ac:chgData name="Lia Taylor" userId="2ccad05f-5017-4e2b-87e4-bbc6d22f4e64" providerId="ADAL" clId="{F700537D-3675-41CA-A525-EB2E79DB2D9A}" dt="2018-12-09T18:45:12.490" v="3473" actId="478"/>
          <ac:spMkLst>
            <pc:docMk/>
            <pc:sldMk cId="1653215607" sldId="2545"/>
            <ac:spMk id="46" creationId="{8868ABCB-29FA-4012-AE9C-C45DA6383101}"/>
          </ac:spMkLst>
        </pc:spChg>
        <pc:spChg chg="mod">
          <ac:chgData name="Lia Taylor" userId="2ccad05f-5017-4e2b-87e4-bbc6d22f4e64" providerId="ADAL" clId="{F700537D-3675-41CA-A525-EB2E79DB2D9A}" dt="2018-12-09T18:55:41.730" v="3577" actId="1076"/>
          <ac:spMkLst>
            <pc:docMk/>
            <pc:sldMk cId="1653215607" sldId="2545"/>
            <ac:spMk id="80" creationId="{7651AFB9-CCE1-4D82-BA9C-6A8983BE6748}"/>
          </ac:spMkLst>
        </pc:spChg>
        <pc:spChg chg="mod">
          <ac:chgData name="Lia Taylor" userId="2ccad05f-5017-4e2b-87e4-bbc6d22f4e64" providerId="ADAL" clId="{F700537D-3675-41CA-A525-EB2E79DB2D9A}" dt="2018-12-04T23:15:39.327" v="140" actId="113"/>
          <ac:spMkLst>
            <pc:docMk/>
            <pc:sldMk cId="1653215607" sldId="2545"/>
            <ac:spMk id="82" creationId="{6E642078-06CA-4369-920F-498F4946F0CB}"/>
          </ac:spMkLst>
        </pc:spChg>
        <pc:grpChg chg="mod">
          <ac:chgData name="Lia Taylor" userId="2ccad05f-5017-4e2b-87e4-bbc6d22f4e64" providerId="ADAL" clId="{F700537D-3675-41CA-A525-EB2E79DB2D9A}" dt="2018-12-09T18:55:41.730" v="3577" actId="1076"/>
          <ac:grpSpMkLst>
            <pc:docMk/>
            <pc:sldMk cId="1653215607" sldId="2545"/>
            <ac:grpSpMk id="42" creationId="{91CA97C7-CFAD-4A81-A4EA-1DAD5DB55509}"/>
          </ac:grpSpMkLst>
        </pc:grpChg>
        <pc:grpChg chg="mod">
          <ac:chgData name="Lia Taylor" userId="2ccad05f-5017-4e2b-87e4-bbc6d22f4e64" providerId="ADAL" clId="{F700537D-3675-41CA-A525-EB2E79DB2D9A}" dt="2018-12-09T18:55:41.730" v="3577" actId="1076"/>
          <ac:grpSpMkLst>
            <pc:docMk/>
            <pc:sldMk cId="1653215607" sldId="2545"/>
            <ac:grpSpMk id="47" creationId="{E940CAFA-7696-467A-9E49-1CD3112CC0F5}"/>
          </ac:grpSpMkLst>
        </pc:grpChg>
        <pc:grpChg chg="mod">
          <ac:chgData name="Lia Taylor" userId="2ccad05f-5017-4e2b-87e4-bbc6d22f4e64" providerId="ADAL" clId="{F700537D-3675-41CA-A525-EB2E79DB2D9A}" dt="2018-12-09T18:55:41.730" v="3577" actId="1076"/>
          <ac:grpSpMkLst>
            <pc:docMk/>
            <pc:sldMk cId="1653215607" sldId="2545"/>
            <ac:grpSpMk id="77" creationId="{2FD83F25-5B55-4EB6-B9E7-60D8C747B719}"/>
          </ac:grpSpMkLst>
        </pc:grpChg>
        <pc:grpChg chg="mod">
          <ac:chgData name="Lia Taylor" userId="2ccad05f-5017-4e2b-87e4-bbc6d22f4e64" providerId="ADAL" clId="{F700537D-3675-41CA-A525-EB2E79DB2D9A}" dt="2018-12-09T18:55:41.730" v="3577" actId="1076"/>
          <ac:grpSpMkLst>
            <pc:docMk/>
            <pc:sldMk cId="1653215607" sldId="2545"/>
            <ac:grpSpMk id="81" creationId="{C2429E48-ACD2-4C7E-A772-D25F662B317C}"/>
          </ac:grpSpMkLst>
        </pc:grpChg>
        <pc:grpChg chg="mod">
          <ac:chgData name="Lia Taylor" userId="2ccad05f-5017-4e2b-87e4-bbc6d22f4e64" providerId="ADAL" clId="{F700537D-3675-41CA-A525-EB2E79DB2D9A}" dt="2018-12-09T18:55:41.730" v="3577" actId="1076"/>
          <ac:grpSpMkLst>
            <pc:docMk/>
            <pc:sldMk cId="1653215607" sldId="2545"/>
            <ac:grpSpMk id="84" creationId="{7A2AEB87-1A75-4DE8-A1B8-D557A5F51464}"/>
          </ac:grpSpMkLst>
        </pc:grpChg>
        <pc:grpChg chg="mod">
          <ac:chgData name="Lia Taylor" userId="2ccad05f-5017-4e2b-87e4-bbc6d22f4e64" providerId="ADAL" clId="{F700537D-3675-41CA-A525-EB2E79DB2D9A}" dt="2018-12-09T18:55:41.730" v="3577" actId="1076"/>
          <ac:grpSpMkLst>
            <pc:docMk/>
            <pc:sldMk cId="1653215607" sldId="2545"/>
            <ac:grpSpMk id="87" creationId="{393B6C5F-D2E9-4D99-B2E0-D291301F0F6E}"/>
          </ac:grpSpMkLst>
        </pc:grpChg>
        <pc:grpChg chg="mod">
          <ac:chgData name="Lia Taylor" userId="2ccad05f-5017-4e2b-87e4-bbc6d22f4e64" providerId="ADAL" clId="{F700537D-3675-41CA-A525-EB2E79DB2D9A}" dt="2018-12-09T18:55:41.730" v="3577" actId="1076"/>
          <ac:grpSpMkLst>
            <pc:docMk/>
            <pc:sldMk cId="1653215607" sldId="2545"/>
            <ac:grpSpMk id="90" creationId="{3A5B943A-88E2-4834-BFBC-F25321F51DD2}"/>
          </ac:grpSpMkLst>
        </pc:grpChg>
        <pc:grpChg chg="mod">
          <ac:chgData name="Lia Taylor" userId="2ccad05f-5017-4e2b-87e4-bbc6d22f4e64" providerId="ADAL" clId="{F700537D-3675-41CA-A525-EB2E79DB2D9A}" dt="2018-12-09T18:55:41.730" v="3577" actId="1076"/>
          <ac:grpSpMkLst>
            <pc:docMk/>
            <pc:sldMk cId="1653215607" sldId="2545"/>
            <ac:grpSpMk id="101" creationId="{154AE3B1-53B8-4FA7-9AA6-C9D7CE710AA8}"/>
          </ac:grpSpMkLst>
        </pc:grpChg>
        <pc:grpChg chg="mod">
          <ac:chgData name="Lia Taylor" userId="2ccad05f-5017-4e2b-87e4-bbc6d22f4e64" providerId="ADAL" clId="{F700537D-3675-41CA-A525-EB2E79DB2D9A}" dt="2018-12-09T18:55:41.730" v="3577" actId="1076"/>
          <ac:grpSpMkLst>
            <pc:docMk/>
            <pc:sldMk cId="1653215607" sldId="2545"/>
            <ac:grpSpMk id="107" creationId="{0AD5C4FD-A9CA-451E-9701-9175CA72A94E}"/>
          </ac:grpSpMkLst>
        </pc:grpChg>
        <pc:grpChg chg="mod">
          <ac:chgData name="Lia Taylor" userId="2ccad05f-5017-4e2b-87e4-bbc6d22f4e64" providerId="ADAL" clId="{F700537D-3675-41CA-A525-EB2E79DB2D9A}" dt="2018-12-13T20:11:42.569" v="6721" actId="14100"/>
          <ac:grpSpMkLst>
            <pc:docMk/>
            <pc:sldMk cId="1653215607" sldId="2545"/>
            <ac:grpSpMk id="111" creationId="{82C80E02-0C3C-4399-849C-B8403861476F}"/>
          </ac:grpSpMkLst>
        </pc:grpChg>
        <pc:grpChg chg="mod">
          <ac:chgData name="Lia Taylor" userId="2ccad05f-5017-4e2b-87e4-bbc6d22f4e64" providerId="ADAL" clId="{F700537D-3675-41CA-A525-EB2E79DB2D9A}" dt="2018-12-09T18:55:41.730" v="3577" actId="1076"/>
          <ac:grpSpMkLst>
            <pc:docMk/>
            <pc:sldMk cId="1653215607" sldId="2545"/>
            <ac:grpSpMk id="115" creationId="{0FAC8A85-5B32-4151-B4A0-BFBDDC151468}"/>
          </ac:grpSpMkLst>
        </pc:grpChg>
        <pc:grpChg chg="mod">
          <ac:chgData name="Lia Taylor" userId="2ccad05f-5017-4e2b-87e4-bbc6d22f4e64" providerId="ADAL" clId="{F700537D-3675-41CA-A525-EB2E79DB2D9A}" dt="2018-12-09T18:55:41.730" v="3577" actId="1076"/>
          <ac:grpSpMkLst>
            <pc:docMk/>
            <pc:sldMk cId="1653215607" sldId="2545"/>
            <ac:grpSpMk id="125" creationId="{8D8457CF-F21E-4809-A5EE-14D92894552E}"/>
          </ac:grpSpMkLst>
        </pc:grpChg>
      </pc:sldChg>
      <pc:sldChg chg="add del setBg">
        <pc:chgData name="Lia Taylor" userId="2ccad05f-5017-4e2b-87e4-bbc6d22f4e64" providerId="ADAL" clId="{F700537D-3675-41CA-A525-EB2E79DB2D9A}" dt="2018-12-12T23:37:03.548" v="6500"/>
        <pc:sldMkLst>
          <pc:docMk/>
          <pc:sldMk cId="4140044568" sldId="3294"/>
        </pc:sldMkLst>
      </pc:sldChg>
      <pc:sldChg chg="add del">
        <pc:chgData name="Lia Taylor" userId="2ccad05f-5017-4e2b-87e4-bbc6d22f4e64" providerId="ADAL" clId="{F700537D-3675-41CA-A525-EB2E79DB2D9A}" dt="2018-12-12T23:37:03.548" v="6500"/>
        <pc:sldMkLst>
          <pc:docMk/>
          <pc:sldMk cId="4229737248" sldId="3373"/>
        </pc:sldMkLst>
      </pc:sldChg>
      <pc:sldChg chg="addSp modSp mod setBg">
        <pc:chgData name="Lia Taylor" userId="2ccad05f-5017-4e2b-87e4-bbc6d22f4e64" providerId="ADAL" clId="{F700537D-3675-41CA-A525-EB2E79DB2D9A}" dt="2018-12-09T19:13:29.637" v="4094" actId="26606"/>
        <pc:sldMkLst>
          <pc:docMk/>
          <pc:sldMk cId="60711056" sldId="3467"/>
        </pc:sldMkLst>
        <pc:spChg chg="mod">
          <ac:chgData name="Lia Taylor" userId="2ccad05f-5017-4e2b-87e4-bbc6d22f4e64" providerId="ADAL" clId="{F700537D-3675-41CA-A525-EB2E79DB2D9A}" dt="2018-12-09T19:13:29.637" v="4094" actId="26606"/>
          <ac:spMkLst>
            <pc:docMk/>
            <pc:sldMk cId="60711056" sldId="3467"/>
            <ac:spMk id="2" creationId="{A9C67AE9-1733-4285-B569-33A68F7FB594}"/>
          </ac:spMkLst>
        </pc:spChg>
        <pc:spChg chg="add">
          <ac:chgData name="Lia Taylor" userId="2ccad05f-5017-4e2b-87e4-bbc6d22f4e64" providerId="ADAL" clId="{F700537D-3675-41CA-A525-EB2E79DB2D9A}" dt="2018-12-09T19:13:29.637" v="4094" actId="26606"/>
          <ac:spMkLst>
            <pc:docMk/>
            <pc:sldMk cId="60711056" sldId="3467"/>
            <ac:spMk id="7" creationId="{23207CC6-EAA1-4BFF-A48A-DECAD8972717}"/>
          </ac:spMkLst>
        </pc:spChg>
        <pc:spChg chg="add">
          <ac:chgData name="Lia Taylor" userId="2ccad05f-5017-4e2b-87e4-bbc6d22f4e64" providerId="ADAL" clId="{F700537D-3675-41CA-A525-EB2E79DB2D9A}" dt="2018-12-09T19:13:29.637" v="4094" actId="26606"/>
          <ac:spMkLst>
            <pc:docMk/>
            <pc:sldMk cId="60711056" sldId="3467"/>
            <ac:spMk id="9" creationId="{B234A3DD-923D-4166-8B19-7DD589908C68}"/>
          </ac:spMkLst>
        </pc:spChg>
        <pc:spChg chg="add">
          <ac:chgData name="Lia Taylor" userId="2ccad05f-5017-4e2b-87e4-bbc6d22f4e64" providerId="ADAL" clId="{F700537D-3675-41CA-A525-EB2E79DB2D9A}" dt="2018-12-09T19:13:29.637" v="4094" actId="26606"/>
          <ac:spMkLst>
            <pc:docMk/>
            <pc:sldMk cId="60711056" sldId="3467"/>
            <ac:spMk id="11" creationId="{F6ACA5AC-3C5D-4994-B40F-FC8349E4D6F4}"/>
          </ac:spMkLst>
        </pc:spChg>
      </pc:sldChg>
      <pc:sldChg chg="add del">
        <pc:chgData name="Lia Taylor" userId="2ccad05f-5017-4e2b-87e4-bbc6d22f4e64" providerId="ADAL" clId="{F700537D-3675-41CA-A525-EB2E79DB2D9A}" dt="2018-12-10T21:50:51.456" v="4478"/>
        <pc:sldMkLst>
          <pc:docMk/>
          <pc:sldMk cId="3171818224" sldId="3559"/>
        </pc:sldMkLst>
      </pc:sldChg>
      <pc:sldChg chg="addSp modSp mod setBg">
        <pc:chgData name="Lia Taylor" userId="2ccad05f-5017-4e2b-87e4-bbc6d22f4e64" providerId="ADAL" clId="{F700537D-3675-41CA-A525-EB2E79DB2D9A}" dt="2018-12-09T19:13:35.956" v="4095" actId="26606"/>
        <pc:sldMkLst>
          <pc:docMk/>
          <pc:sldMk cId="1308935206" sldId="3676"/>
        </pc:sldMkLst>
        <pc:spChg chg="mod">
          <ac:chgData name="Lia Taylor" userId="2ccad05f-5017-4e2b-87e4-bbc6d22f4e64" providerId="ADAL" clId="{F700537D-3675-41CA-A525-EB2E79DB2D9A}" dt="2018-12-09T19:13:35.956" v="4095" actId="26606"/>
          <ac:spMkLst>
            <pc:docMk/>
            <pc:sldMk cId="1308935206" sldId="3676"/>
            <ac:spMk id="2" creationId="{A9C67AE9-1733-4285-B569-33A68F7FB594}"/>
          </ac:spMkLst>
        </pc:spChg>
        <pc:spChg chg="add">
          <ac:chgData name="Lia Taylor" userId="2ccad05f-5017-4e2b-87e4-bbc6d22f4e64" providerId="ADAL" clId="{F700537D-3675-41CA-A525-EB2E79DB2D9A}" dt="2018-12-09T19:13:35.956" v="4095" actId="26606"/>
          <ac:spMkLst>
            <pc:docMk/>
            <pc:sldMk cId="1308935206" sldId="3676"/>
            <ac:spMk id="7" creationId="{23207CC6-EAA1-4BFF-A48A-DECAD8972717}"/>
          </ac:spMkLst>
        </pc:spChg>
        <pc:spChg chg="add">
          <ac:chgData name="Lia Taylor" userId="2ccad05f-5017-4e2b-87e4-bbc6d22f4e64" providerId="ADAL" clId="{F700537D-3675-41CA-A525-EB2E79DB2D9A}" dt="2018-12-09T19:13:35.956" v="4095" actId="26606"/>
          <ac:spMkLst>
            <pc:docMk/>
            <pc:sldMk cId="1308935206" sldId="3676"/>
            <ac:spMk id="9" creationId="{B234A3DD-923D-4166-8B19-7DD589908C68}"/>
          </ac:spMkLst>
        </pc:spChg>
        <pc:spChg chg="add">
          <ac:chgData name="Lia Taylor" userId="2ccad05f-5017-4e2b-87e4-bbc6d22f4e64" providerId="ADAL" clId="{F700537D-3675-41CA-A525-EB2E79DB2D9A}" dt="2018-12-09T19:13:35.956" v="4095" actId="26606"/>
          <ac:spMkLst>
            <pc:docMk/>
            <pc:sldMk cId="1308935206" sldId="3676"/>
            <ac:spMk id="11" creationId="{F6ACA5AC-3C5D-4994-B40F-FC8349E4D6F4}"/>
          </ac:spMkLst>
        </pc:spChg>
      </pc:sldChg>
      <pc:sldChg chg="addSp modSp mod setBg">
        <pc:chgData name="Lia Taylor" userId="2ccad05f-5017-4e2b-87e4-bbc6d22f4e64" providerId="ADAL" clId="{F700537D-3675-41CA-A525-EB2E79DB2D9A}" dt="2018-12-09T19:13:43.155" v="4096" actId="26606"/>
        <pc:sldMkLst>
          <pc:docMk/>
          <pc:sldMk cId="3548565649" sldId="3677"/>
        </pc:sldMkLst>
        <pc:spChg chg="mod">
          <ac:chgData name="Lia Taylor" userId="2ccad05f-5017-4e2b-87e4-bbc6d22f4e64" providerId="ADAL" clId="{F700537D-3675-41CA-A525-EB2E79DB2D9A}" dt="2018-12-09T19:13:43.155" v="4096" actId="26606"/>
          <ac:spMkLst>
            <pc:docMk/>
            <pc:sldMk cId="3548565649" sldId="3677"/>
            <ac:spMk id="2" creationId="{A9C67AE9-1733-4285-B569-33A68F7FB594}"/>
          </ac:spMkLst>
        </pc:spChg>
        <pc:spChg chg="add">
          <ac:chgData name="Lia Taylor" userId="2ccad05f-5017-4e2b-87e4-bbc6d22f4e64" providerId="ADAL" clId="{F700537D-3675-41CA-A525-EB2E79DB2D9A}" dt="2018-12-09T19:13:43.155" v="4096" actId="26606"/>
          <ac:spMkLst>
            <pc:docMk/>
            <pc:sldMk cId="3548565649" sldId="3677"/>
            <ac:spMk id="7" creationId="{23207CC6-EAA1-4BFF-A48A-DECAD8972717}"/>
          </ac:spMkLst>
        </pc:spChg>
        <pc:spChg chg="add">
          <ac:chgData name="Lia Taylor" userId="2ccad05f-5017-4e2b-87e4-bbc6d22f4e64" providerId="ADAL" clId="{F700537D-3675-41CA-A525-EB2E79DB2D9A}" dt="2018-12-09T19:13:43.155" v="4096" actId="26606"/>
          <ac:spMkLst>
            <pc:docMk/>
            <pc:sldMk cId="3548565649" sldId="3677"/>
            <ac:spMk id="9" creationId="{B234A3DD-923D-4166-8B19-7DD589908C68}"/>
          </ac:spMkLst>
        </pc:spChg>
        <pc:spChg chg="add">
          <ac:chgData name="Lia Taylor" userId="2ccad05f-5017-4e2b-87e4-bbc6d22f4e64" providerId="ADAL" clId="{F700537D-3675-41CA-A525-EB2E79DB2D9A}" dt="2018-12-09T19:13:43.155" v="4096" actId="26606"/>
          <ac:spMkLst>
            <pc:docMk/>
            <pc:sldMk cId="3548565649" sldId="3677"/>
            <ac:spMk id="11" creationId="{F6ACA5AC-3C5D-4994-B40F-FC8349E4D6F4}"/>
          </ac:spMkLst>
        </pc:spChg>
      </pc:sldChg>
      <pc:sldChg chg="del">
        <pc:chgData name="Lia Taylor" userId="2ccad05f-5017-4e2b-87e4-bbc6d22f4e64" providerId="ADAL" clId="{F700537D-3675-41CA-A525-EB2E79DB2D9A}" dt="2018-12-04T23:38:38.777" v="308" actId="2696"/>
        <pc:sldMkLst>
          <pc:docMk/>
          <pc:sldMk cId="824579834" sldId="3678"/>
        </pc:sldMkLst>
      </pc:sldChg>
      <pc:sldChg chg="delSp modSp">
        <pc:chgData name="Lia Taylor" userId="2ccad05f-5017-4e2b-87e4-bbc6d22f4e64" providerId="ADAL" clId="{F700537D-3675-41CA-A525-EB2E79DB2D9A}" dt="2018-12-09T18:52:09.991" v="3546" actId="1076"/>
        <pc:sldMkLst>
          <pc:docMk/>
          <pc:sldMk cId="1400797613" sldId="4130"/>
        </pc:sldMkLst>
        <pc:spChg chg="mod">
          <ac:chgData name="Lia Taylor" userId="2ccad05f-5017-4e2b-87e4-bbc6d22f4e64" providerId="ADAL" clId="{F700537D-3675-41CA-A525-EB2E79DB2D9A}" dt="2018-12-09T18:50:53.765" v="3529" actId="207"/>
          <ac:spMkLst>
            <pc:docMk/>
            <pc:sldMk cId="1400797613" sldId="4130"/>
            <ac:spMk id="2" creationId="{B433BF66-1E46-40CE-A887-CCFF23D98849}"/>
          </ac:spMkLst>
        </pc:spChg>
        <pc:spChg chg="del">
          <ac:chgData name="Lia Taylor" userId="2ccad05f-5017-4e2b-87e4-bbc6d22f4e64" providerId="ADAL" clId="{F700537D-3675-41CA-A525-EB2E79DB2D9A}" dt="2018-12-09T18:44:12.669" v="3459" actId="478"/>
          <ac:spMkLst>
            <pc:docMk/>
            <pc:sldMk cId="1400797613" sldId="4130"/>
            <ac:spMk id="17" creationId="{991FCA3F-E1A6-4327-9FD2-42BC456B2829}"/>
          </ac:spMkLst>
        </pc:spChg>
        <pc:picChg chg="mod">
          <ac:chgData name="Lia Taylor" userId="2ccad05f-5017-4e2b-87e4-bbc6d22f4e64" providerId="ADAL" clId="{F700537D-3675-41CA-A525-EB2E79DB2D9A}" dt="2018-12-09T18:51:17.324" v="3532" actId="1076"/>
          <ac:picMkLst>
            <pc:docMk/>
            <pc:sldMk cId="1400797613" sldId="4130"/>
            <ac:picMk id="10" creationId="{D8A46FBE-E998-4F53-AC50-FD6F4606B069}"/>
          </ac:picMkLst>
        </pc:picChg>
        <pc:picChg chg="mod">
          <ac:chgData name="Lia Taylor" userId="2ccad05f-5017-4e2b-87e4-bbc6d22f4e64" providerId="ADAL" clId="{F700537D-3675-41CA-A525-EB2E79DB2D9A}" dt="2018-12-09T18:51:09.408" v="3530" actId="1076"/>
          <ac:picMkLst>
            <pc:docMk/>
            <pc:sldMk cId="1400797613" sldId="4130"/>
            <ac:picMk id="16" creationId="{B2AD4A99-D1C4-4373-8F9F-27F421BA3672}"/>
          </ac:picMkLst>
        </pc:picChg>
        <pc:picChg chg="mod">
          <ac:chgData name="Lia Taylor" userId="2ccad05f-5017-4e2b-87e4-bbc6d22f4e64" providerId="ADAL" clId="{F700537D-3675-41CA-A525-EB2E79DB2D9A}" dt="2018-12-09T18:51:20.471" v="3533" actId="1076"/>
          <ac:picMkLst>
            <pc:docMk/>
            <pc:sldMk cId="1400797613" sldId="4130"/>
            <ac:picMk id="18" creationId="{ACD35D95-5FFE-4F0C-B65F-54D581D8B009}"/>
          </ac:picMkLst>
        </pc:picChg>
        <pc:picChg chg="mod">
          <ac:chgData name="Lia Taylor" userId="2ccad05f-5017-4e2b-87e4-bbc6d22f4e64" providerId="ADAL" clId="{F700537D-3675-41CA-A525-EB2E79DB2D9A}" dt="2018-12-09T18:52:00.481" v="3544" actId="1076"/>
          <ac:picMkLst>
            <pc:docMk/>
            <pc:sldMk cId="1400797613" sldId="4130"/>
            <ac:picMk id="19" creationId="{2C60DBA7-B232-4424-8A1C-45C2D7085489}"/>
          </ac:picMkLst>
        </pc:picChg>
        <pc:picChg chg="mod">
          <ac:chgData name="Lia Taylor" userId="2ccad05f-5017-4e2b-87e4-bbc6d22f4e64" providerId="ADAL" clId="{F700537D-3675-41CA-A525-EB2E79DB2D9A}" dt="2018-12-09T18:51:25.632" v="3535" actId="1076"/>
          <ac:picMkLst>
            <pc:docMk/>
            <pc:sldMk cId="1400797613" sldId="4130"/>
            <ac:picMk id="20" creationId="{98B885CC-F5FB-4EE0-8F39-256C3FA1F8BA}"/>
          </ac:picMkLst>
        </pc:picChg>
        <pc:picChg chg="mod">
          <ac:chgData name="Lia Taylor" userId="2ccad05f-5017-4e2b-87e4-bbc6d22f4e64" providerId="ADAL" clId="{F700537D-3675-41CA-A525-EB2E79DB2D9A}" dt="2018-12-09T18:51:31.689" v="3537" actId="1076"/>
          <ac:picMkLst>
            <pc:docMk/>
            <pc:sldMk cId="1400797613" sldId="4130"/>
            <ac:picMk id="21" creationId="{E3839238-061C-41B6-BD4C-E27E4CA99645}"/>
          </ac:picMkLst>
        </pc:picChg>
        <pc:picChg chg="mod">
          <ac:chgData name="Lia Taylor" userId="2ccad05f-5017-4e2b-87e4-bbc6d22f4e64" providerId="ADAL" clId="{F700537D-3675-41CA-A525-EB2E79DB2D9A}" dt="2018-12-09T18:51:12.246" v="3531" actId="1076"/>
          <ac:picMkLst>
            <pc:docMk/>
            <pc:sldMk cId="1400797613" sldId="4130"/>
            <ac:picMk id="22" creationId="{10279133-D02E-4B45-BED0-CD18414EF586}"/>
          </ac:picMkLst>
        </pc:picChg>
        <pc:picChg chg="mod">
          <ac:chgData name="Lia Taylor" userId="2ccad05f-5017-4e2b-87e4-bbc6d22f4e64" providerId="ADAL" clId="{F700537D-3675-41CA-A525-EB2E79DB2D9A}" dt="2018-12-09T18:52:09.991" v="3546" actId="1076"/>
          <ac:picMkLst>
            <pc:docMk/>
            <pc:sldMk cId="1400797613" sldId="4130"/>
            <ac:picMk id="23" creationId="{F03E3184-7C48-40E3-BAA9-4DE2F3BC8974}"/>
          </ac:picMkLst>
        </pc:picChg>
        <pc:picChg chg="mod">
          <ac:chgData name="Lia Taylor" userId="2ccad05f-5017-4e2b-87e4-bbc6d22f4e64" providerId="ADAL" clId="{F700537D-3675-41CA-A525-EB2E79DB2D9A}" dt="2018-12-09T18:51:55.639" v="3543" actId="1076"/>
          <ac:picMkLst>
            <pc:docMk/>
            <pc:sldMk cId="1400797613" sldId="4130"/>
            <ac:picMk id="25" creationId="{9B610F10-7939-4D82-BD7F-129490462739}"/>
          </ac:picMkLst>
        </pc:picChg>
        <pc:picChg chg="mod">
          <ac:chgData name="Lia Taylor" userId="2ccad05f-5017-4e2b-87e4-bbc6d22f4e64" providerId="ADAL" clId="{F700537D-3675-41CA-A525-EB2E79DB2D9A}" dt="2018-12-09T18:51:28.489" v="3536" actId="1076"/>
          <ac:picMkLst>
            <pc:docMk/>
            <pc:sldMk cId="1400797613" sldId="4130"/>
            <ac:picMk id="26" creationId="{F0D61B1E-1860-46E2-AFE1-FBB45F149673}"/>
          </ac:picMkLst>
        </pc:picChg>
        <pc:picChg chg="mod">
          <ac:chgData name="Lia Taylor" userId="2ccad05f-5017-4e2b-87e4-bbc6d22f4e64" providerId="ADAL" clId="{F700537D-3675-41CA-A525-EB2E79DB2D9A}" dt="2018-12-09T18:52:05.397" v="3545" actId="1076"/>
          <ac:picMkLst>
            <pc:docMk/>
            <pc:sldMk cId="1400797613" sldId="4130"/>
            <ac:picMk id="27" creationId="{BBC442AF-C209-4DDE-A1C9-3C6FF257BD59}"/>
          </ac:picMkLst>
        </pc:picChg>
        <pc:picChg chg="mod">
          <ac:chgData name="Lia Taylor" userId="2ccad05f-5017-4e2b-87e4-bbc6d22f4e64" providerId="ADAL" clId="{F700537D-3675-41CA-A525-EB2E79DB2D9A}" dt="2018-12-09T18:51:22.925" v="3534" actId="1076"/>
          <ac:picMkLst>
            <pc:docMk/>
            <pc:sldMk cId="1400797613" sldId="4130"/>
            <ac:picMk id="28" creationId="{7BC185EB-B9DC-482B-A6CC-239C89CFEE96}"/>
          </ac:picMkLst>
        </pc:picChg>
      </pc:sldChg>
      <pc:sldChg chg="addSp delSp modSp mod setBg">
        <pc:chgData name="Lia Taylor" userId="2ccad05f-5017-4e2b-87e4-bbc6d22f4e64" providerId="ADAL" clId="{F700537D-3675-41CA-A525-EB2E79DB2D9A}" dt="2018-12-09T19:13:04.043" v="4093" actId="26606"/>
        <pc:sldMkLst>
          <pc:docMk/>
          <pc:sldMk cId="1531897694" sldId="4132"/>
        </pc:sldMkLst>
        <pc:spChg chg="mod">
          <ac:chgData name="Lia Taylor" userId="2ccad05f-5017-4e2b-87e4-bbc6d22f4e64" providerId="ADAL" clId="{F700537D-3675-41CA-A525-EB2E79DB2D9A}" dt="2018-12-09T19:13:04.043" v="4093" actId="26606"/>
          <ac:spMkLst>
            <pc:docMk/>
            <pc:sldMk cId="1531897694" sldId="4132"/>
            <ac:spMk id="2" creationId="{A9C67AE9-1733-4285-B569-33A68F7FB594}"/>
          </ac:spMkLst>
        </pc:spChg>
        <pc:spChg chg="add del">
          <ac:chgData name="Lia Taylor" userId="2ccad05f-5017-4e2b-87e4-bbc6d22f4e64" providerId="ADAL" clId="{F700537D-3675-41CA-A525-EB2E79DB2D9A}" dt="2018-12-09T19:12:25.883" v="4088" actId="26606"/>
          <ac:spMkLst>
            <pc:docMk/>
            <pc:sldMk cId="1531897694" sldId="4132"/>
            <ac:spMk id="7" creationId="{23962611-DFD5-4092-AAFD-559E3DFCE2C9}"/>
          </ac:spMkLst>
        </pc:spChg>
        <pc:spChg chg="add del">
          <ac:chgData name="Lia Taylor" userId="2ccad05f-5017-4e2b-87e4-bbc6d22f4e64" providerId="ADAL" clId="{F700537D-3675-41CA-A525-EB2E79DB2D9A}" dt="2018-12-09T19:13:04.043" v="4093" actId="26606"/>
          <ac:spMkLst>
            <pc:docMk/>
            <pc:sldMk cId="1531897694" sldId="4132"/>
            <ac:spMk id="11" creationId="{04DC2037-48A0-4F22-B9D4-8EAEBC780AB4}"/>
          </ac:spMkLst>
        </pc:spChg>
        <pc:spChg chg="add del">
          <ac:chgData name="Lia Taylor" userId="2ccad05f-5017-4e2b-87e4-bbc6d22f4e64" providerId="ADAL" clId="{F700537D-3675-41CA-A525-EB2E79DB2D9A}" dt="2018-12-09T19:13:04.043" v="4093" actId="26606"/>
          <ac:spMkLst>
            <pc:docMk/>
            <pc:sldMk cId="1531897694" sldId="4132"/>
            <ac:spMk id="12" creationId="{C66F2F30-5DC0-44A0-BFA6-E12F46ED16DA}"/>
          </ac:spMkLst>
        </pc:spChg>
        <pc:spChg chg="add del">
          <ac:chgData name="Lia Taylor" userId="2ccad05f-5017-4e2b-87e4-bbc6d22f4e64" providerId="ADAL" clId="{F700537D-3675-41CA-A525-EB2E79DB2D9A}" dt="2018-12-09T19:13:04.043" v="4093" actId="26606"/>
          <ac:spMkLst>
            <pc:docMk/>
            <pc:sldMk cId="1531897694" sldId="4132"/>
            <ac:spMk id="13" creationId="{0006CBFD-ADA0-43D1-9332-9C34CA1C76ED}"/>
          </ac:spMkLst>
        </pc:spChg>
        <pc:spChg chg="add del">
          <ac:chgData name="Lia Taylor" userId="2ccad05f-5017-4e2b-87e4-bbc6d22f4e64" providerId="ADAL" clId="{F700537D-3675-41CA-A525-EB2E79DB2D9A}" dt="2018-12-09T19:13:04.043" v="4093" actId="26606"/>
          <ac:spMkLst>
            <pc:docMk/>
            <pc:sldMk cId="1531897694" sldId="4132"/>
            <ac:spMk id="14" creationId="{85872F57-7F42-4F97-8391-DDC8D0054C03}"/>
          </ac:spMkLst>
        </pc:spChg>
        <pc:spChg chg="add del">
          <ac:chgData name="Lia Taylor" userId="2ccad05f-5017-4e2b-87e4-bbc6d22f4e64" providerId="ADAL" clId="{F700537D-3675-41CA-A525-EB2E79DB2D9A}" dt="2018-12-09T19:13:04.043" v="4093" actId="26606"/>
          <ac:spMkLst>
            <pc:docMk/>
            <pc:sldMk cId="1531897694" sldId="4132"/>
            <ac:spMk id="15" creationId="{2B931666-F28F-45F3-A074-66D2272D580B}"/>
          </ac:spMkLst>
        </pc:spChg>
        <pc:spChg chg="add">
          <ac:chgData name="Lia Taylor" userId="2ccad05f-5017-4e2b-87e4-bbc6d22f4e64" providerId="ADAL" clId="{F700537D-3675-41CA-A525-EB2E79DB2D9A}" dt="2018-12-09T19:13:04.043" v="4093" actId="26606"/>
          <ac:spMkLst>
            <pc:docMk/>
            <pc:sldMk cId="1531897694" sldId="4132"/>
            <ac:spMk id="20" creationId="{23207CC6-EAA1-4BFF-A48A-DECAD8972717}"/>
          </ac:spMkLst>
        </pc:spChg>
        <pc:spChg chg="add">
          <ac:chgData name="Lia Taylor" userId="2ccad05f-5017-4e2b-87e4-bbc6d22f4e64" providerId="ADAL" clId="{F700537D-3675-41CA-A525-EB2E79DB2D9A}" dt="2018-12-09T19:13:04.043" v="4093" actId="26606"/>
          <ac:spMkLst>
            <pc:docMk/>
            <pc:sldMk cId="1531897694" sldId="4132"/>
            <ac:spMk id="22" creationId="{B234A3DD-923D-4166-8B19-7DD589908C68}"/>
          </ac:spMkLst>
        </pc:spChg>
        <pc:spChg chg="add">
          <ac:chgData name="Lia Taylor" userId="2ccad05f-5017-4e2b-87e4-bbc6d22f4e64" providerId="ADAL" clId="{F700537D-3675-41CA-A525-EB2E79DB2D9A}" dt="2018-12-09T19:13:04.043" v="4093" actId="26606"/>
          <ac:spMkLst>
            <pc:docMk/>
            <pc:sldMk cId="1531897694" sldId="4132"/>
            <ac:spMk id="24" creationId="{F6ACA5AC-3C5D-4994-B40F-FC8349E4D6F4}"/>
          </ac:spMkLst>
        </pc:spChg>
        <pc:picChg chg="add del">
          <ac:chgData name="Lia Taylor" userId="2ccad05f-5017-4e2b-87e4-bbc6d22f4e64" providerId="ADAL" clId="{F700537D-3675-41CA-A525-EB2E79DB2D9A}" dt="2018-12-09T19:12:25.883" v="4088" actId="26606"/>
          <ac:picMkLst>
            <pc:docMk/>
            <pc:sldMk cId="1531897694" sldId="4132"/>
            <ac:picMk id="9" creationId="{2270F1FA-0425-408F-9861-80BF5AFB276D}"/>
          </ac:picMkLst>
        </pc:picChg>
      </pc:sldChg>
      <pc:sldChg chg="del">
        <pc:chgData name="Lia Taylor" userId="2ccad05f-5017-4e2b-87e4-bbc6d22f4e64" providerId="ADAL" clId="{F700537D-3675-41CA-A525-EB2E79DB2D9A}" dt="2018-12-05T19:57:30.013" v="1239" actId="2696"/>
        <pc:sldMkLst>
          <pc:docMk/>
          <pc:sldMk cId="1689755478" sldId="4140"/>
        </pc:sldMkLst>
      </pc:sldChg>
      <pc:sldChg chg="add del">
        <pc:chgData name="Lia Taylor" userId="2ccad05f-5017-4e2b-87e4-bbc6d22f4e64" providerId="ADAL" clId="{F700537D-3675-41CA-A525-EB2E79DB2D9A}" dt="2018-12-10T21:32:43.482" v="4468" actId="2696"/>
        <pc:sldMkLst>
          <pc:docMk/>
          <pc:sldMk cId="3964074068" sldId="4140"/>
        </pc:sldMkLst>
      </pc:sldChg>
      <pc:sldChg chg="delSp modSp">
        <pc:chgData name="Lia Taylor" userId="2ccad05f-5017-4e2b-87e4-bbc6d22f4e64" providerId="ADAL" clId="{F700537D-3675-41CA-A525-EB2E79DB2D9A}" dt="2018-12-09T19:15:48.364" v="4101" actId="207"/>
        <pc:sldMkLst>
          <pc:docMk/>
          <pc:sldMk cId="3762849061" sldId="4142"/>
        </pc:sldMkLst>
        <pc:spChg chg="mod">
          <ac:chgData name="Lia Taylor" userId="2ccad05f-5017-4e2b-87e4-bbc6d22f4e64" providerId="ADAL" clId="{F700537D-3675-41CA-A525-EB2E79DB2D9A}" dt="2018-12-09T19:15:48.364" v="4101" actId="207"/>
          <ac:spMkLst>
            <pc:docMk/>
            <pc:sldMk cId="3762849061" sldId="4142"/>
            <ac:spMk id="2" creationId="{1E8832DD-1B91-4E99-B058-FD47250ED2FB}"/>
          </ac:spMkLst>
        </pc:spChg>
        <pc:spChg chg="del">
          <ac:chgData name="Lia Taylor" userId="2ccad05f-5017-4e2b-87e4-bbc6d22f4e64" providerId="ADAL" clId="{F700537D-3675-41CA-A525-EB2E79DB2D9A}" dt="2018-12-09T18:42:49.415" v="3447" actId="478"/>
          <ac:spMkLst>
            <pc:docMk/>
            <pc:sldMk cId="3762849061" sldId="4142"/>
            <ac:spMk id="80" creationId="{ECD9761C-D1BB-4162-9685-F5EE59C78C87}"/>
          </ac:spMkLst>
        </pc:spChg>
      </pc:sldChg>
      <pc:sldChg chg="addSp delSp modSp">
        <pc:chgData name="Lia Taylor" userId="2ccad05f-5017-4e2b-87e4-bbc6d22f4e64" providerId="ADAL" clId="{F700537D-3675-41CA-A525-EB2E79DB2D9A}" dt="2018-12-09T19:15:58.853" v="4103" actId="207"/>
        <pc:sldMkLst>
          <pc:docMk/>
          <pc:sldMk cId="922970852" sldId="4143"/>
        </pc:sldMkLst>
        <pc:spChg chg="add del">
          <ac:chgData name="Lia Taylor" userId="2ccad05f-5017-4e2b-87e4-bbc6d22f4e64" providerId="ADAL" clId="{F700537D-3675-41CA-A525-EB2E79DB2D9A}" dt="2018-12-09T18:38:13.384" v="3416" actId="478"/>
          <ac:spMkLst>
            <pc:docMk/>
            <pc:sldMk cId="922970852" sldId="4143"/>
            <ac:spMk id="34" creationId="{70E3FE06-F325-4A61-92E3-5DCE18322610}"/>
          </ac:spMkLst>
        </pc:spChg>
        <pc:spChg chg="mod">
          <ac:chgData name="Lia Taylor" userId="2ccad05f-5017-4e2b-87e4-bbc6d22f4e64" providerId="ADAL" clId="{F700537D-3675-41CA-A525-EB2E79DB2D9A}" dt="2018-12-09T19:15:58.853" v="4103" actId="207"/>
          <ac:spMkLst>
            <pc:docMk/>
            <pc:sldMk cId="922970852" sldId="4143"/>
            <ac:spMk id="115" creationId="{F740F2E6-64C6-451F-ABD6-F8A80E882D75}"/>
          </ac:spMkLst>
        </pc:spChg>
      </pc:sldChg>
      <pc:sldChg chg="modSp del">
        <pc:chgData name="Lia Taylor" userId="2ccad05f-5017-4e2b-87e4-bbc6d22f4e64" providerId="ADAL" clId="{F700537D-3675-41CA-A525-EB2E79DB2D9A}" dt="2018-12-05T18:57:14.001" v="1010" actId="2696"/>
        <pc:sldMkLst>
          <pc:docMk/>
          <pc:sldMk cId="193105062" sldId="4145"/>
        </pc:sldMkLst>
        <pc:spChg chg="mod">
          <ac:chgData name="Lia Taylor" userId="2ccad05f-5017-4e2b-87e4-bbc6d22f4e64" providerId="ADAL" clId="{F700537D-3675-41CA-A525-EB2E79DB2D9A}" dt="2018-12-05T18:35:16.590" v="808" actId="113"/>
          <ac:spMkLst>
            <pc:docMk/>
            <pc:sldMk cId="193105062" sldId="4145"/>
            <ac:spMk id="5" creationId="{00000000-0000-0000-0000-000000000000}"/>
          </ac:spMkLst>
        </pc:spChg>
        <pc:spChg chg="mod">
          <ac:chgData name="Lia Taylor" userId="2ccad05f-5017-4e2b-87e4-bbc6d22f4e64" providerId="ADAL" clId="{F700537D-3675-41CA-A525-EB2E79DB2D9A}" dt="2018-12-04T21:24:00.603" v="1"/>
          <ac:spMkLst>
            <pc:docMk/>
            <pc:sldMk cId="193105062" sldId="4145"/>
            <ac:spMk id="9" creationId="{1941BD5B-8C2A-442E-BD03-297F26C0E557}"/>
          </ac:spMkLst>
        </pc:spChg>
        <pc:spChg chg="mod">
          <ac:chgData name="Lia Taylor" userId="2ccad05f-5017-4e2b-87e4-bbc6d22f4e64" providerId="ADAL" clId="{F700537D-3675-41CA-A525-EB2E79DB2D9A}" dt="2018-12-05T18:27:53.555" v="702" actId="2711"/>
          <ac:spMkLst>
            <pc:docMk/>
            <pc:sldMk cId="193105062" sldId="4145"/>
            <ac:spMk id="12" creationId="{F7FFF5F5-12B3-4056-9516-8C06313C82B9}"/>
          </ac:spMkLst>
        </pc:spChg>
      </pc:sldChg>
      <pc:sldChg chg="add del">
        <pc:chgData name="Lia Taylor" userId="2ccad05f-5017-4e2b-87e4-bbc6d22f4e64" providerId="ADAL" clId="{F700537D-3675-41CA-A525-EB2E79DB2D9A}" dt="2018-12-10T21:32:43.317" v="4465" actId="2696"/>
        <pc:sldMkLst>
          <pc:docMk/>
          <pc:sldMk cId="3681004864" sldId="4145"/>
        </pc:sldMkLst>
      </pc:sldChg>
      <pc:sldChg chg="add del setBg">
        <pc:chgData name="Lia Taylor" userId="2ccad05f-5017-4e2b-87e4-bbc6d22f4e64" providerId="ADAL" clId="{F700537D-3675-41CA-A525-EB2E79DB2D9A}" dt="2018-12-12T23:37:03.548" v="6500"/>
        <pc:sldMkLst>
          <pc:docMk/>
          <pc:sldMk cId="2539680110" sldId="4197"/>
        </pc:sldMkLst>
      </pc:sldChg>
      <pc:sldChg chg="modSp add del modTransition">
        <pc:chgData name="Lia Taylor" userId="2ccad05f-5017-4e2b-87e4-bbc6d22f4e64" providerId="ADAL" clId="{F700537D-3675-41CA-A525-EB2E79DB2D9A}" dt="2018-12-12T23:37:03.548" v="6500"/>
        <pc:sldMkLst>
          <pc:docMk/>
          <pc:sldMk cId="1792226573" sldId="4210"/>
        </pc:sldMkLst>
        <pc:spChg chg="mod">
          <ac:chgData name="Lia Taylor" userId="2ccad05f-5017-4e2b-87e4-bbc6d22f4e64" providerId="ADAL" clId="{F700537D-3675-41CA-A525-EB2E79DB2D9A}" dt="2018-12-12T23:36:35.061" v="6498"/>
          <ac:spMkLst>
            <pc:docMk/>
            <pc:sldMk cId="1792226573" sldId="4210"/>
            <ac:spMk id="2" creationId="{B8C9918D-D4DE-4CCB-B077-43386D01E5BF}"/>
          </ac:spMkLst>
        </pc:spChg>
      </pc:sldChg>
      <pc:sldChg chg="addSp delSp modSp">
        <pc:chgData name="Lia Taylor" userId="2ccad05f-5017-4e2b-87e4-bbc6d22f4e64" providerId="ADAL" clId="{F700537D-3675-41CA-A525-EB2E79DB2D9A}" dt="2018-12-09T19:07:43.662" v="4048" actId="6549"/>
        <pc:sldMkLst>
          <pc:docMk/>
          <pc:sldMk cId="172171424" sldId="4225"/>
        </pc:sldMkLst>
        <pc:spChg chg="add del mod">
          <ac:chgData name="Lia Taylor" userId="2ccad05f-5017-4e2b-87e4-bbc6d22f4e64" providerId="ADAL" clId="{F700537D-3675-41CA-A525-EB2E79DB2D9A}" dt="2018-12-09T19:06:25.820" v="3940" actId="478"/>
          <ac:spMkLst>
            <pc:docMk/>
            <pc:sldMk cId="172171424" sldId="4225"/>
            <ac:spMk id="4" creationId="{46EA0B72-79BF-4C3C-A3FC-90C855B187B2}"/>
          </ac:spMkLst>
        </pc:spChg>
        <pc:spChg chg="del">
          <ac:chgData name="Lia Taylor" userId="2ccad05f-5017-4e2b-87e4-bbc6d22f4e64" providerId="ADAL" clId="{F700537D-3675-41CA-A525-EB2E79DB2D9A}" dt="2018-12-09T19:06:24.107" v="3939"/>
          <ac:spMkLst>
            <pc:docMk/>
            <pc:sldMk cId="172171424" sldId="4225"/>
            <ac:spMk id="8" creationId="{976946A3-5593-40CB-ABD8-6643DA5FC30E}"/>
          </ac:spMkLst>
        </pc:spChg>
        <pc:spChg chg="add mod">
          <ac:chgData name="Lia Taylor" userId="2ccad05f-5017-4e2b-87e4-bbc6d22f4e64" providerId="ADAL" clId="{F700537D-3675-41CA-A525-EB2E79DB2D9A}" dt="2018-12-09T19:07:43.662" v="4048" actId="6549"/>
          <ac:spMkLst>
            <pc:docMk/>
            <pc:sldMk cId="172171424" sldId="4225"/>
            <ac:spMk id="18" creationId="{4C9B031F-3680-4114-B91B-ECBA58802179}"/>
          </ac:spMkLst>
        </pc:spChg>
      </pc:sldChg>
      <pc:sldChg chg="add del">
        <pc:chgData name="Lia Taylor" userId="2ccad05f-5017-4e2b-87e4-bbc6d22f4e64" providerId="ADAL" clId="{F700537D-3675-41CA-A525-EB2E79DB2D9A}" dt="2018-12-12T23:37:03.548" v="6500"/>
        <pc:sldMkLst>
          <pc:docMk/>
          <pc:sldMk cId="889268377" sldId="4242"/>
        </pc:sldMkLst>
      </pc:sldChg>
      <pc:sldChg chg="modSp add del">
        <pc:chgData name="Lia Taylor" userId="2ccad05f-5017-4e2b-87e4-bbc6d22f4e64" providerId="ADAL" clId="{F700537D-3675-41CA-A525-EB2E79DB2D9A}" dt="2018-12-12T23:37:03.548" v="6500"/>
        <pc:sldMkLst>
          <pc:docMk/>
          <pc:sldMk cId="1792110710" sldId="4243"/>
        </pc:sldMkLst>
        <pc:spChg chg="mod">
          <ac:chgData name="Lia Taylor" userId="2ccad05f-5017-4e2b-87e4-bbc6d22f4e64" providerId="ADAL" clId="{F700537D-3675-41CA-A525-EB2E79DB2D9A}" dt="2018-12-12T23:36:35.061" v="6498"/>
          <ac:spMkLst>
            <pc:docMk/>
            <pc:sldMk cId="1792110710" sldId="4243"/>
            <ac:spMk id="8" creationId="{A0E16872-7AE3-4B3B-90BD-15D578B3D000}"/>
          </ac:spMkLst>
        </pc:spChg>
        <pc:spChg chg="mod">
          <ac:chgData name="Lia Taylor" userId="2ccad05f-5017-4e2b-87e4-bbc6d22f4e64" providerId="ADAL" clId="{F700537D-3675-41CA-A525-EB2E79DB2D9A}" dt="2018-12-04T23:12:48.770" v="52" actId="20577"/>
          <ac:spMkLst>
            <pc:docMk/>
            <pc:sldMk cId="1792110710" sldId="4243"/>
            <ac:spMk id="61" creationId="{6F1560CD-9970-43E9-AADF-4EED74CDE3A5}"/>
          </ac:spMkLst>
        </pc:spChg>
      </pc:sldChg>
      <pc:sldChg chg="add del modTransition">
        <pc:chgData name="Lia Taylor" userId="2ccad05f-5017-4e2b-87e4-bbc6d22f4e64" providerId="ADAL" clId="{F700537D-3675-41CA-A525-EB2E79DB2D9A}" dt="2018-12-12T23:37:03.548" v="6500"/>
        <pc:sldMkLst>
          <pc:docMk/>
          <pc:sldMk cId="66012125" sldId="4244"/>
        </pc:sldMkLst>
      </pc:sldChg>
      <pc:sldChg chg="add del modTransition">
        <pc:chgData name="Lia Taylor" userId="2ccad05f-5017-4e2b-87e4-bbc6d22f4e64" providerId="ADAL" clId="{F700537D-3675-41CA-A525-EB2E79DB2D9A}" dt="2018-12-12T23:37:03.548" v="6500"/>
        <pc:sldMkLst>
          <pc:docMk/>
          <pc:sldMk cId="2089380370" sldId="4245"/>
        </pc:sldMkLst>
      </pc:sldChg>
      <pc:sldChg chg="modSp add del modTransition">
        <pc:chgData name="Lia Taylor" userId="2ccad05f-5017-4e2b-87e4-bbc6d22f4e64" providerId="ADAL" clId="{F700537D-3675-41CA-A525-EB2E79DB2D9A}" dt="2018-12-12T23:37:03.548" v="6500"/>
        <pc:sldMkLst>
          <pc:docMk/>
          <pc:sldMk cId="2526255791" sldId="4246"/>
        </pc:sldMkLst>
        <pc:spChg chg="mod">
          <ac:chgData name="Lia Taylor" userId="2ccad05f-5017-4e2b-87e4-bbc6d22f4e64" providerId="ADAL" clId="{F700537D-3675-41CA-A525-EB2E79DB2D9A}" dt="2018-12-12T23:36:35.061" v="6498"/>
          <ac:spMkLst>
            <pc:docMk/>
            <pc:sldMk cId="2526255791" sldId="4246"/>
            <ac:spMk id="2" creationId="{EDB6E176-BD93-457E-A34E-A88C094E95A2}"/>
          </ac:spMkLst>
        </pc:spChg>
      </pc:sldChg>
      <pc:sldChg chg="add del modTransition">
        <pc:chgData name="Lia Taylor" userId="2ccad05f-5017-4e2b-87e4-bbc6d22f4e64" providerId="ADAL" clId="{F700537D-3675-41CA-A525-EB2E79DB2D9A}" dt="2018-12-12T23:37:03.548" v="6500"/>
        <pc:sldMkLst>
          <pc:docMk/>
          <pc:sldMk cId="1260726562" sldId="4247"/>
        </pc:sldMkLst>
      </pc:sldChg>
      <pc:sldChg chg="modSp">
        <pc:chgData name="Lia Taylor" userId="2ccad05f-5017-4e2b-87e4-bbc6d22f4e64" providerId="ADAL" clId="{F700537D-3675-41CA-A525-EB2E79DB2D9A}" dt="2018-12-07T21:53:44.727" v="1807" actId="1076"/>
        <pc:sldMkLst>
          <pc:docMk/>
          <pc:sldMk cId="845823551" sldId="4248"/>
        </pc:sldMkLst>
        <pc:spChg chg="mod">
          <ac:chgData name="Lia Taylor" userId="2ccad05f-5017-4e2b-87e4-bbc6d22f4e64" providerId="ADAL" clId="{F700537D-3675-41CA-A525-EB2E79DB2D9A}" dt="2018-12-07T21:53:42.209" v="1806" actId="1076"/>
          <ac:spMkLst>
            <pc:docMk/>
            <pc:sldMk cId="845823551" sldId="4248"/>
            <ac:spMk id="2" creationId="{B7BEF25B-8F33-4CB2-87BF-DD4CDD8FC209}"/>
          </ac:spMkLst>
        </pc:spChg>
        <pc:spChg chg="mod">
          <ac:chgData name="Lia Taylor" userId="2ccad05f-5017-4e2b-87e4-bbc6d22f4e64" providerId="ADAL" clId="{F700537D-3675-41CA-A525-EB2E79DB2D9A}" dt="2018-12-07T21:53:00.508" v="1801" actId="14100"/>
          <ac:spMkLst>
            <pc:docMk/>
            <pc:sldMk cId="845823551" sldId="4248"/>
            <ac:spMk id="4" creationId="{22E6D419-7B70-48D1-93DC-1B533BE6FA4E}"/>
          </ac:spMkLst>
        </pc:spChg>
        <pc:picChg chg="mod">
          <ac:chgData name="Lia Taylor" userId="2ccad05f-5017-4e2b-87e4-bbc6d22f4e64" providerId="ADAL" clId="{F700537D-3675-41CA-A525-EB2E79DB2D9A}" dt="2018-12-07T21:53:44.727" v="1807" actId="1076"/>
          <ac:picMkLst>
            <pc:docMk/>
            <pc:sldMk cId="845823551" sldId="4248"/>
            <ac:picMk id="1026" creationId="{0FB70DFA-F1C3-4ADB-BA7B-BC1FD49E0F60}"/>
          </ac:picMkLst>
        </pc:picChg>
      </pc:sldChg>
      <pc:sldChg chg="addSp delSp modSp ord">
        <pc:chgData name="Lia Taylor" userId="2ccad05f-5017-4e2b-87e4-bbc6d22f4e64" providerId="ADAL" clId="{F700537D-3675-41CA-A525-EB2E79DB2D9A}" dt="2018-12-09T19:28:17.179" v="4319"/>
        <pc:sldMkLst>
          <pc:docMk/>
          <pc:sldMk cId="3270559089" sldId="4249"/>
        </pc:sldMkLst>
        <pc:spChg chg="mod">
          <ac:chgData name="Lia Taylor" userId="2ccad05f-5017-4e2b-87e4-bbc6d22f4e64" providerId="ADAL" clId="{F700537D-3675-41CA-A525-EB2E79DB2D9A}" dt="2018-12-07T21:55:01.399" v="1821" actId="14100"/>
          <ac:spMkLst>
            <pc:docMk/>
            <pc:sldMk cId="3270559089" sldId="4249"/>
            <ac:spMk id="2" creationId="{B7BEF25B-8F33-4CB2-87BF-DD4CDD8FC209}"/>
          </ac:spMkLst>
        </pc:spChg>
        <pc:spChg chg="del">
          <ac:chgData name="Lia Taylor" userId="2ccad05f-5017-4e2b-87e4-bbc6d22f4e64" providerId="ADAL" clId="{F700537D-3675-41CA-A525-EB2E79DB2D9A}" dt="2018-12-07T21:53:19.535" v="1804" actId="478"/>
          <ac:spMkLst>
            <pc:docMk/>
            <pc:sldMk cId="3270559089" sldId="4249"/>
            <ac:spMk id="4" creationId="{E660EECD-0A5F-4993-B07D-CE7359319CD4}"/>
          </ac:spMkLst>
        </pc:spChg>
        <pc:spChg chg="add">
          <ac:chgData name="Lia Taylor" userId="2ccad05f-5017-4e2b-87e4-bbc6d22f4e64" providerId="ADAL" clId="{F700537D-3675-41CA-A525-EB2E79DB2D9A}" dt="2018-12-07T21:53:48.440" v="1808"/>
          <ac:spMkLst>
            <pc:docMk/>
            <pc:sldMk cId="3270559089" sldId="4249"/>
            <ac:spMk id="5" creationId="{CF3498E6-F501-4853-834E-24C8C86613A5}"/>
          </ac:spMkLst>
        </pc:spChg>
        <pc:picChg chg="mod">
          <ac:chgData name="Lia Taylor" userId="2ccad05f-5017-4e2b-87e4-bbc6d22f4e64" providerId="ADAL" clId="{F700537D-3675-41CA-A525-EB2E79DB2D9A}" dt="2018-12-07T21:53:50.449" v="1809" actId="1076"/>
          <ac:picMkLst>
            <pc:docMk/>
            <pc:sldMk cId="3270559089" sldId="4249"/>
            <ac:picMk id="1028" creationId="{E6EB59CF-9F8F-4059-AA5C-F179D411577D}"/>
          </ac:picMkLst>
        </pc:picChg>
      </pc:sldChg>
      <pc:sldChg chg="addSp delSp modSp ord">
        <pc:chgData name="Lia Taylor" userId="2ccad05f-5017-4e2b-87e4-bbc6d22f4e64" providerId="ADAL" clId="{F700537D-3675-41CA-A525-EB2E79DB2D9A}" dt="2018-12-09T19:28:17.179" v="4319"/>
        <pc:sldMkLst>
          <pc:docMk/>
          <pc:sldMk cId="1016227454" sldId="4250"/>
        </pc:sldMkLst>
        <pc:spChg chg="mod">
          <ac:chgData name="Lia Taylor" userId="2ccad05f-5017-4e2b-87e4-bbc6d22f4e64" providerId="ADAL" clId="{F700537D-3675-41CA-A525-EB2E79DB2D9A}" dt="2018-12-07T21:54:18.131" v="1816" actId="20577"/>
          <ac:spMkLst>
            <pc:docMk/>
            <pc:sldMk cId="1016227454" sldId="4250"/>
            <ac:spMk id="2" creationId="{B7BEF25B-8F33-4CB2-87BF-DD4CDD8FC209}"/>
          </ac:spMkLst>
        </pc:spChg>
        <pc:spChg chg="del">
          <ac:chgData name="Lia Taylor" userId="2ccad05f-5017-4e2b-87e4-bbc6d22f4e64" providerId="ADAL" clId="{F700537D-3675-41CA-A525-EB2E79DB2D9A}" dt="2018-12-07T21:53:57.203" v="1811" actId="478"/>
          <ac:spMkLst>
            <pc:docMk/>
            <pc:sldMk cId="1016227454" sldId="4250"/>
            <ac:spMk id="4" creationId="{5FEC772D-9716-4817-BFFE-4694C0AF47D1}"/>
          </ac:spMkLst>
        </pc:spChg>
        <pc:spChg chg="add">
          <ac:chgData name="Lia Taylor" userId="2ccad05f-5017-4e2b-87e4-bbc6d22f4e64" providerId="ADAL" clId="{F700537D-3675-41CA-A525-EB2E79DB2D9A}" dt="2018-12-07T21:53:54.061" v="1810"/>
          <ac:spMkLst>
            <pc:docMk/>
            <pc:sldMk cId="1016227454" sldId="4250"/>
            <ac:spMk id="5" creationId="{810AF852-AE1E-4489-B5DE-6089923AF572}"/>
          </ac:spMkLst>
        </pc:spChg>
        <pc:picChg chg="mod modCrop">
          <ac:chgData name="Lia Taylor" userId="2ccad05f-5017-4e2b-87e4-bbc6d22f4e64" providerId="ADAL" clId="{F700537D-3675-41CA-A525-EB2E79DB2D9A}" dt="2018-12-07T21:54:46.019" v="1820" actId="1076"/>
          <ac:picMkLst>
            <pc:docMk/>
            <pc:sldMk cId="1016227454" sldId="4250"/>
            <ac:picMk id="4098" creationId="{9C0B7BC1-0A44-417C-A533-91D95EE87ADA}"/>
          </ac:picMkLst>
        </pc:picChg>
      </pc:sldChg>
      <pc:sldChg chg="add del">
        <pc:chgData name="Lia Taylor" userId="2ccad05f-5017-4e2b-87e4-bbc6d22f4e64" providerId="ADAL" clId="{F700537D-3675-41CA-A525-EB2E79DB2D9A}" dt="2018-12-04T23:26:56.605" v="195" actId="2696"/>
        <pc:sldMkLst>
          <pc:docMk/>
          <pc:sldMk cId="660308589" sldId="4251"/>
        </pc:sldMkLst>
      </pc:sldChg>
      <pc:sldChg chg="delSp add del">
        <pc:chgData name="Lia Taylor" userId="2ccad05f-5017-4e2b-87e4-bbc6d22f4e64" providerId="ADAL" clId="{F700537D-3675-41CA-A525-EB2E79DB2D9A}" dt="2018-12-04T23:26:24.028" v="188" actId="2696"/>
        <pc:sldMkLst>
          <pc:docMk/>
          <pc:sldMk cId="3511771344" sldId="4251"/>
        </pc:sldMkLst>
        <pc:spChg chg="del">
          <ac:chgData name="Lia Taylor" userId="2ccad05f-5017-4e2b-87e4-bbc6d22f4e64" providerId="ADAL" clId="{F700537D-3675-41CA-A525-EB2E79DB2D9A}" dt="2018-12-04T23:25:59.581" v="186" actId="478"/>
          <ac:spMkLst>
            <pc:docMk/>
            <pc:sldMk cId="3511771344" sldId="4251"/>
            <ac:spMk id="22" creationId="{211897F4-7486-4BCA-ACDE-09CA71B27B65}"/>
          </ac:spMkLst>
        </pc:spChg>
      </pc:sldChg>
      <pc:sldChg chg="addSp delSp modSp add ord">
        <pc:chgData name="Lia Taylor" userId="2ccad05f-5017-4e2b-87e4-bbc6d22f4e64" providerId="ADAL" clId="{F700537D-3675-41CA-A525-EB2E79DB2D9A}" dt="2018-12-09T19:17:49.403" v="4135" actId="20577"/>
        <pc:sldMkLst>
          <pc:docMk/>
          <pc:sldMk cId="3753167990" sldId="4251"/>
        </pc:sldMkLst>
        <pc:spChg chg="mod">
          <ac:chgData name="Lia Taylor" userId="2ccad05f-5017-4e2b-87e4-bbc6d22f4e64" providerId="ADAL" clId="{F700537D-3675-41CA-A525-EB2E79DB2D9A}" dt="2018-12-09T19:17:48.733" v="4134" actId="20577"/>
          <ac:spMkLst>
            <pc:docMk/>
            <pc:sldMk cId="3753167990" sldId="4251"/>
            <ac:spMk id="2" creationId="{3BF04924-D1DA-44BC-9F55-A5A95DDC31BC}"/>
          </ac:spMkLst>
        </pc:spChg>
        <pc:spChg chg="mod">
          <ac:chgData name="Lia Taylor" userId="2ccad05f-5017-4e2b-87e4-bbc6d22f4e64" providerId="ADAL" clId="{F700537D-3675-41CA-A525-EB2E79DB2D9A}" dt="2018-12-09T18:49:40.164" v="3519" actId="1076"/>
          <ac:spMkLst>
            <pc:docMk/>
            <pc:sldMk cId="3753167990" sldId="4251"/>
            <ac:spMk id="3" creationId="{2984D358-E34C-43FF-ABA5-B72CCD878747}"/>
          </ac:spMkLst>
        </pc:spChg>
        <pc:spChg chg="mod">
          <ac:chgData name="Lia Taylor" userId="2ccad05f-5017-4e2b-87e4-bbc6d22f4e64" providerId="ADAL" clId="{F700537D-3675-41CA-A525-EB2E79DB2D9A}" dt="2018-12-09T18:49:40.164" v="3519" actId="1076"/>
          <ac:spMkLst>
            <pc:docMk/>
            <pc:sldMk cId="3753167990" sldId="4251"/>
            <ac:spMk id="4" creationId="{F7CE6A5E-F969-430B-9924-365BD38F08A4}"/>
          </ac:spMkLst>
        </pc:spChg>
        <pc:spChg chg="mod">
          <ac:chgData name="Lia Taylor" userId="2ccad05f-5017-4e2b-87e4-bbc6d22f4e64" providerId="ADAL" clId="{F700537D-3675-41CA-A525-EB2E79DB2D9A}" dt="2018-12-09T18:49:40.164" v="3519" actId="1076"/>
          <ac:spMkLst>
            <pc:docMk/>
            <pc:sldMk cId="3753167990" sldId="4251"/>
            <ac:spMk id="5" creationId="{4C1D77DA-B27F-43DE-A0E5-816009DEF337}"/>
          </ac:spMkLst>
        </pc:spChg>
        <pc:spChg chg="del">
          <ac:chgData name="Lia Taylor" userId="2ccad05f-5017-4e2b-87e4-bbc6d22f4e64" providerId="ADAL" clId="{F700537D-3675-41CA-A525-EB2E79DB2D9A}" dt="2018-12-04T23:27:22.711" v="198" actId="478"/>
          <ac:spMkLst>
            <pc:docMk/>
            <pc:sldMk cId="3753167990" sldId="4251"/>
            <ac:spMk id="6" creationId="{84041B1B-3DBB-465D-9DCD-3D2115695C42}"/>
          </ac:spMkLst>
        </pc:spChg>
        <pc:spChg chg="add del mod">
          <ac:chgData name="Lia Taylor" userId="2ccad05f-5017-4e2b-87e4-bbc6d22f4e64" providerId="ADAL" clId="{F700537D-3675-41CA-A525-EB2E79DB2D9A}" dt="2018-12-04T23:27:24.929" v="199" actId="478"/>
          <ac:spMkLst>
            <pc:docMk/>
            <pc:sldMk cId="3753167990" sldId="4251"/>
            <ac:spMk id="8" creationId="{7E6D274B-9CCF-4087-B14B-980F9AC48877}"/>
          </ac:spMkLst>
        </pc:spChg>
        <pc:spChg chg="add mod">
          <ac:chgData name="Lia Taylor" userId="2ccad05f-5017-4e2b-87e4-bbc6d22f4e64" providerId="ADAL" clId="{F700537D-3675-41CA-A525-EB2E79DB2D9A}" dt="2018-12-09T18:50:06.692" v="3523" actId="113"/>
          <ac:spMkLst>
            <pc:docMk/>
            <pc:sldMk cId="3753167990" sldId="4251"/>
            <ac:spMk id="24" creationId="{D7094F31-7631-4BCE-9E02-64097A9DCC78}"/>
          </ac:spMkLst>
        </pc:spChg>
        <pc:spChg chg="add del">
          <ac:chgData name="Lia Taylor" userId="2ccad05f-5017-4e2b-87e4-bbc6d22f4e64" providerId="ADAL" clId="{F700537D-3675-41CA-A525-EB2E79DB2D9A}" dt="2018-12-09T18:43:10.810" v="3451" actId="478"/>
          <ac:spMkLst>
            <pc:docMk/>
            <pc:sldMk cId="3753167990" sldId="4251"/>
            <ac:spMk id="25" creationId="{FC6067EB-2DD0-4319-8B18-21419689C1CF}"/>
          </ac:spMkLst>
        </pc:spChg>
        <pc:spChg chg="mod">
          <ac:chgData name="Lia Taylor" userId="2ccad05f-5017-4e2b-87e4-bbc6d22f4e64" providerId="ADAL" clId="{F700537D-3675-41CA-A525-EB2E79DB2D9A}" dt="2018-12-09T18:49:40.164" v="3519" actId="1076"/>
          <ac:spMkLst>
            <pc:docMk/>
            <pc:sldMk cId="3753167990" sldId="4251"/>
            <ac:spMk id="33" creationId="{2B42880C-683F-4D4E-8385-C30C6E6FF65A}"/>
          </ac:spMkLst>
        </pc:spChg>
        <pc:spChg chg="mod">
          <ac:chgData name="Lia Taylor" userId="2ccad05f-5017-4e2b-87e4-bbc6d22f4e64" providerId="ADAL" clId="{F700537D-3675-41CA-A525-EB2E79DB2D9A}" dt="2018-12-09T19:17:49.403" v="4135" actId="20577"/>
          <ac:spMkLst>
            <pc:docMk/>
            <pc:sldMk cId="3753167990" sldId="4251"/>
            <ac:spMk id="34" creationId="{A7F513B3-A26F-451E-B1A5-969CB9812454}"/>
          </ac:spMkLst>
        </pc:spChg>
        <pc:spChg chg="mod">
          <ac:chgData name="Lia Taylor" userId="2ccad05f-5017-4e2b-87e4-bbc6d22f4e64" providerId="ADAL" clId="{F700537D-3675-41CA-A525-EB2E79DB2D9A}" dt="2018-12-09T18:49:40.164" v="3519" actId="1076"/>
          <ac:spMkLst>
            <pc:docMk/>
            <pc:sldMk cId="3753167990" sldId="4251"/>
            <ac:spMk id="40" creationId="{B29009D0-7E58-4D37-82FF-9E6E5F3C68E4}"/>
          </ac:spMkLst>
        </pc:spChg>
        <pc:spChg chg="mod">
          <ac:chgData name="Lia Taylor" userId="2ccad05f-5017-4e2b-87e4-bbc6d22f4e64" providerId="ADAL" clId="{F700537D-3675-41CA-A525-EB2E79DB2D9A}" dt="2018-12-09T18:49:40.164" v="3519" actId="1076"/>
          <ac:spMkLst>
            <pc:docMk/>
            <pc:sldMk cId="3753167990" sldId="4251"/>
            <ac:spMk id="41" creationId="{A661590D-113D-4D4C-BD44-913ED0B67E73}"/>
          </ac:spMkLst>
        </pc:spChg>
        <pc:spChg chg="mod">
          <ac:chgData name="Lia Taylor" userId="2ccad05f-5017-4e2b-87e4-bbc6d22f4e64" providerId="ADAL" clId="{F700537D-3675-41CA-A525-EB2E79DB2D9A}" dt="2018-12-09T18:49:40.164" v="3519" actId="1076"/>
          <ac:spMkLst>
            <pc:docMk/>
            <pc:sldMk cId="3753167990" sldId="4251"/>
            <ac:spMk id="42" creationId="{C617B38B-F062-4080-A41D-3391167DCD80}"/>
          </ac:spMkLst>
        </pc:spChg>
        <pc:spChg chg="mod">
          <ac:chgData name="Lia Taylor" userId="2ccad05f-5017-4e2b-87e4-bbc6d22f4e64" providerId="ADAL" clId="{F700537D-3675-41CA-A525-EB2E79DB2D9A}" dt="2018-12-09T18:49:40.164" v="3519" actId="1076"/>
          <ac:spMkLst>
            <pc:docMk/>
            <pc:sldMk cId="3753167990" sldId="4251"/>
            <ac:spMk id="43" creationId="{960D876B-E1E0-4366-B073-2B474573F928}"/>
          </ac:spMkLst>
        </pc:spChg>
        <pc:spChg chg="mod">
          <ac:chgData name="Lia Taylor" userId="2ccad05f-5017-4e2b-87e4-bbc6d22f4e64" providerId="ADAL" clId="{F700537D-3675-41CA-A525-EB2E79DB2D9A}" dt="2018-12-09T18:49:40.164" v="3519" actId="1076"/>
          <ac:spMkLst>
            <pc:docMk/>
            <pc:sldMk cId="3753167990" sldId="4251"/>
            <ac:spMk id="45" creationId="{5B59D334-D216-4D56-9E2E-FE5ED5E8EA23}"/>
          </ac:spMkLst>
        </pc:spChg>
        <pc:spChg chg="mod">
          <ac:chgData name="Lia Taylor" userId="2ccad05f-5017-4e2b-87e4-bbc6d22f4e64" providerId="ADAL" clId="{F700537D-3675-41CA-A525-EB2E79DB2D9A}" dt="2018-12-09T18:49:40.164" v="3519" actId="1076"/>
          <ac:spMkLst>
            <pc:docMk/>
            <pc:sldMk cId="3753167990" sldId="4251"/>
            <ac:spMk id="50" creationId="{11719F23-A52D-4E34-8EF3-E5180EC75D46}"/>
          </ac:spMkLst>
        </pc:spChg>
        <pc:spChg chg="mod">
          <ac:chgData name="Lia Taylor" userId="2ccad05f-5017-4e2b-87e4-bbc6d22f4e64" providerId="ADAL" clId="{F700537D-3675-41CA-A525-EB2E79DB2D9A}" dt="2018-12-09T18:49:40.164" v="3519" actId="1076"/>
          <ac:spMkLst>
            <pc:docMk/>
            <pc:sldMk cId="3753167990" sldId="4251"/>
            <ac:spMk id="55" creationId="{EFC4A382-9BFF-45B5-B7E9-1E1E98FCA6CA}"/>
          </ac:spMkLst>
        </pc:spChg>
        <pc:grpChg chg="mod">
          <ac:chgData name="Lia Taylor" userId="2ccad05f-5017-4e2b-87e4-bbc6d22f4e64" providerId="ADAL" clId="{F700537D-3675-41CA-A525-EB2E79DB2D9A}" dt="2018-12-09T18:49:40.164" v="3519" actId="1076"/>
          <ac:grpSpMkLst>
            <pc:docMk/>
            <pc:sldMk cId="3753167990" sldId="4251"/>
            <ac:grpSpMk id="36" creationId="{87D69E47-B0EE-49D3-9D1C-CE4D9CC46288}"/>
          </ac:grpSpMkLst>
        </pc:grpChg>
        <pc:cxnChg chg="mod">
          <ac:chgData name="Lia Taylor" userId="2ccad05f-5017-4e2b-87e4-bbc6d22f4e64" providerId="ADAL" clId="{F700537D-3675-41CA-A525-EB2E79DB2D9A}" dt="2018-12-09T18:49:40.164" v="3519" actId="1076"/>
          <ac:cxnSpMkLst>
            <pc:docMk/>
            <pc:sldMk cId="3753167990" sldId="4251"/>
            <ac:cxnSpMk id="9" creationId="{5A6F2291-BF29-4BCA-97B3-D7243843DAFB}"/>
          </ac:cxnSpMkLst>
        </pc:cxnChg>
        <pc:cxnChg chg="mod">
          <ac:chgData name="Lia Taylor" userId="2ccad05f-5017-4e2b-87e4-bbc6d22f4e64" providerId="ADAL" clId="{F700537D-3675-41CA-A525-EB2E79DB2D9A}" dt="2018-12-09T18:49:40.164" v="3519" actId="1076"/>
          <ac:cxnSpMkLst>
            <pc:docMk/>
            <pc:sldMk cId="3753167990" sldId="4251"/>
            <ac:cxnSpMk id="44" creationId="{1F8D14F6-B545-4180-BB10-BE32FDCD1D9D}"/>
          </ac:cxnSpMkLst>
        </pc:cxnChg>
      </pc:sldChg>
      <pc:sldChg chg="delSp add del modTransition">
        <pc:chgData name="Lia Taylor" userId="2ccad05f-5017-4e2b-87e4-bbc6d22f4e64" providerId="ADAL" clId="{F700537D-3675-41CA-A525-EB2E79DB2D9A}" dt="2018-12-12T23:37:03.548" v="6500"/>
        <pc:sldMkLst>
          <pc:docMk/>
          <pc:sldMk cId="820469411" sldId="4252"/>
        </pc:sldMkLst>
        <pc:spChg chg="del">
          <ac:chgData name="Lia Taylor" userId="2ccad05f-5017-4e2b-87e4-bbc6d22f4e64" providerId="ADAL" clId="{F700537D-3675-41CA-A525-EB2E79DB2D9A}" dt="2018-12-04T23:25:37.851" v="185" actId="478"/>
          <ac:spMkLst>
            <pc:docMk/>
            <pc:sldMk cId="820469411" sldId="4252"/>
            <ac:spMk id="40" creationId="{6EC56342-EFC8-4839-B493-230A45DF3270}"/>
          </ac:spMkLst>
        </pc:spChg>
      </pc:sldChg>
      <pc:sldChg chg="add del">
        <pc:chgData name="Lia Taylor" userId="2ccad05f-5017-4e2b-87e4-bbc6d22f4e64" providerId="ADAL" clId="{F700537D-3675-41CA-A525-EB2E79DB2D9A}" dt="2018-12-04T23:26:56.702" v="196" actId="2696"/>
        <pc:sldMkLst>
          <pc:docMk/>
          <pc:sldMk cId="2138410231" sldId="4252"/>
        </pc:sldMkLst>
      </pc:sldChg>
      <pc:sldChg chg="add del ord">
        <pc:chgData name="Lia Taylor" userId="2ccad05f-5017-4e2b-87e4-bbc6d22f4e64" providerId="ADAL" clId="{F700537D-3675-41CA-A525-EB2E79DB2D9A}" dt="2018-12-04T23:36:57.254" v="287" actId="2696"/>
        <pc:sldMkLst>
          <pc:docMk/>
          <pc:sldMk cId="3567944174" sldId="4252"/>
        </pc:sldMkLst>
      </pc:sldChg>
      <pc:sldChg chg="delSp add del">
        <pc:chgData name="Lia Taylor" userId="2ccad05f-5017-4e2b-87e4-bbc6d22f4e64" providerId="ADAL" clId="{F700537D-3675-41CA-A525-EB2E79DB2D9A}" dt="2018-12-04T23:26:24.399" v="190" actId="2696"/>
        <pc:sldMkLst>
          <pc:docMk/>
          <pc:sldMk cId="50196969" sldId="4253"/>
        </pc:sldMkLst>
        <pc:spChg chg="del">
          <ac:chgData name="Lia Taylor" userId="2ccad05f-5017-4e2b-87e4-bbc6d22f4e64" providerId="ADAL" clId="{F700537D-3675-41CA-A525-EB2E79DB2D9A}" dt="2018-12-04T23:25:31.892" v="184" actId="478"/>
          <ac:spMkLst>
            <pc:docMk/>
            <pc:sldMk cId="50196969" sldId="4253"/>
            <ac:spMk id="38" creationId="{4F35EE2C-0932-4AD2-BF06-52FABD67FA14}"/>
          </ac:spMkLst>
        </pc:spChg>
      </pc:sldChg>
      <pc:sldChg chg="addSp delSp modSp add ord">
        <pc:chgData name="Lia Taylor" userId="2ccad05f-5017-4e2b-87e4-bbc6d22f4e64" providerId="ADAL" clId="{F700537D-3675-41CA-A525-EB2E79DB2D9A}" dt="2018-12-09T19:16:26.502" v="4107" actId="207"/>
        <pc:sldMkLst>
          <pc:docMk/>
          <pc:sldMk cId="625503124" sldId="4253"/>
        </pc:sldMkLst>
        <pc:spChg chg="add del mod">
          <ac:chgData name="Lia Taylor" userId="2ccad05f-5017-4e2b-87e4-bbc6d22f4e64" providerId="ADAL" clId="{F700537D-3675-41CA-A525-EB2E79DB2D9A}" dt="2018-12-05T18:05:19.471" v="493" actId="478"/>
          <ac:spMkLst>
            <pc:docMk/>
            <pc:sldMk cId="625503124" sldId="4253"/>
            <ac:spMk id="3" creationId="{0C5E9FF4-0EC1-416E-ACE7-C668C35B12A5}"/>
          </ac:spMkLst>
        </pc:spChg>
        <pc:spChg chg="mod">
          <ac:chgData name="Lia Taylor" userId="2ccad05f-5017-4e2b-87e4-bbc6d22f4e64" providerId="ADAL" clId="{F700537D-3675-41CA-A525-EB2E79DB2D9A}" dt="2018-12-05T18:05:30.541" v="494" actId="1076"/>
          <ac:spMkLst>
            <pc:docMk/>
            <pc:sldMk cId="625503124" sldId="4253"/>
            <ac:spMk id="5" creationId="{EC43C6DE-B5DB-4353-A222-7DB66A396AB4}"/>
          </ac:spMkLst>
        </pc:spChg>
        <pc:spChg chg="mod">
          <ac:chgData name="Lia Taylor" userId="2ccad05f-5017-4e2b-87e4-bbc6d22f4e64" providerId="ADAL" clId="{F700537D-3675-41CA-A525-EB2E79DB2D9A}" dt="2018-12-05T18:05:30.541" v="494" actId="1076"/>
          <ac:spMkLst>
            <pc:docMk/>
            <pc:sldMk cId="625503124" sldId="4253"/>
            <ac:spMk id="7" creationId="{95726ADF-A2E1-4A51-A63F-4460B9342F71}"/>
          </ac:spMkLst>
        </pc:spChg>
        <pc:spChg chg="mod">
          <ac:chgData name="Lia Taylor" userId="2ccad05f-5017-4e2b-87e4-bbc6d22f4e64" providerId="ADAL" clId="{F700537D-3675-41CA-A525-EB2E79DB2D9A}" dt="2018-12-05T18:05:30.541" v="494" actId="1076"/>
          <ac:spMkLst>
            <pc:docMk/>
            <pc:sldMk cId="625503124" sldId="4253"/>
            <ac:spMk id="9" creationId="{BC8E8A9F-3DF6-49C8-96C3-2DD444DDB227}"/>
          </ac:spMkLst>
        </pc:spChg>
        <pc:spChg chg="del">
          <ac:chgData name="Lia Taylor" userId="2ccad05f-5017-4e2b-87e4-bbc6d22f4e64" providerId="ADAL" clId="{F700537D-3675-41CA-A525-EB2E79DB2D9A}" dt="2018-12-05T18:05:16.748" v="492" actId="478"/>
          <ac:spMkLst>
            <pc:docMk/>
            <pc:sldMk cId="625503124" sldId="4253"/>
            <ac:spMk id="16" creationId="{BE16602C-57A3-491F-8A0B-3A4625D77DBB}"/>
          </ac:spMkLst>
        </pc:spChg>
        <pc:spChg chg="mod">
          <ac:chgData name="Lia Taylor" userId="2ccad05f-5017-4e2b-87e4-bbc6d22f4e64" providerId="ADAL" clId="{F700537D-3675-41CA-A525-EB2E79DB2D9A}" dt="2018-12-05T18:05:30.541" v="494" actId="1076"/>
          <ac:spMkLst>
            <pc:docMk/>
            <pc:sldMk cId="625503124" sldId="4253"/>
            <ac:spMk id="17" creationId="{FF0DF8F8-3171-4550-BD7C-4B104D2DF1C4}"/>
          </ac:spMkLst>
        </pc:spChg>
        <pc:spChg chg="mod">
          <ac:chgData name="Lia Taylor" userId="2ccad05f-5017-4e2b-87e4-bbc6d22f4e64" providerId="ADAL" clId="{F700537D-3675-41CA-A525-EB2E79DB2D9A}" dt="2018-12-05T18:05:30.541" v="494" actId="1076"/>
          <ac:spMkLst>
            <pc:docMk/>
            <pc:sldMk cId="625503124" sldId="4253"/>
            <ac:spMk id="20" creationId="{4533314B-0895-4C2F-8FCB-903A7F0A95ED}"/>
          </ac:spMkLst>
        </pc:spChg>
        <pc:spChg chg="mod">
          <ac:chgData name="Lia Taylor" userId="2ccad05f-5017-4e2b-87e4-bbc6d22f4e64" providerId="ADAL" clId="{F700537D-3675-41CA-A525-EB2E79DB2D9A}" dt="2018-12-05T18:05:30.541" v="494" actId="1076"/>
          <ac:spMkLst>
            <pc:docMk/>
            <pc:sldMk cId="625503124" sldId="4253"/>
            <ac:spMk id="23" creationId="{B103D31C-E703-4989-B1CC-10C30351EFB0}"/>
          </ac:spMkLst>
        </pc:spChg>
        <pc:spChg chg="mod">
          <ac:chgData name="Lia Taylor" userId="2ccad05f-5017-4e2b-87e4-bbc6d22f4e64" providerId="ADAL" clId="{F700537D-3675-41CA-A525-EB2E79DB2D9A}" dt="2018-12-05T18:05:30.541" v="494" actId="1076"/>
          <ac:spMkLst>
            <pc:docMk/>
            <pc:sldMk cId="625503124" sldId="4253"/>
            <ac:spMk id="24" creationId="{E9780C31-956D-4DA5-B5CA-DE635164B615}"/>
          </ac:spMkLst>
        </pc:spChg>
        <pc:spChg chg="mod">
          <ac:chgData name="Lia Taylor" userId="2ccad05f-5017-4e2b-87e4-bbc6d22f4e64" providerId="ADAL" clId="{F700537D-3675-41CA-A525-EB2E79DB2D9A}" dt="2018-12-05T18:05:30.541" v="494" actId="1076"/>
          <ac:spMkLst>
            <pc:docMk/>
            <pc:sldMk cId="625503124" sldId="4253"/>
            <ac:spMk id="28" creationId="{6CD856A3-F1B3-4BFD-BE21-1A76A8749B20}"/>
          </ac:spMkLst>
        </pc:spChg>
        <pc:spChg chg="mod">
          <ac:chgData name="Lia Taylor" userId="2ccad05f-5017-4e2b-87e4-bbc6d22f4e64" providerId="ADAL" clId="{F700537D-3675-41CA-A525-EB2E79DB2D9A}" dt="2018-12-05T18:05:30.541" v="494" actId="1076"/>
          <ac:spMkLst>
            <pc:docMk/>
            <pc:sldMk cId="625503124" sldId="4253"/>
            <ac:spMk id="29" creationId="{A964710D-338A-4790-A1B6-743E55827362}"/>
          </ac:spMkLst>
        </pc:spChg>
        <pc:spChg chg="mod">
          <ac:chgData name="Lia Taylor" userId="2ccad05f-5017-4e2b-87e4-bbc6d22f4e64" providerId="ADAL" clId="{F700537D-3675-41CA-A525-EB2E79DB2D9A}" dt="2018-12-05T18:05:30.541" v="494" actId="1076"/>
          <ac:spMkLst>
            <pc:docMk/>
            <pc:sldMk cId="625503124" sldId="4253"/>
            <ac:spMk id="32" creationId="{C5484EC9-3A41-49BC-82CD-90DCD9AFC823}"/>
          </ac:spMkLst>
        </pc:spChg>
        <pc:spChg chg="mod">
          <ac:chgData name="Lia Taylor" userId="2ccad05f-5017-4e2b-87e4-bbc6d22f4e64" providerId="ADAL" clId="{F700537D-3675-41CA-A525-EB2E79DB2D9A}" dt="2018-12-05T18:05:30.541" v="494" actId="1076"/>
          <ac:spMkLst>
            <pc:docMk/>
            <pc:sldMk cId="625503124" sldId="4253"/>
            <ac:spMk id="33" creationId="{E3D5B207-EA74-4877-8562-3DC101860479}"/>
          </ac:spMkLst>
        </pc:spChg>
        <pc:spChg chg="mod">
          <ac:chgData name="Lia Taylor" userId="2ccad05f-5017-4e2b-87e4-bbc6d22f4e64" providerId="ADAL" clId="{F700537D-3675-41CA-A525-EB2E79DB2D9A}" dt="2018-12-05T18:05:30.541" v="494" actId="1076"/>
          <ac:spMkLst>
            <pc:docMk/>
            <pc:sldMk cId="625503124" sldId="4253"/>
            <ac:spMk id="34" creationId="{266E18FA-EEFE-45A8-8E7C-0173D62EAA65}"/>
          </ac:spMkLst>
        </pc:spChg>
        <pc:spChg chg="mod">
          <ac:chgData name="Lia Taylor" userId="2ccad05f-5017-4e2b-87e4-bbc6d22f4e64" providerId="ADAL" clId="{F700537D-3675-41CA-A525-EB2E79DB2D9A}" dt="2018-12-05T18:05:30.541" v="494" actId="1076"/>
          <ac:spMkLst>
            <pc:docMk/>
            <pc:sldMk cId="625503124" sldId="4253"/>
            <ac:spMk id="35" creationId="{54D681F3-E96C-4EB1-8CB0-632568870989}"/>
          </ac:spMkLst>
        </pc:spChg>
        <pc:spChg chg="mod">
          <ac:chgData name="Lia Taylor" userId="2ccad05f-5017-4e2b-87e4-bbc6d22f4e64" providerId="ADAL" clId="{F700537D-3675-41CA-A525-EB2E79DB2D9A}" dt="2018-12-05T18:05:30.541" v="494" actId="1076"/>
          <ac:spMkLst>
            <pc:docMk/>
            <pc:sldMk cId="625503124" sldId="4253"/>
            <ac:spMk id="36" creationId="{94784F0C-0306-491F-8839-6547F2F816AE}"/>
          </ac:spMkLst>
        </pc:spChg>
        <pc:spChg chg="mod">
          <ac:chgData name="Lia Taylor" userId="2ccad05f-5017-4e2b-87e4-bbc6d22f4e64" providerId="ADAL" clId="{F700537D-3675-41CA-A525-EB2E79DB2D9A}" dt="2018-12-05T18:05:30.541" v="494" actId="1076"/>
          <ac:spMkLst>
            <pc:docMk/>
            <pc:sldMk cId="625503124" sldId="4253"/>
            <ac:spMk id="37" creationId="{A9BC4132-B977-422A-96AE-58206C81E7FC}"/>
          </ac:spMkLst>
        </pc:spChg>
        <pc:spChg chg="add del">
          <ac:chgData name="Lia Taylor" userId="2ccad05f-5017-4e2b-87e4-bbc6d22f4e64" providerId="ADAL" clId="{F700537D-3675-41CA-A525-EB2E79DB2D9A}" dt="2018-12-09T18:46:53.359" v="3494" actId="478"/>
          <ac:spMkLst>
            <pc:docMk/>
            <pc:sldMk cId="625503124" sldId="4253"/>
            <ac:spMk id="38" creationId="{6A7632C0-5580-450B-90C5-2F177FF75478}"/>
          </ac:spMkLst>
        </pc:spChg>
        <pc:spChg chg="add mod">
          <ac:chgData name="Lia Taylor" userId="2ccad05f-5017-4e2b-87e4-bbc6d22f4e64" providerId="ADAL" clId="{F700537D-3675-41CA-A525-EB2E79DB2D9A}" dt="2018-12-09T19:16:26.502" v="4107" actId="207"/>
          <ac:spMkLst>
            <pc:docMk/>
            <pc:sldMk cId="625503124" sldId="4253"/>
            <ac:spMk id="39" creationId="{CA3E7AFF-0711-4C77-9E43-F17AF948C9A1}"/>
          </ac:spMkLst>
        </pc:spChg>
        <pc:spChg chg="mod">
          <ac:chgData name="Lia Taylor" userId="2ccad05f-5017-4e2b-87e4-bbc6d22f4e64" providerId="ADAL" clId="{F700537D-3675-41CA-A525-EB2E79DB2D9A}" dt="2018-12-05T18:05:30.541" v="494" actId="1076"/>
          <ac:spMkLst>
            <pc:docMk/>
            <pc:sldMk cId="625503124" sldId="4253"/>
            <ac:spMk id="41" creationId="{0E335D10-7C3B-4369-B5E7-44DEA896F617}"/>
          </ac:spMkLst>
        </pc:spChg>
        <pc:spChg chg="mod">
          <ac:chgData name="Lia Taylor" userId="2ccad05f-5017-4e2b-87e4-bbc6d22f4e64" providerId="ADAL" clId="{F700537D-3675-41CA-A525-EB2E79DB2D9A}" dt="2018-12-05T18:05:30.541" v="494" actId="1076"/>
          <ac:spMkLst>
            <pc:docMk/>
            <pc:sldMk cId="625503124" sldId="4253"/>
            <ac:spMk id="42" creationId="{D4DAAA69-160A-48B5-84CE-9DDA88B53501}"/>
          </ac:spMkLst>
        </pc:spChg>
        <pc:graphicFrameChg chg="mod">
          <ac:chgData name="Lia Taylor" userId="2ccad05f-5017-4e2b-87e4-bbc6d22f4e64" providerId="ADAL" clId="{F700537D-3675-41CA-A525-EB2E79DB2D9A}" dt="2018-12-05T18:05:30.541" v="494" actId="1076"/>
          <ac:graphicFrameMkLst>
            <pc:docMk/>
            <pc:sldMk cId="625503124" sldId="4253"/>
            <ac:graphicFrameMk id="25" creationId="{72B0F423-ED02-495B-BD72-96D61BF78AE7}"/>
          </ac:graphicFrameMkLst>
        </pc:graphicFrameChg>
        <pc:picChg chg="mod">
          <ac:chgData name="Lia Taylor" userId="2ccad05f-5017-4e2b-87e4-bbc6d22f4e64" providerId="ADAL" clId="{F700537D-3675-41CA-A525-EB2E79DB2D9A}" dt="2018-12-05T18:05:30.541" v="494" actId="1076"/>
          <ac:picMkLst>
            <pc:docMk/>
            <pc:sldMk cId="625503124" sldId="4253"/>
            <ac:picMk id="22" creationId="{69E99A59-EEAE-4F19-B128-EF5E0EECE869}"/>
          </ac:picMkLst>
        </pc:picChg>
        <pc:picChg chg="mod">
          <ac:chgData name="Lia Taylor" userId="2ccad05f-5017-4e2b-87e4-bbc6d22f4e64" providerId="ADAL" clId="{F700537D-3675-41CA-A525-EB2E79DB2D9A}" dt="2018-12-05T18:05:30.541" v="494" actId="1076"/>
          <ac:picMkLst>
            <pc:docMk/>
            <pc:sldMk cId="625503124" sldId="4253"/>
            <ac:picMk id="26" creationId="{6BB168AF-0E2B-4183-9EF2-BB8262B714A4}"/>
          </ac:picMkLst>
        </pc:picChg>
        <pc:picChg chg="mod">
          <ac:chgData name="Lia Taylor" userId="2ccad05f-5017-4e2b-87e4-bbc6d22f4e64" providerId="ADAL" clId="{F700537D-3675-41CA-A525-EB2E79DB2D9A}" dt="2018-12-05T18:05:30.541" v="494" actId="1076"/>
          <ac:picMkLst>
            <pc:docMk/>
            <pc:sldMk cId="625503124" sldId="4253"/>
            <ac:picMk id="27" creationId="{08D472E5-0E6B-486B-A50C-443E2D48D385}"/>
          </ac:picMkLst>
        </pc:picChg>
        <pc:cxnChg chg="mod">
          <ac:chgData name="Lia Taylor" userId="2ccad05f-5017-4e2b-87e4-bbc6d22f4e64" providerId="ADAL" clId="{F700537D-3675-41CA-A525-EB2E79DB2D9A}" dt="2018-12-05T18:05:30.541" v="494" actId="1076"/>
          <ac:cxnSpMkLst>
            <pc:docMk/>
            <pc:sldMk cId="625503124" sldId="4253"/>
            <ac:cxnSpMk id="19" creationId="{6252B5C1-DD79-4BF1-8B05-ACD386F2F397}"/>
          </ac:cxnSpMkLst>
        </pc:cxnChg>
        <pc:cxnChg chg="mod">
          <ac:chgData name="Lia Taylor" userId="2ccad05f-5017-4e2b-87e4-bbc6d22f4e64" providerId="ADAL" clId="{F700537D-3675-41CA-A525-EB2E79DB2D9A}" dt="2018-12-05T18:05:30.541" v="494" actId="1076"/>
          <ac:cxnSpMkLst>
            <pc:docMk/>
            <pc:sldMk cId="625503124" sldId="4253"/>
            <ac:cxnSpMk id="21" creationId="{62EFB1B5-C44E-4DCE-BAAA-882B4731D129}"/>
          </ac:cxnSpMkLst>
        </pc:cxnChg>
      </pc:sldChg>
      <pc:sldChg chg="delSp add del">
        <pc:chgData name="Lia Taylor" userId="2ccad05f-5017-4e2b-87e4-bbc6d22f4e64" providerId="ADAL" clId="{F700537D-3675-41CA-A525-EB2E79DB2D9A}" dt="2018-12-04T23:26:24.432" v="192" actId="2696"/>
        <pc:sldMkLst>
          <pc:docMk/>
          <pc:sldMk cId="2652026896" sldId="4254"/>
        </pc:sldMkLst>
        <pc:spChg chg="del">
          <ac:chgData name="Lia Taylor" userId="2ccad05f-5017-4e2b-87e4-bbc6d22f4e64" providerId="ADAL" clId="{F700537D-3675-41CA-A525-EB2E79DB2D9A}" dt="2018-12-04T23:26:16.923" v="187" actId="478"/>
          <ac:spMkLst>
            <pc:docMk/>
            <pc:sldMk cId="2652026896" sldId="4254"/>
            <ac:spMk id="4" creationId="{8AC52F83-DDEB-4D4C-A12C-6DD41624C722}"/>
          </ac:spMkLst>
        </pc:spChg>
      </pc:sldChg>
      <pc:sldChg chg="addSp delSp modSp add ord">
        <pc:chgData name="Lia Taylor" userId="2ccad05f-5017-4e2b-87e4-bbc6d22f4e64" providerId="ADAL" clId="{F700537D-3675-41CA-A525-EB2E79DB2D9A}" dt="2018-12-09T19:16:10.552" v="4105" actId="207"/>
        <pc:sldMkLst>
          <pc:docMk/>
          <pc:sldMk cId="2847843746" sldId="4254"/>
        </pc:sldMkLst>
        <pc:spChg chg="mod">
          <ac:chgData name="Lia Taylor" userId="2ccad05f-5017-4e2b-87e4-bbc6d22f4e64" providerId="ADAL" clId="{F700537D-3675-41CA-A525-EB2E79DB2D9A}" dt="2018-12-05T18:04:31.718" v="490" actId="2711"/>
          <ac:spMkLst>
            <pc:docMk/>
            <pc:sldMk cId="2847843746" sldId="4254"/>
            <ac:spMk id="3" creationId="{F2F99812-106D-4883-8E9B-53DD1637233E}"/>
          </ac:spMkLst>
        </pc:spChg>
        <pc:spChg chg="add del">
          <ac:chgData name="Lia Taylor" userId="2ccad05f-5017-4e2b-87e4-bbc6d22f4e64" providerId="ADAL" clId="{F700537D-3675-41CA-A525-EB2E79DB2D9A}" dt="2018-12-09T18:46:49.734" v="3493" actId="478"/>
          <ac:spMkLst>
            <pc:docMk/>
            <pc:sldMk cId="2847843746" sldId="4254"/>
            <ac:spMk id="4" creationId="{226E37D4-1433-434C-BBB7-FC70A5074B1E}"/>
          </ac:spMkLst>
        </pc:spChg>
        <pc:spChg chg="add mod">
          <ac:chgData name="Lia Taylor" userId="2ccad05f-5017-4e2b-87e4-bbc6d22f4e64" providerId="ADAL" clId="{F700537D-3675-41CA-A525-EB2E79DB2D9A}" dt="2018-12-09T19:16:10.552" v="4105" actId="207"/>
          <ac:spMkLst>
            <pc:docMk/>
            <pc:sldMk cId="2847843746" sldId="4254"/>
            <ac:spMk id="5" creationId="{315FB2EB-D6C9-44B8-A721-1AB3C6C55DDE}"/>
          </ac:spMkLst>
        </pc:spChg>
        <pc:spChg chg="add del mod">
          <ac:chgData name="Lia Taylor" userId="2ccad05f-5017-4e2b-87e4-bbc6d22f4e64" providerId="ADAL" clId="{F700537D-3675-41CA-A525-EB2E79DB2D9A}" dt="2018-12-05T17:58:39.864" v="436" actId="478"/>
          <ac:spMkLst>
            <pc:docMk/>
            <pc:sldMk cId="2847843746" sldId="4254"/>
            <ac:spMk id="6" creationId="{143072CE-9587-42C9-874B-EE02142F95FE}"/>
          </ac:spMkLst>
        </pc:spChg>
        <pc:spChg chg="del">
          <ac:chgData name="Lia Taylor" userId="2ccad05f-5017-4e2b-87e4-bbc6d22f4e64" providerId="ADAL" clId="{F700537D-3675-41CA-A525-EB2E79DB2D9A}" dt="2018-12-05T17:58:36.807" v="435" actId="478"/>
          <ac:spMkLst>
            <pc:docMk/>
            <pc:sldMk cId="2847843746" sldId="4254"/>
            <ac:spMk id="16" creationId="{BE16602C-57A3-491F-8A0B-3A4625D77DBB}"/>
          </ac:spMkLst>
        </pc:spChg>
      </pc:sldChg>
      <pc:sldChg chg="addSp delSp modSp add del modTransition">
        <pc:chgData name="Lia Taylor" userId="2ccad05f-5017-4e2b-87e4-bbc6d22f4e64" providerId="ADAL" clId="{F700537D-3675-41CA-A525-EB2E79DB2D9A}" dt="2018-12-12T23:47:01.208" v="6570" actId="1076"/>
        <pc:sldMkLst>
          <pc:docMk/>
          <pc:sldMk cId="1723466345" sldId="4255"/>
        </pc:sldMkLst>
        <pc:spChg chg="mod">
          <ac:chgData name="Lia Taylor" userId="2ccad05f-5017-4e2b-87e4-bbc6d22f4e64" providerId="ADAL" clId="{F700537D-3675-41CA-A525-EB2E79DB2D9A}" dt="2018-12-12T23:45:59.817" v="6565" actId="20577"/>
          <ac:spMkLst>
            <pc:docMk/>
            <pc:sldMk cId="1723466345" sldId="4255"/>
            <ac:spMk id="2" creationId="{E303E13F-5F51-438D-B6B3-3A9C17E242A3}"/>
          </ac:spMkLst>
        </pc:spChg>
        <pc:spChg chg="del">
          <ac:chgData name="Lia Taylor" userId="2ccad05f-5017-4e2b-87e4-bbc6d22f4e64" providerId="ADAL" clId="{F700537D-3675-41CA-A525-EB2E79DB2D9A}" dt="2018-12-12T23:46:54.046" v="6569" actId="478"/>
          <ac:spMkLst>
            <pc:docMk/>
            <pc:sldMk cId="1723466345" sldId="4255"/>
            <ac:spMk id="50" creationId="{6BC878B0-864C-4D49-BBD8-C67A728BDF8D}"/>
          </ac:spMkLst>
        </pc:spChg>
        <pc:spChg chg="add">
          <ac:chgData name="Lia Taylor" userId="2ccad05f-5017-4e2b-87e4-bbc6d22f4e64" providerId="ADAL" clId="{F700537D-3675-41CA-A525-EB2E79DB2D9A}" dt="2018-12-12T23:46:50.459" v="6568"/>
          <ac:spMkLst>
            <pc:docMk/>
            <pc:sldMk cId="1723466345" sldId="4255"/>
            <ac:spMk id="51" creationId="{0009DBDF-1852-43F8-900D-3439F14C0257}"/>
          </ac:spMkLst>
        </pc:spChg>
        <pc:spChg chg="mod">
          <ac:chgData name="Lia Taylor" userId="2ccad05f-5017-4e2b-87e4-bbc6d22f4e64" providerId="ADAL" clId="{F700537D-3675-41CA-A525-EB2E79DB2D9A}" dt="2018-12-12T23:47:01.208" v="6570" actId="1076"/>
          <ac:spMkLst>
            <pc:docMk/>
            <pc:sldMk cId="1723466345" sldId="4255"/>
            <ac:spMk id="76" creationId="{D60037CB-61CE-411C-B9AC-8BF08081F3A6}"/>
          </ac:spMkLst>
        </pc:spChg>
      </pc:sldChg>
      <pc:sldChg chg="addSp delSp modSp add del ord modTransition">
        <pc:chgData name="Lia Taylor" userId="2ccad05f-5017-4e2b-87e4-bbc6d22f4e64" providerId="ADAL" clId="{F700537D-3675-41CA-A525-EB2E79DB2D9A}" dt="2018-12-12T23:37:03.548" v="6500"/>
        <pc:sldMkLst>
          <pc:docMk/>
          <pc:sldMk cId="3146964108" sldId="4256"/>
        </pc:sldMkLst>
        <pc:spChg chg="del mod">
          <ac:chgData name="Lia Taylor" userId="2ccad05f-5017-4e2b-87e4-bbc6d22f4e64" providerId="ADAL" clId="{F700537D-3675-41CA-A525-EB2E79DB2D9A}" dt="2018-12-12T23:36:35.061" v="6498"/>
          <ac:spMkLst>
            <pc:docMk/>
            <pc:sldMk cId="3146964108" sldId="4256"/>
            <ac:spMk id="2" creationId="{917590F2-A101-4405-9D51-5E6AE3F5135F}"/>
          </ac:spMkLst>
        </pc:spChg>
        <pc:spChg chg="add del mod">
          <ac:chgData name="Lia Taylor" userId="2ccad05f-5017-4e2b-87e4-bbc6d22f4e64" providerId="ADAL" clId="{F700537D-3675-41CA-A525-EB2E79DB2D9A}" dt="2018-12-07T21:56:41.966" v="1831" actId="478"/>
          <ac:spMkLst>
            <pc:docMk/>
            <pc:sldMk cId="3146964108" sldId="4256"/>
            <ac:spMk id="5" creationId="{1E57016A-978D-458F-BF56-88CB5AEB70EA}"/>
          </ac:spMkLst>
        </pc:spChg>
        <pc:spChg chg="mod">
          <ac:chgData name="Lia Taylor" userId="2ccad05f-5017-4e2b-87e4-bbc6d22f4e64" providerId="ADAL" clId="{F700537D-3675-41CA-A525-EB2E79DB2D9A}" dt="2018-12-09T18:52:44.680" v="3552" actId="1076"/>
          <ac:spMkLst>
            <pc:docMk/>
            <pc:sldMk cId="3146964108" sldId="4256"/>
            <ac:spMk id="18" creationId="{10565816-FB16-4A4C-977F-14F2E5433641}"/>
          </ac:spMkLst>
        </pc:spChg>
        <pc:spChg chg="mod">
          <ac:chgData name="Lia Taylor" userId="2ccad05f-5017-4e2b-87e4-bbc6d22f4e64" providerId="ADAL" clId="{F700537D-3675-41CA-A525-EB2E79DB2D9A}" dt="2018-12-09T18:52:44.680" v="3552" actId="1076"/>
          <ac:spMkLst>
            <pc:docMk/>
            <pc:sldMk cId="3146964108" sldId="4256"/>
            <ac:spMk id="26" creationId="{E25C45A2-346D-4106-ACBE-67FDC4B14DCD}"/>
          </ac:spMkLst>
        </pc:spChg>
        <pc:spChg chg="mod">
          <ac:chgData name="Lia Taylor" userId="2ccad05f-5017-4e2b-87e4-bbc6d22f4e64" providerId="ADAL" clId="{F700537D-3675-41CA-A525-EB2E79DB2D9A}" dt="2018-12-09T18:52:44.680" v="3552" actId="1076"/>
          <ac:spMkLst>
            <pc:docMk/>
            <pc:sldMk cId="3146964108" sldId="4256"/>
            <ac:spMk id="27" creationId="{3D28665C-BECA-4DA6-81C1-52927D59D5C1}"/>
          </ac:spMkLst>
        </pc:spChg>
        <pc:spChg chg="mod">
          <ac:chgData name="Lia Taylor" userId="2ccad05f-5017-4e2b-87e4-bbc6d22f4e64" providerId="ADAL" clId="{F700537D-3675-41CA-A525-EB2E79DB2D9A}" dt="2018-12-09T18:52:44.680" v="3552" actId="1076"/>
          <ac:spMkLst>
            <pc:docMk/>
            <pc:sldMk cId="3146964108" sldId="4256"/>
            <ac:spMk id="28" creationId="{1670E5CA-E52B-4604-89E5-26A5790748EA}"/>
          </ac:spMkLst>
        </pc:spChg>
        <pc:spChg chg="mod">
          <ac:chgData name="Lia Taylor" userId="2ccad05f-5017-4e2b-87e4-bbc6d22f4e64" providerId="ADAL" clId="{F700537D-3675-41CA-A525-EB2E79DB2D9A}" dt="2018-12-09T18:52:44.680" v="3552" actId="1076"/>
          <ac:spMkLst>
            <pc:docMk/>
            <pc:sldMk cId="3146964108" sldId="4256"/>
            <ac:spMk id="29" creationId="{65AC649C-DA08-46C6-959F-1DE16BBDA53A}"/>
          </ac:spMkLst>
        </pc:spChg>
        <pc:spChg chg="mod">
          <ac:chgData name="Lia Taylor" userId="2ccad05f-5017-4e2b-87e4-bbc6d22f4e64" providerId="ADAL" clId="{F700537D-3675-41CA-A525-EB2E79DB2D9A}" dt="2018-12-09T18:52:44.680" v="3552" actId="1076"/>
          <ac:spMkLst>
            <pc:docMk/>
            <pc:sldMk cId="3146964108" sldId="4256"/>
            <ac:spMk id="33" creationId="{EFECB64D-7877-4EC7-A0D9-9BC43FCEDD61}"/>
          </ac:spMkLst>
        </pc:spChg>
        <pc:spChg chg="mod">
          <ac:chgData name="Lia Taylor" userId="2ccad05f-5017-4e2b-87e4-bbc6d22f4e64" providerId="ADAL" clId="{F700537D-3675-41CA-A525-EB2E79DB2D9A}" dt="2018-12-09T18:52:44.680" v="3552" actId="1076"/>
          <ac:spMkLst>
            <pc:docMk/>
            <pc:sldMk cId="3146964108" sldId="4256"/>
            <ac:spMk id="34" creationId="{DCEF9906-E7C4-4CA9-BEA8-D1E0289C5582}"/>
          </ac:spMkLst>
        </pc:spChg>
        <pc:spChg chg="del">
          <ac:chgData name="Lia Taylor" userId="2ccad05f-5017-4e2b-87e4-bbc6d22f4e64" providerId="ADAL" clId="{F700537D-3675-41CA-A525-EB2E79DB2D9A}" dt="2018-12-07T21:56:00.979" v="1825" actId="478"/>
          <ac:spMkLst>
            <pc:docMk/>
            <pc:sldMk cId="3146964108" sldId="4256"/>
            <ac:spMk id="37" creationId="{586A0EF7-5AC4-4E09-B904-DBCA701BF716}"/>
          </ac:spMkLst>
        </pc:spChg>
        <pc:spChg chg="add del mod">
          <ac:chgData name="Lia Taylor" userId="2ccad05f-5017-4e2b-87e4-bbc6d22f4e64" providerId="ADAL" clId="{F700537D-3675-41CA-A525-EB2E79DB2D9A}" dt="2018-12-09T18:44:56.071" v="3469" actId="478"/>
          <ac:spMkLst>
            <pc:docMk/>
            <pc:sldMk cId="3146964108" sldId="4256"/>
            <ac:spMk id="38" creationId="{83EC4B6F-BB24-4790-A3BB-6BEF1B67DE4A}"/>
          </ac:spMkLst>
        </pc:spChg>
        <pc:spChg chg="add mod">
          <ac:chgData name="Lia Taylor" userId="2ccad05f-5017-4e2b-87e4-bbc6d22f4e64" providerId="ADAL" clId="{F700537D-3675-41CA-A525-EB2E79DB2D9A}" dt="2018-12-09T19:04:21.448" v="3894" actId="2711"/>
          <ac:spMkLst>
            <pc:docMk/>
            <pc:sldMk cId="3146964108" sldId="4256"/>
            <ac:spMk id="39" creationId="{2BBA87E5-1FC6-46AF-92B4-684C969D658C}"/>
          </ac:spMkLst>
        </pc:spChg>
        <pc:spChg chg="mod">
          <ac:chgData name="Lia Taylor" userId="2ccad05f-5017-4e2b-87e4-bbc6d22f4e64" providerId="ADAL" clId="{F700537D-3675-41CA-A525-EB2E79DB2D9A}" dt="2018-12-09T18:52:44.680" v="3552" actId="1076"/>
          <ac:spMkLst>
            <pc:docMk/>
            <pc:sldMk cId="3146964108" sldId="4256"/>
            <ac:spMk id="40" creationId="{469D8807-8463-469D-8372-57AD1C0D3E88}"/>
          </ac:spMkLst>
        </pc:spChg>
        <pc:spChg chg="mod">
          <ac:chgData name="Lia Taylor" userId="2ccad05f-5017-4e2b-87e4-bbc6d22f4e64" providerId="ADAL" clId="{F700537D-3675-41CA-A525-EB2E79DB2D9A}" dt="2018-12-07T21:56:25.239" v="1826" actId="1076"/>
          <ac:spMkLst>
            <pc:docMk/>
            <pc:sldMk cId="3146964108" sldId="4256"/>
            <ac:spMk id="42" creationId="{BF74E383-5AC5-4204-BC34-662BC556CF25}"/>
          </ac:spMkLst>
        </pc:spChg>
        <pc:spChg chg="mod">
          <ac:chgData name="Lia Taylor" userId="2ccad05f-5017-4e2b-87e4-bbc6d22f4e64" providerId="ADAL" clId="{F700537D-3675-41CA-A525-EB2E79DB2D9A}" dt="2018-12-07T22:46:40.353" v="3300" actId="404"/>
          <ac:spMkLst>
            <pc:docMk/>
            <pc:sldMk cId="3146964108" sldId="4256"/>
            <ac:spMk id="47" creationId="{42DB5A8B-F6A7-4CCE-BE64-C9C094C51BA9}"/>
          </ac:spMkLst>
        </pc:spChg>
        <pc:spChg chg="mod">
          <ac:chgData name="Lia Taylor" userId="2ccad05f-5017-4e2b-87e4-bbc6d22f4e64" providerId="ADAL" clId="{F700537D-3675-41CA-A525-EB2E79DB2D9A}" dt="2018-12-09T18:52:44.680" v="3552" actId="1076"/>
          <ac:spMkLst>
            <pc:docMk/>
            <pc:sldMk cId="3146964108" sldId="4256"/>
            <ac:spMk id="57" creationId="{0833F378-50DA-4BC3-B358-D6317FB092A7}"/>
          </ac:spMkLst>
        </pc:spChg>
        <pc:spChg chg="mod">
          <ac:chgData name="Lia Taylor" userId="2ccad05f-5017-4e2b-87e4-bbc6d22f4e64" providerId="ADAL" clId="{F700537D-3675-41CA-A525-EB2E79DB2D9A}" dt="2018-12-09T18:52:44.680" v="3552" actId="1076"/>
          <ac:spMkLst>
            <pc:docMk/>
            <pc:sldMk cId="3146964108" sldId="4256"/>
            <ac:spMk id="61" creationId="{BF8AB3AD-C649-441D-B5F7-477EBD23AF42}"/>
          </ac:spMkLst>
        </pc:spChg>
        <pc:spChg chg="mod">
          <ac:chgData name="Lia Taylor" userId="2ccad05f-5017-4e2b-87e4-bbc6d22f4e64" providerId="ADAL" clId="{F700537D-3675-41CA-A525-EB2E79DB2D9A}" dt="2018-12-09T18:52:44.680" v="3552" actId="1076"/>
          <ac:spMkLst>
            <pc:docMk/>
            <pc:sldMk cId="3146964108" sldId="4256"/>
            <ac:spMk id="72" creationId="{9C17764F-EA5D-49F0-A4DB-DF2374CB63F5}"/>
          </ac:spMkLst>
        </pc:spChg>
        <pc:spChg chg="mod">
          <ac:chgData name="Lia Taylor" userId="2ccad05f-5017-4e2b-87e4-bbc6d22f4e64" providerId="ADAL" clId="{F700537D-3675-41CA-A525-EB2E79DB2D9A}" dt="2018-12-09T18:52:44.680" v="3552" actId="1076"/>
          <ac:spMkLst>
            <pc:docMk/>
            <pc:sldMk cId="3146964108" sldId="4256"/>
            <ac:spMk id="111" creationId="{E5744810-87D4-4350-B383-29C66C8C239F}"/>
          </ac:spMkLst>
        </pc:spChg>
        <pc:spChg chg="mod">
          <ac:chgData name="Lia Taylor" userId="2ccad05f-5017-4e2b-87e4-bbc6d22f4e64" providerId="ADAL" clId="{F700537D-3675-41CA-A525-EB2E79DB2D9A}" dt="2018-12-09T18:52:44.680" v="3552" actId="1076"/>
          <ac:spMkLst>
            <pc:docMk/>
            <pc:sldMk cId="3146964108" sldId="4256"/>
            <ac:spMk id="122" creationId="{B0022912-9830-422A-8CBE-D708D63AEE61}"/>
          </ac:spMkLst>
        </pc:spChg>
        <pc:spChg chg="mod">
          <ac:chgData name="Lia Taylor" userId="2ccad05f-5017-4e2b-87e4-bbc6d22f4e64" providerId="ADAL" clId="{F700537D-3675-41CA-A525-EB2E79DB2D9A}" dt="2018-12-09T18:52:44.680" v="3552" actId="1076"/>
          <ac:spMkLst>
            <pc:docMk/>
            <pc:sldMk cId="3146964108" sldId="4256"/>
            <ac:spMk id="123" creationId="{8973C5A9-92F9-487A-AC93-0E8C3E69DEDD}"/>
          </ac:spMkLst>
        </pc:spChg>
        <pc:grpChg chg="mod">
          <ac:chgData name="Lia Taylor" userId="2ccad05f-5017-4e2b-87e4-bbc6d22f4e64" providerId="ADAL" clId="{F700537D-3675-41CA-A525-EB2E79DB2D9A}" dt="2018-12-09T18:52:44.680" v="3552" actId="1076"/>
          <ac:grpSpMkLst>
            <pc:docMk/>
            <pc:sldMk cId="3146964108" sldId="4256"/>
            <ac:grpSpMk id="7" creationId="{782B65E9-BFEF-4F5F-9F4A-246D287AB288}"/>
          </ac:grpSpMkLst>
        </pc:grpChg>
        <pc:grpChg chg="mod">
          <ac:chgData name="Lia Taylor" userId="2ccad05f-5017-4e2b-87e4-bbc6d22f4e64" providerId="ADAL" clId="{F700537D-3675-41CA-A525-EB2E79DB2D9A}" dt="2018-12-09T18:52:44.680" v="3552" actId="1076"/>
          <ac:grpSpMkLst>
            <pc:docMk/>
            <pc:sldMk cId="3146964108" sldId="4256"/>
            <ac:grpSpMk id="12" creationId="{8D77CADB-71BE-44A1-B255-5128A3B94055}"/>
          </ac:grpSpMkLst>
        </pc:grpChg>
        <pc:grpChg chg="mod">
          <ac:chgData name="Lia Taylor" userId="2ccad05f-5017-4e2b-87e4-bbc6d22f4e64" providerId="ADAL" clId="{F700537D-3675-41CA-A525-EB2E79DB2D9A}" dt="2018-12-09T18:52:44.680" v="3552" actId="1076"/>
          <ac:grpSpMkLst>
            <pc:docMk/>
            <pc:sldMk cId="3146964108" sldId="4256"/>
            <ac:grpSpMk id="51" creationId="{7D8326EB-B130-464D-8807-CCD372BCC87C}"/>
          </ac:grpSpMkLst>
        </pc:grpChg>
        <pc:grpChg chg="mod">
          <ac:chgData name="Lia Taylor" userId="2ccad05f-5017-4e2b-87e4-bbc6d22f4e64" providerId="ADAL" clId="{F700537D-3675-41CA-A525-EB2E79DB2D9A}" dt="2018-12-09T18:52:44.680" v="3552" actId="1076"/>
          <ac:grpSpMkLst>
            <pc:docMk/>
            <pc:sldMk cId="3146964108" sldId="4256"/>
            <ac:grpSpMk id="54" creationId="{7A287DD1-5783-4FAC-A9E6-E9F93C48E2EE}"/>
          </ac:grpSpMkLst>
        </pc:grpChg>
        <pc:cxnChg chg="mod">
          <ac:chgData name="Lia Taylor" userId="2ccad05f-5017-4e2b-87e4-bbc6d22f4e64" providerId="ADAL" clId="{F700537D-3675-41CA-A525-EB2E79DB2D9A}" dt="2018-12-09T18:52:44.680" v="3552" actId="1076"/>
          <ac:cxnSpMkLst>
            <pc:docMk/>
            <pc:sldMk cId="3146964108" sldId="4256"/>
            <ac:cxnSpMk id="60" creationId="{0C985B03-A816-460F-82B0-BBC1FCAD2FD8}"/>
          </ac:cxnSpMkLst>
        </pc:cxnChg>
        <pc:cxnChg chg="mod">
          <ac:chgData name="Lia Taylor" userId="2ccad05f-5017-4e2b-87e4-bbc6d22f4e64" providerId="ADAL" clId="{F700537D-3675-41CA-A525-EB2E79DB2D9A}" dt="2018-12-09T18:52:44.680" v="3552" actId="1076"/>
          <ac:cxnSpMkLst>
            <pc:docMk/>
            <pc:sldMk cId="3146964108" sldId="4256"/>
            <ac:cxnSpMk id="79" creationId="{4C3E52EF-8FE6-4BF1-8A42-8D864CE29F0F}"/>
          </ac:cxnSpMkLst>
        </pc:cxnChg>
        <pc:cxnChg chg="mod">
          <ac:chgData name="Lia Taylor" userId="2ccad05f-5017-4e2b-87e4-bbc6d22f4e64" providerId="ADAL" clId="{F700537D-3675-41CA-A525-EB2E79DB2D9A}" dt="2018-12-09T18:52:44.680" v="3552" actId="1076"/>
          <ac:cxnSpMkLst>
            <pc:docMk/>
            <pc:sldMk cId="3146964108" sldId="4256"/>
            <ac:cxnSpMk id="108" creationId="{5ADACD7A-357C-4D8A-B1E6-606FEBD1CA64}"/>
          </ac:cxnSpMkLst>
        </pc:cxnChg>
      </pc:sldChg>
      <pc:sldChg chg="addSp delSp modSp add del ord modTransition">
        <pc:chgData name="Lia Taylor" userId="2ccad05f-5017-4e2b-87e4-bbc6d22f4e64" providerId="ADAL" clId="{F700537D-3675-41CA-A525-EB2E79DB2D9A}" dt="2018-12-12T23:37:03.548" v="6500"/>
        <pc:sldMkLst>
          <pc:docMk/>
          <pc:sldMk cId="846809997" sldId="4257"/>
        </pc:sldMkLst>
        <pc:spChg chg="del mod">
          <ac:chgData name="Lia Taylor" userId="2ccad05f-5017-4e2b-87e4-bbc6d22f4e64" providerId="ADAL" clId="{F700537D-3675-41CA-A525-EB2E79DB2D9A}" dt="2018-12-07T21:57:34.329" v="1871" actId="478"/>
          <ac:spMkLst>
            <pc:docMk/>
            <pc:sldMk cId="846809997" sldId="4257"/>
            <ac:spMk id="2" creationId="{61BB2219-EB74-43FC-AA62-5AD2196D4598}"/>
          </ac:spMkLst>
        </pc:spChg>
        <pc:spChg chg="mod">
          <ac:chgData name="Lia Taylor" userId="2ccad05f-5017-4e2b-87e4-bbc6d22f4e64" providerId="ADAL" clId="{F700537D-3675-41CA-A525-EB2E79DB2D9A}" dt="2018-12-09T18:53:00.509" v="3555" actId="1076"/>
          <ac:spMkLst>
            <pc:docMk/>
            <pc:sldMk cId="846809997" sldId="4257"/>
            <ac:spMk id="5" creationId="{AA22A0B7-2C15-46B5-AE86-48B4D5B27978}"/>
          </ac:spMkLst>
        </pc:spChg>
        <pc:spChg chg="add del mod">
          <ac:chgData name="Lia Taylor" userId="2ccad05f-5017-4e2b-87e4-bbc6d22f4e64" providerId="ADAL" clId="{F700537D-3675-41CA-A525-EB2E79DB2D9A}" dt="2018-12-07T21:57:36.787" v="1872" actId="478"/>
          <ac:spMkLst>
            <pc:docMk/>
            <pc:sldMk cId="846809997" sldId="4257"/>
            <ac:spMk id="6" creationId="{3C628124-497C-4313-9847-C3908FB4FF71}"/>
          </ac:spMkLst>
        </pc:spChg>
        <pc:spChg chg="mod">
          <ac:chgData name="Lia Taylor" userId="2ccad05f-5017-4e2b-87e4-bbc6d22f4e64" providerId="ADAL" clId="{F700537D-3675-41CA-A525-EB2E79DB2D9A}" dt="2018-12-09T18:53:00.509" v="3555" actId="1076"/>
          <ac:spMkLst>
            <pc:docMk/>
            <pc:sldMk cId="846809997" sldId="4257"/>
            <ac:spMk id="64" creationId="{E2440757-8E28-4581-AF54-FC0CE0FEE0A0}"/>
          </ac:spMkLst>
        </pc:spChg>
        <pc:spChg chg="mod">
          <ac:chgData name="Lia Taylor" userId="2ccad05f-5017-4e2b-87e4-bbc6d22f4e64" providerId="ADAL" clId="{F700537D-3675-41CA-A525-EB2E79DB2D9A}" dt="2018-12-09T18:53:00.509" v="3555" actId="1076"/>
          <ac:spMkLst>
            <pc:docMk/>
            <pc:sldMk cId="846809997" sldId="4257"/>
            <ac:spMk id="66" creationId="{F947E75F-4CD5-4679-AD07-A53B64C1B9A2}"/>
          </ac:spMkLst>
        </pc:spChg>
        <pc:spChg chg="mod">
          <ac:chgData name="Lia Taylor" userId="2ccad05f-5017-4e2b-87e4-bbc6d22f4e64" providerId="ADAL" clId="{F700537D-3675-41CA-A525-EB2E79DB2D9A}" dt="2018-12-09T18:53:00.509" v="3555" actId="1076"/>
          <ac:spMkLst>
            <pc:docMk/>
            <pc:sldMk cId="846809997" sldId="4257"/>
            <ac:spMk id="68" creationId="{71CA6BD3-275D-43E9-AA9D-A2A5071C07C1}"/>
          </ac:spMkLst>
        </pc:spChg>
        <pc:spChg chg="mod">
          <ac:chgData name="Lia Taylor" userId="2ccad05f-5017-4e2b-87e4-bbc6d22f4e64" providerId="ADAL" clId="{F700537D-3675-41CA-A525-EB2E79DB2D9A}" dt="2018-12-09T18:53:00.509" v="3555" actId="1076"/>
          <ac:spMkLst>
            <pc:docMk/>
            <pc:sldMk cId="846809997" sldId="4257"/>
            <ac:spMk id="76" creationId="{20401B6A-37EF-437B-A16A-FB5DD4604D5D}"/>
          </ac:spMkLst>
        </pc:spChg>
        <pc:spChg chg="mod">
          <ac:chgData name="Lia Taylor" userId="2ccad05f-5017-4e2b-87e4-bbc6d22f4e64" providerId="ADAL" clId="{F700537D-3675-41CA-A525-EB2E79DB2D9A}" dt="2018-12-09T18:53:00.509" v="3555" actId="1076"/>
          <ac:spMkLst>
            <pc:docMk/>
            <pc:sldMk cId="846809997" sldId="4257"/>
            <ac:spMk id="87" creationId="{90522928-43BB-4096-BFB3-6AEE50ACB34E}"/>
          </ac:spMkLst>
        </pc:spChg>
        <pc:spChg chg="mod">
          <ac:chgData name="Lia Taylor" userId="2ccad05f-5017-4e2b-87e4-bbc6d22f4e64" providerId="ADAL" clId="{F700537D-3675-41CA-A525-EB2E79DB2D9A}" dt="2018-12-07T21:57:30.611" v="1870" actId="1076"/>
          <ac:spMkLst>
            <pc:docMk/>
            <pc:sldMk cId="846809997" sldId="4257"/>
            <ac:spMk id="88" creationId="{2373061B-492F-49AB-8F8E-8390EE7B45AA}"/>
          </ac:spMkLst>
        </pc:spChg>
        <pc:spChg chg="mod">
          <ac:chgData name="Lia Taylor" userId="2ccad05f-5017-4e2b-87e4-bbc6d22f4e64" providerId="ADAL" clId="{F700537D-3675-41CA-A525-EB2E79DB2D9A}" dt="2018-12-09T18:53:00.509" v="3555" actId="1076"/>
          <ac:spMkLst>
            <pc:docMk/>
            <pc:sldMk cId="846809997" sldId="4257"/>
            <ac:spMk id="89" creationId="{31BB8666-2FE8-4BEB-8F85-AAAAA76715C7}"/>
          </ac:spMkLst>
        </pc:spChg>
        <pc:spChg chg="mod">
          <ac:chgData name="Lia Taylor" userId="2ccad05f-5017-4e2b-87e4-bbc6d22f4e64" providerId="ADAL" clId="{F700537D-3675-41CA-A525-EB2E79DB2D9A}" dt="2018-12-09T18:53:00.509" v="3555" actId="1076"/>
          <ac:spMkLst>
            <pc:docMk/>
            <pc:sldMk cId="846809997" sldId="4257"/>
            <ac:spMk id="90" creationId="{72FAD1CA-EE31-4603-ACDE-3293859B5E7E}"/>
          </ac:spMkLst>
        </pc:spChg>
        <pc:spChg chg="mod">
          <ac:chgData name="Lia Taylor" userId="2ccad05f-5017-4e2b-87e4-bbc6d22f4e64" providerId="ADAL" clId="{F700537D-3675-41CA-A525-EB2E79DB2D9A}" dt="2018-12-09T18:53:00.509" v="3555" actId="1076"/>
          <ac:spMkLst>
            <pc:docMk/>
            <pc:sldMk cId="846809997" sldId="4257"/>
            <ac:spMk id="91" creationId="{7CC4FACC-DD01-4C82-88DC-C2AE5F5878FA}"/>
          </ac:spMkLst>
        </pc:spChg>
        <pc:spChg chg="mod">
          <ac:chgData name="Lia Taylor" userId="2ccad05f-5017-4e2b-87e4-bbc6d22f4e64" providerId="ADAL" clId="{F700537D-3675-41CA-A525-EB2E79DB2D9A}" dt="2018-12-07T22:46:49.382" v="3302" actId="404"/>
          <ac:spMkLst>
            <pc:docMk/>
            <pc:sldMk cId="846809997" sldId="4257"/>
            <ac:spMk id="93" creationId="{A392150F-1F98-4098-BDFB-F48CDA5309F7}"/>
          </ac:spMkLst>
        </pc:spChg>
        <pc:spChg chg="del">
          <ac:chgData name="Lia Taylor" userId="2ccad05f-5017-4e2b-87e4-bbc6d22f4e64" providerId="ADAL" clId="{F700537D-3675-41CA-A525-EB2E79DB2D9A}" dt="2018-12-07T21:55:55.679" v="1824" actId="478"/>
          <ac:spMkLst>
            <pc:docMk/>
            <pc:sldMk cId="846809997" sldId="4257"/>
            <ac:spMk id="98" creationId="{86A96D15-5DE8-40C2-A8B2-303696318BB5}"/>
          </ac:spMkLst>
        </pc:spChg>
        <pc:spChg chg="mod">
          <ac:chgData name="Lia Taylor" userId="2ccad05f-5017-4e2b-87e4-bbc6d22f4e64" providerId="ADAL" clId="{F700537D-3675-41CA-A525-EB2E79DB2D9A}" dt="2018-12-09T18:53:00.509" v="3555" actId="1076"/>
          <ac:spMkLst>
            <pc:docMk/>
            <pc:sldMk cId="846809997" sldId="4257"/>
            <ac:spMk id="99" creationId="{22502B6A-A7B0-4621-A248-9E4F15DD0533}"/>
          </ac:spMkLst>
        </pc:spChg>
        <pc:spChg chg="mod">
          <ac:chgData name="Lia Taylor" userId="2ccad05f-5017-4e2b-87e4-bbc6d22f4e64" providerId="ADAL" clId="{F700537D-3675-41CA-A525-EB2E79DB2D9A}" dt="2018-12-09T18:53:00.509" v="3555" actId="1076"/>
          <ac:spMkLst>
            <pc:docMk/>
            <pc:sldMk cId="846809997" sldId="4257"/>
            <ac:spMk id="100" creationId="{E5A77D43-54C1-4AAD-899B-976F46B90C8E}"/>
          </ac:spMkLst>
        </pc:spChg>
        <pc:spChg chg="mod">
          <ac:chgData name="Lia Taylor" userId="2ccad05f-5017-4e2b-87e4-bbc6d22f4e64" providerId="ADAL" clId="{F700537D-3675-41CA-A525-EB2E79DB2D9A}" dt="2018-12-09T18:53:00.509" v="3555" actId="1076"/>
          <ac:spMkLst>
            <pc:docMk/>
            <pc:sldMk cId="846809997" sldId="4257"/>
            <ac:spMk id="101" creationId="{079E97B0-68C3-4C54-94D8-32DDB4A5FC5A}"/>
          </ac:spMkLst>
        </pc:spChg>
        <pc:spChg chg="mod">
          <ac:chgData name="Lia Taylor" userId="2ccad05f-5017-4e2b-87e4-bbc6d22f4e64" providerId="ADAL" clId="{F700537D-3675-41CA-A525-EB2E79DB2D9A}" dt="2018-12-09T18:53:00.509" v="3555" actId="1076"/>
          <ac:spMkLst>
            <pc:docMk/>
            <pc:sldMk cId="846809997" sldId="4257"/>
            <ac:spMk id="116" creationId="{1C3C23FD-4961-49AC-9DDE-1277F37D282C}"/>
          </ac:spMkLst>
        </pc:spChg>
        <pc:spChg chg="mod">
          <ac:chgData name="Lia Taylor" userId="2ccad05f-5017-4e2b-87e4-bbc6d22f4e64" providerId="ADAL" clId="{F700537D-3675-41CA-A525-EB2E79DB2D9A}" dt="2018-12-07T22:46:58.377" v="3303" actId="404"/>
          <ac:spMkLst>
            <pc:docMk/>
            <pc:sldMk cId="846809997" sldId="4257"/>
            <ac:spMk id="117" creationId="{FC7FEADE-2005-4DBA-8F2F-03A66DA0A4A2}"/>
          </ac:spMkLst>
        </pc:spChg>
        <pc:spChg chg="mod">
          <ac:chgData name="Lia Taylor" userId="2ccad05f-5017-4e2b-87e4-bbc6d22f4e64" providerId="ADAL" clId="{F700537D-3675-41CA-A525-EB2E79DB2D9A}" dt="2018-12-09T18:53:00.509" v="3555" actId="1076"/>
          <ac:spMkLst>
            <pc:docMk/>
            <pc:sldMk cId="846809997" sldId="4257"/>
            <ac:spMk id="120" creationId="{A7196E14-18F7-44AD-BA2D-54956083C6B5}"/>
          </ac:spMkLst>
        </pc:spChg>
        <pc:spChg chg="mod">
          <ac:chgData name="Lia Taylor" userId="2ccad05f-5017-4e2b-87e4-bbc6d22f4e64" providerId="ADAL" clId="{F700537D-3675-41CA-A525-EB2E79DB2D9A}" dt="2018-12-09T18:53:00.509" v="3555" actId="1076"/>
          <ac:spMkLst>
            <pc:docMk/>
            <pc:sldMk cId="846809997" sldId="4257"/>
            <ac:spMk id="121" creationId="{B8C40BD9-4D1A-4924-A3C6-3A6E6035D6D6}"/>
          </ac:spMkLst>
        </pc:spChg>
        <pc:spChg chg="mod">
          <ac:chgData name="Lia Taylor" userId="2ccad05f-5017-4e2b-87e4-bbc6d22f4e64" providerId="ADAL" clId="{F700537D-3675-41CA-A525-EB2E79DB2D9A}" dt="2018-12-09T18:53:00.509" v="3555" actId="1076"/>
          <ac:spMkLst>
            <pc:docMk/>
            <pc:sldMk cId="846809997" sldId="4257"/>
            <ac:spMk id="122" creationId="{FAF0E99C-BDD6-4519-80EF-F052D4321048}"/>
          </ac:spMkLst>
        </pc:spChg>
        <pc:spChg chg="mod">
          <ac:chgData name="Lia Taylor" userId="2ccad05f-5017-4e2b-87e4-bbc6d22f4e64" providerId="ADAL" clId="{F700537D-3675-41CA-A525-EB2E79DB2D9A}" dt="2018-12-09T18:53:00.509" v="3555" actId="1076"/>
          <ac:spMkLst>
            <pc:docMk/>
            <pc:sldMk cId="846809997" sldId="4257"/>
            <ac:spMk id="123" creationId="{47B978FA-F592-42F3-BF7A-60D6D265F7E0}"/>
          </ac:spMkLst>
        </pc:spChg>
        <pc:spChg chg="mod">
          <ac:chgData name="Lia Taylor" userId="2ccad05f-5017-4e2b-87e4-bbc6d22f4e64" providerId="ADAL" clId="{F700537D-3675-41CA-A525-EB2E79DB2D9A}" dt="2018-12-09T18:53:00.509" v="3555" actId="1076"/>
          <ac:spMkLst>
            <pc:docMk/>
            <pc:sldMk cId="846809997" sldId="4257"/>
            <ac:spMk id="124" creationId="{2827C86D-91A3-4A79-8C7C-7C3142680401}"/>
          </ac:spMkLst>
        </pc:spChg>
        <pc:spChg chg="add del">
          <ac:chgData name="Lia Taylor" userId="2ccad05f-5017-4e2b-87e4-bbc6d22f4e64" providerId="ADAL" clId="{F700537D-3675-41CA-A525-EB2E79DB2D9A}" dt="2018-12-09T18:44:40.581" v="3465" actId="478"/>
          <ac:spMkLst>
            <pc:docMk/>
            <pc:sldMk cId="846809997" sldId="4257"/>
            <ac:spMk id="125" creationId="{7F650AB9-6186-40F0-B73C-719C73EBA772}"/>
          </ac:spMkLst>
        </pc:spChg>
        <pc:spChg chg="add mod">
          <ac:chgData name="Lia Taylor" userId="2ccad05f-5017-4e2b-87e4-bbc6d22f4e64" providerId="ADAL" clId="{F700537D-3675-41CA-A525-EB2E79DB2D9A}" dt="2018-12-09T19:04:50.435" v="3896" actId="113"/>
          <ac:spMkLst>
            <pc:docMk/>
            <pc:sldMk cId="846809997" sldId="4257"/>
            <ac:spMk id="126" creationId="{C3A4F5AB-B01B-48D5-83DF-56A2AFD6B846}"/>
          </ac:spMkLst>
        </pc:spChg>
        <pc:spChg chg="mod">
          <ac:chgData name="Lia Taylor" userId="2ccad05f-5017-4e2b-87e4-bbc6d22f4e64" providerId="ADAL" clId="{F700537D-3675-41CA-A525-EB2E79DB2D9A}" dt="2018-12-09T18:53:00.509" v="3555" actId="1076"/>
          <ac:spMkLst>
            <pc:docMk/>
            <pc:sldMk cId="846809997" sldId="4257"/>
            <ac:spMk id="137" creationId="{2C3CE09D-EC89-4E69-9C11-6211C9BBE573}"/>
          </ac:spMkLst>
        </pc:spChg>
        <pc:spChg chg="mod">
          <ac:chgData name="Lia Taylor" userId="2ccad05f-5017-4e2b-87e4-bbc6d22f4e64" providerId="ADAL" clId="{F700537D-3675-41CA-A525-EB2E79DB2D9A}" dt="2018-12-09T18:53:00.509" v="3555" actId="1076"/>
          <ac:spMkLst>
            <pc:docMk/>
            <pc:sldMk cId="846809997" sldId="4257"/>
            <ac:spMk id="138" creationId="{F7E61273-6D24-4748-A06B-2BE76A79ECBF}"/>
          </ac:spMkLst>
        </pc:spChg>
        <pc:spChg chg="mod">
          <ac:chgData name="Lia Taylor" userId="2ccad05f-5017-4e2b-87e4-bbc6d22f4e64" providerId="ADAL" clId="{F700537D-3675-41CA-A525-EB2E79DB2D9A}" dt="2018-12-09T18:53:00.509" v="3555" actId="1076"/>
          <ac:spMkLst>
            <pc:docMk/>
            <pc:sldMk cId="846809997" sldId="4257"/>
            <ac:spMk id="139" creationId="{F45F84E5-FD89-4306-8569-644971C247C6}"/>
          </ac:spMkLst>
        </pc:spChg>
        <pc:spChg chg="mod">
          <ac:chgData name="Lia Taylor" userId="2ccad05f-5017-4e2b-87e4-bbc6d22f4e64" providerId="ADAL" clId="{F700537D-3675-41CA-A525-EB2E79DB2D9A}" dt="2018-12-09T18:53:00.509" v="3555" actId="1076"/>
          <ac:spMkLst>
            <pc:docMk/>
            <pc:sldMk cId="846809997" sldId="4257"/>
            <ac:spMk id="140" creationId="{78C9D5D5-400E-480D-B174-1BE30925D3D1}"/>
          </ac:spMkLst>
        </pc:spChg>
        <pc:spChg chg="mod">
          <ac:chgData name="Lia Taylor" userId="2ccad05f-5017-4e2b-87e4-bbc6d22f4e64" providerId="ADAL" clId="{F700537D-3675-41CA-A525-EB2E79DB2D9A}" dt="2018-12-09T18:53:00.509" v="3555" actId="1076"/>
          <ac:spMkLst>
            <pc:docMk/>
            <pc:sldMk cId="846809997" sldId="4257"/>
            <ac:spMk id="141" creationId="{FB586A50-CCAC-4A8E-9BB3-860FD1C39700}"/>
          </ac:spMkLst>
        </pc:spChg>
        <pc:spChg chg="mod">
          <ac:chgData name="Lia Taylor" userId="2ccad05f-5017-4e2b-87e4-bbc6d22f4e64" providerId="ADAL" clId="{F700537D-3675-41CA-A525-EB2E79DB2D9A}" dt="2018-12-09T18:53:00.509" v="3555" actId="1076"/>
          <ac:spMkLst>
            <pc:docMk/>
            <pc:sldMk cId="846809997" sldId="4257"/>
            <ac:spMk id="142" creationId="{4A5D5D7D-0D62-47CB-B82A-F8A7A537133D}"/>
          </ac:spMkLst>
        </pc:spChg>
        <pc:grpChg chg="mod">
          <ac:chgData name="Lia Taylor" userId="2ccad05f-5017-4e2b-87e4-bbc6d22f4e64" providerId="ADAL" clId="{F700537D-3675-41CA-A525-EB2E79DB2D9A}" dt="2018-12-09T18:53:00.509" v="3555" actId="1076"/>
          <ac:grpSpMkLst>
            <pc:docMk/>
            <pc:sldMk cId="846809997" sldId="4257"/>
            <ac:grpSpMk id="3" creationId="{96CB6DB1-4DDF-4EEB-B537-2C9ED51AF1D8}"/>
          </ac:grpSpMkLst>
        </pc:grpChg>
        <pc:grpChg chg="mod">
          <ac:chgData name="Lia Taylor" userId="2ccad05f-5017-4e2b-87e4-bbc6d22f4e64" providerId="ADAL" clId="{F700537D-3675-41CA-A525-EB2E79DB2D9A}" dt="2018-12-09T18:53:00.509" v="3555" actId="1076"/>
          <ac:grpSpMkLst>
            <pc:docMk/>
            <pc:sldMk cId="846809997" sldId="4257"/>
            <ac:grpSpMk id="79" creationId="{482CD4B1-C160-4904-9FFB-1412B7B24F4B}"/>
          </ac:grpSpMkLst>
        </pc:grpChg>
        <pc:grpChg chg="mod">
          <ac:chgData name="Lia Taylor" userId="2ccad05f-5017-4e2b-87e4-bbc6d22f4e64" providerId="ADAL" clId="{F700537D-3675-41CA-A525-EB2E79DB2D9A}" dt="2018-12-09T18:53:00.509" v="3555" actId="1076"/>
          <ac:grpSpMkLst>
            <pc:docMk/>
            <pc:sldMk cId="846809997" sldId="4257"/>
            <ac:grpSpMk id="96" creationId="{2235E2CF-2B42-4F80-8AF4-6F4B3800D639}"/>
          </ac:grpSpMkLst>
        </pc:grpChg>
        <pc:grpChg chg="mod">
          <ac:chgData name="Lia Taylor" userId="2ccad05f-5017-4e2b-87e4-bbc6d22f4e64" providerId="ADAL" clId="{F700537D-3675-41CA-A525-EB2E79DB2D9A}" dt="2018-12-09T18:53:00.509" v="3555" actId="1076"/>
          <ac:grpSpMkLst>
            <pc:docMk/>
            <pc:sldMk cId="846809997" sldId="4257"/>
            <ac:grpSpMk id="102" creationId="{1E32154A-D75A-4A5E-ABA6-ABC3D7861F7B}"/>
          </ac:grpSpMkLst>
        </pc:grpChg>
        <pc:grpChg chg="mod">
          <ac:chgData name="Lia Taylor" userId="2ccad05f-5017-4e2b-87e4-bbc6d22f4e64" providerId="ADAL" clId="{F700537D-3675-41CA-A525-EB2E79DB2D9A}" dt="2018-12-09T18:53:00.509" v="3555" actId="1076"/>
          <ac:grpSpMkLst>
            <pc:docMk/>
            <pc:sldMk cId="846809997" sldId="4257"/>
            <ac:grpSpMk id="105" creationId="{ED1FDDA5-36CE-4FA4-BCB9-2E8BF847F523}"/>
          </ac:grpSpMkLst>
        </pc:grpChg>
        <pc:grpChg chg="mod">
          <ac:chgData name="Lia Taylor" userId="2ccad05f-5017-4e2b-87e4-bbc6d22f4e64" providerId="ADAL" clId="{F700537D-3675-41CA-A525-EB2E79DB2D9A}" dt="2018-12-09T18:53:00.509" v="3555" actId="1076"/>
          <ac:grpSpMkLst>
            <pc:docMk/>
            <pc:sldMk cId="846809997" sldId="4257"/>
            <ac:grpSpMk id="109" creationId="{8CC19325-3C8D-4BAC-A669-D43810874882}"/>
          </ac:grpSpMkLst>
        </pc:grpChg>
        <pc:grpChg chg="mod">
          <ac:chgData name="Lia Taylor" userId="2ccad05f-5017-4e2b-87e4-bbc6d22f4e64" providerId="ADAL" clId="{F700537D-3675-41CA-A525-EB2E79DB2D9A}" dt="2018-12-09T18:53:00.509" v="3555" actId="1076"/>
          <ac:grpSpMkLst>
            <pc:docMk/>
            <pc:sldMk cId="846809997" sldId="4257"/>
            <ac:grpSpMk id="149" creationId="{1FA3E931-E467-481B-9BD5-BE8262BA502E}"/>
          </ac:grpSpMkLst>
        </pc:grpChg>
        <pc:grpChg chg="mod">
          <ac:chgData name="Lia Taylor" userId="2ccad05f-5017-4e2b-87e4-bbc6d22f4e64" providerId="ADAL" clId="{F700537D-3675-41CA-A525-EB2E79DB2D9A}" dt="2018-12-09T18:53:00.509" v="3555" actId="1076"/>
          <ac:grpSpMkLst>
            <pc:docMk/>
            <pc:sldMk cId="846809997" sldId="4257"/>
            <ac:grpSpMk id="158" creationId="{77238AA8-AB25-4699-9124-30BA3735CBB7}"/>
          </ac:grpSpMkLst>
        </pc:grpChg>
        <pc:grpChg chg="mod">
          <ac:chgData name="Lia Taylor" userId="2ccad05f-5017-4e2b-87e4-bbc6d22f4e64" providerId="ADAL" clId="{F700537D-3675-41CA-A525-EB2E79DB2D9A}" dt="2018-12-09T18:53:00.509" v="3555" actId="1076"/>
          <ac:grpSpMkLst>
            <pc:docMk/>
            <pc:sldMk cId="846809997" sldId="4257"/>
            <ac:grpSpMk id="161" creationId="{0CC6A9C4-F800-413D-8F83-B9714806AFD8}"/>
          </ac:grpSpMkLst>
        </pc:grpChg>
        <pc:grpChg chg="mod">
          <ac:chgData name="Lia Taylor" userId="2ccad05f-5017-4e2b-87e4-bbc6d22f4e64" providerId="ADAL" clId="{F700537D-3675-41CA-A525-EB2E79DB2D9A}" dt="2018-12-09T18:53:00.509" v="3555" actId="1076"/>
          <ac:grpSpMkLst>
            <pc:docMk/>
            <pc:sldMk cId="846809997" sldId="4257"/>
            <ac:grpSpMk id="165" creationId="{688D12D8-7CBA-423C-8031-36268CBD0F8B}"/>
          </ac:grpSpMkLst>
        </pc:grpChg>
        <pc:cxnChg chg="mod">
          <ac:chgData name="Lia Taylor" userId="2ccad05f-5017-4e2b-87e4-bbc6d22f4e64" providerId="ADAL" clId="{F700537D-3675-41CA-A525-EB2E79DB2D9A}" dt="2018-12-09T18:53:00.509" v="3555" actId="1076"/>
          <ac:cxnSpMkLst>
            <pc:docMk/>
            <pc:sldMk cId="846809997" sldId="4257"/>
            <ac:cxnSpMk id="63" creationId="{07F91532-CA1C-4FE0-845C-1FA4640D8E4A}"/>
          </ac:cxnSpMkLst>
        </pc:cxnChg>
        <pc:cxnChg chg="mod">
          <ac:chgData name="Lia Taylor" userId="2ccad05f-5017-4e2b-87e4-bbc6d22f4e64" providerId="ADAL" clId="{F700537D-3675-41CA-A525-EB2E79DB2D9A}" dt="2018-12-09T18:53:00.509" v="3555" actId="1076"/>
          <ac:cxnSpMkLst>
            <pc:docMk/>
            <pc:sldMk cId="846809997" sldId="4257"/>
            <ac:cxnSpMk id="65" creationId="{7B1BA4D0-DE7B-411B-8772-BAD368B5CC76}"/>
          </ac:cxnSpMkLst>
        </pc:cxnChg>
        <pc:cxnChg chg="mod">
          <ac:chgData name="Lia Taylor" userId="2ccad05f-5017-4e2b-87e4-bbc6d22f4e64" providerId="ADAL" clId="{F700537D-3675-41CA-A525-EB2E79DB2D9A}" dt="2018-12-09T18:53:00.509" v="3555" actId="1076"/>
          <ac:cxnSpMkLst>
            <pc:docMk/>
            <pc:sldMk cId="846809997" sldId="4257"/>
            <ac:cxnSpMk id="67" creationId="{A37639FD-B83F-4BD4-81BF-775627572889}"/>
          </ac:cxnSpMkLst>
        </pc:cxnChg>
        <pc:cxnChg chg="mod">
          <ac:chgData name="Lia Taylor" userId="2ccad05f-5017-4e2b-87e4-bbc6d22f4e64" providerId="ADAL" clId="{F700537D-3675-41CA-A525-EB2E79DB2D9A}" dt="2018-12-09T18:53:00.509" v="3555" actId="1076"/>
          <ac:cxnSpMkLst>
            <pc:docMk/>
            <pc:sldMk cId="846809997" sldId="4257"/>
            <ac:cxnSpMk id="92" creationId="{30B4BECD-62D4-43F4-AA0D-B20416BE8642}"/>
          </ac:cxnSpMkLst>
        </pc:cxnChg>
        <pc:cxnChg chg="mod">
          <ac:chgData name="Lia Taylor" userId="2ccad05f-5017-4e2b-87e4-bbc6d22f4e64" providerId="ADAL" clId="{F700537D-3675-41CA-A525-EB2E79DB2D9A}" dt="2018-12-09T18:53:00.509" v="3555" actId="1076"/>
          <ac:cxnSpMkLst>
            <pc:docMk/>
            <pc:sldMk cId="846809997" sldId="4257"/>
            <ac:cxnSpMk id="94" creationId="{7BED7369-0EF2-4CC3-BFB5-85D8C7F64D47}"/>
          </ac:cxnSpMkLst>
        </pc:cxnChg>
        <pc:cxnChg chg="mod">
          <ac:chgData name="Lia Taylor" userId="2ccad05f-5017-4e2b-87e4-bbc6d22f4e64" providerId="ADAL" clId="{F700537D-3675-41CA-A525-EB2E79DB2D9A}" dt="2018-12-09T18:53:00.509" v="3555" actId="1076"/>
          <ac:cxnSpMkLst>
            <pc:docMk/>
            <pc:sldMk cId="846809997" sldId="4257"/>
            <ac:cxnSpMk id="114" creationId="{577E518F-822D-44E9-A06C-FC74F8FC9CDC}"/>
          </ac:cxnSpMkLst>
        </pc:cxnChg>
      </pc:sldChg>
      <pc:sldChg chg="addSp delSp modSp add del ord modTransition">
        <pc:chgData name="Lia Taylor" userId="2ccad05f-5017-4e2b-87e4-bbc6d22f4e64" providerId="ADAL" clId="{F700537D-3675-41CA-A525-EB2E79DB2D9A}" dt="2018-12-12T23:37:03.548" v="6500"/>
        <pc:sldMkLst>
          <pc:docMk/>
          <pc:sldMk cId="3265313685" sldId="4258"/>
        </pc:sldMkLst>
        <pc:spChg chg="del mod">
          <ac:chgData name="Lia Taylor" userId="2ccad05f-5017-4e2b-87e4-bbc6d22f4e64" providerId="ADAL" clId="{F700537D-3675-41CA-A525-EB2E79DB2D9A}" dt="2018-12-12T23:36:35.061" v="6498"/>
          <ac:spMkLst>
            <pc:docMk/>
            <pc:sldMk cId="3265313685" sldId="4258"/>
            <ac:spMk id="2" creationId="{5DC15859-C0D8-432E-9E01-253A501A0D93}"/>
          </ac:spMkLst>
        </pc:spChg>
        <pc:spChg chg="add del mod">
          <ac:chgData name="Lia Taylor" userId="2ccad05f-5017-4e2b-87e4-bbc6d22f4e64" providerId="ADAL" clId="{F700537D-3675-41CA-A525-EB2E79DB2D9A}" dt="2018-12-07T21:58:13.970" v="1890" actId="478"/>
          <ac:spMkLst>
            <pc:docMk/>
            <pc:sldMk cId="3265313685" sldId="4258"/>
            <ac:spMk id="4" creationId="{1337C13A-35BB-4842-965B-D5F86988EC3B}"/>
          </ac:spMkLst>
        </pc:spChg>
        <pc:spChg chg="mod">
          <ac:chgData name="Lia Taylor" userId="2ccad05f-5017-4e2b-87e4-bbc6d22f4e64" providerId="ADAL" clId="{F700537D-3675-41CA-A525-EB2E79DB2D9A}" dt="2018-12-09T18:53:27.881" v="3558" actId="1076"/>
          <ac:spMkLst>
            <pc:docMk/>
            <pc:sldMk cId="3265313685" sldId="4258"/>
            <ac:spMk id="41" creationId="{A2C93E83-7E59-4518-BAAA-F7CA635AD5DA}"/>
          </ac:spMkLst>
        </pc:spChg>
        <pc:spChg chg="mod">
          <ac:chgData name="Lia Taylor" userId="2ccad05f-5017-4e2b-87e4-bbc6d22f4e64" providerId="ADAL" clId="{F700537D-3675-41CA-A525-EB2E79DB2D9A}" dt="2018-12-09T18:53:27.881" v="3558" actId="1076"/>
          <ac:spMkLst>
            <pc:docMk/>
            <pc:sldMk cId="3265313685" sldId="4258"/>
            <ac:spMk id="45" creationId="{3BE1B88C-D7A4-4A64-9C6E-F6ED8DABE833}"/>
          </ac:spMkLst>
        </pc:spChg>
        <pc:spChg chg="mod">
          <ac:chgData name="Lia Taylor" userId="2ccad05f-5017-4e2b-87e4-bbc6d22f4e64" providerId="ADAL" clId="{F700537D-3675-41CA-A525-EB2E79DB2D9A}" dt="2018-12-09T18:53:27.881" v="3558" actId="1076"/>
          <ac:spMkLst>
            <pc:docMk/>
            <pc:sldMk cId="3265313685" sldId="4258"/>
            <ac:spMk id="51" creationId="{C1BC870E-B6B2-4079-9696-4B497EC90BB9}"/>
          </ac:spMkLst>
        </pc:spChg>
        <pc:spChg chg="mod">
          <ac:chgData name="Lia Taylor" userId="2ccad05f-5017-4e2b-87e4-bbc6d22f4e64" providerId="ADAL" clId="{F700537D-3675-41CA-A525-EB2E79DB2D9A}" dt="2018-12-09T18:53:27.881" v="3558" actId="1076"/>
          <ac:spMkLst>
            <pc:docMk/>
            <pc:sldMk cId="3265313685" sldId="4258"/>
            <ac:spMk id="52" creationId="{C1F10919-6558-4C80-9F5C-9A596C41E594}"/>
          </ac:spMkLst>
        </pc:spChg>
        <pc:spChg chg="mod">
          <ac:chgData name="Lia Taylor" userId="2ccad05f-5017-4e2b-87e4-bbc6d22f4e64" providerId="ADAL" clId="{F700537D-3675-41CA-A525-EB2E79DB2D9A}" dt="2018-12-09T18:53:27.881" v="3558" actId="1076"/>
          <ac:spMkLst>
            <pc:docMk/>
            <pc:sldMk cId="3265313685" sldId="4258"/>
            <ac:spMk id="55" creationId="{C6402DF8-EF6E-4AC0-8447-BFE03A013F5A}"/>
          </ac:spMkLst>
        </pc:spChg>
        <pc:spChg chg="mod">
          <ac:chgData name="Lia Taylor" userId="2ccad05f-5017-4e2b-87e4-bbc6d22f4e64" providerId="ADAL" clId="{F700537D-3675-41CA-A525-EB2E79DB2D9A}" dt="2018-12-09T18:53:27.881" v="3558" actId="1076"/>
          <ac:spMkLst>
            <pc:docMk/>
            <pc:sldMk cId="3265313685" sldId="4258"/>
            <ac:spMk id="56" creationId="{113564D5-1CE7-4149-9E0C-44BA2ADDCFD8}"/>
          </ac:spMkLst>
        </pc:spChg>
        <pc:spChg chg="mod">
          <ac:chgData name="Lia Taylor" userId="2ccad05f-5017-4e2b-87e4-bbc6d22f4e64" providerId="ADAL" clId="{F700537D-3675-41CA-A525-EB2E79DB2D9A}" dt="2018-12-09T18:53:27.881" v="3558" actId="1076"/>
          <ac:spMkLst>
            <pc:docMk/>
            <pc:sldMk cId="3265313685" sldId="4258"/>
            <ac:spMk id="57" creationId="{2F745640-7176-4C71-B6E0-124544F14471}"/>
          </ac:spMkLst>
        </pc:spChg>
        <pc:spChg chg="mod">
          <ac:chgData name="Lia Taylor" userId="2ccad05f-5017-4e2b-87e4-bbc6d22f4e64" providerId="ADAL" clId="{F700537D-3675-41CA-A525-EB2E79DB2D9A}" dt="2018-12-09T18:53:27.881" v="3558" actId="1076"/>
          <ac:spMkLst>
            <pc:docMk/>
            <pc:sldMk cId="3265313685" sldId="4258"/>
            <ac:spMk id="61" creationId="{EA1722E7-245F-456E-BC4B-82CF2C4FFD9F}"/>
          </ac:spMkLst>
        </pc:spChg>
        <pc:spChg chg="mod">
          <ac:chgData name="Lia Taylor" userId="2ccad05f-5017-4e2b-87e4-bbc6d22f4e64" providerId="ADAL" clId="{F700537D-3675-41CA-A525-EB2E79DB2D9A}" dt="2018-12-09T18:53:27.881" v="3558" actId="1076"/>
          <ac:spMkLst>
            <pc:docMk/>
            <pc:sldMk cId="3265313685" sldId="4258"/>
            <ac:spMk id="64" creationId="{01F43370-93B1-445B-A5B6-4C128485C179}"/>
          </ac:spMkLst>
        </pc:spChg>
        <pc:spChg chg="mod">
          <ac:chgData name="Lia Taylor" userId="2ccad05f-5017-4e2b-87e4-bbc6d22f4e64" providerId="ADAL" clId="{F700537D-3675-41CA-A525-EB2E79DB2D9A}" dt="2018-12-09T18:53:27.881" v="3558" actId="1076"/>
          <ac:spMkLst>
            <pc:docMk/>
            <pc:sldMk cId="3265313685" sldId="4258"/>
            <ac:spMk id="65" creationId="{7000DC81-06B1-4EDE-9344-D4B9D5ECAE90}"/>
          </ac:spMkLst>
        </pc:spChg>
        <pc:spChg chg="mod">
          <ac:chgData name="Lia Taylor" userId="2ccad05f-5017-4e2b-87e4-bbc6d22f4e64" providerId="ADAL" clId="{F700537D-3675-41CA-A525-EB2E79DB2D9A}" dt="2018-12-09T18:53:27.881" v="3558" actId="1076"/>
          <ac:spMkLst>
            <pc:docMk/>
            <pc:sldMk cId="3265313685" sldId="4258"/>
            <ac:spMk id="69" creationId="{DF8025B3-E8C3-4AE3-BF73-212178EF97ED}"/>
          </ac:spMkLst>
        </pc:spChg>
        <pc:spChg chg="mod">
          <ac:chgData name="Lia Taylor" userId="2ccad05f-5017-4e2b-87e4-bbc6d22f4e64" providerId="ADAL" clId="{F700537D-3675-41CA-A525-EB2E79DB2D9A}" dt="2018-12-09T18:53:27.881" v="3558" actId="1076"/>
          <ac:spMkLst>
            <pc:docMk/>
            <pc:sldMk cId="3265313685" sldId="4258"/>
            <ac:spMk id="71" creationId="{DD69C1E6-8305-47D8-9158-FF36D12701C2}"/>
          </ac:spMkLst>
        </pc:spChg>
        <pc:spChg chg="mod">
          <ac:chgData name="Lia Taylor" userId="2ccad05f-5017-4e2b-87e4-bbc6d22f4e64" providerId="ADAL" clId="{F700537D-3675-41CA-A525-EB2E79DB2D9A}" dt="2018-12-09T18:53:27.881" v="3558" actId="1076"/>
          <ac:spMkLst>
            <pc:docMk/>
            <pc:sldMk cId="3265313685" sldId="4258"/>
            <ac:spMk id="74" creationId="{98CB56EF-AE43-4E65-A538-D02958690B36}"/>
          </ac:spMkLst>
        </pc:spChg>
        <pc:spChg chg="mod">
          <ac:chgData name="Lia Taylor" userId="2ccad05f-5017-4e2b-87e4-bbc6d22f4e64" providerId="ADAL" clId="{F700537D-3675-41CA-A525-EB2E79DB2D9A}" dt="2018-12-09T18:53:27.881" v="3558" actId="1076"/>
          <ac:spMkLst>
            <pc:docMk/>
            <pc:sldMk cId="3265313685" sldId="4258"/>
            <ac:spMk id="75" creationId="{5E86040C-BE7C-4339-88B0-D6DF149B3796}"/>
          </ac:spMkLst>
        </pc:spChg>
        <pc:spChg chg="mod">
          <ac:chgData name="Lia Taylor" userId="2ccad05f-5017-4e2b-87e4-bbc6d22f4e64" providerId="ADAL" clId="{F700537D-3675-41CA-A525-EB2E79DB2D9A}" dt="2018-12-09T18:53:27.881" v="3558" actId="1076"/>
          <ac:spMkLst>
            <pc:docMk/>
            <pc:sldMk cId="3265313685" sldId="4258"/>
            <ac:spMk id="76" creationId="{C31E4AAE-ECE8-4E31-AE61-9819DAB8DA70}"/>
          </ac:spMkLst>
        </pc:spChg>
        <pc:spChg chg="mod">
          <ac:chgData name="Lia Taylor" userId="2ccad05f-5017-4e2b-87e4-bbc6d22f4e64" providerId="ADAL" clId="{F700537D-3675-41CA-A525-EB2E79DB2D9A}" dt="2018-12-09T18:53:27.881" v="3558" actId="1076"/>
          <ac:spMkLst>
            <pc:docMk/>
            <pc:sldMk cId="3265313685" sldId="4258"/>
            <ac:spMk id="78" creationId="{30B9F247-8FA3-49DB-A04E-CCEC28858491}"/>
          </ac:spMkLst>
        </pc:spChg>
        <pc:spChg chg="mod">
          <ac:chgData name="Lia Taylor" userId="2ccad05f-5017-4e2b-87e4-bbc6d22f4e64" providerId="ADAL" clId="{F700537D-3675-41CA-A525-EB2E79DB2D9A}" dt="2018-12-09T18:53:27.881" v="3558" actId="1076"/>
          <ac:spMkLst>
            <pc:docMk/>
            <pc:sldMk cId="3265313685" sldId="4258"/>
            <ac:spMk id="79" creationId="{C18B8357-A033-4F1E-A35C-A40AA95BDB5C}"/>
          </ac:spMkLst>
        </pc:spChg>
        <pc:spChg chg="mod">
          <ac:chgData name="Lia Taylor" userId="2ccad05f-5017-4e2b-87e4-bbc6d22f4e64" providerId="ADAL" clId="{F700537D-3675-41CA-A525-EB2E79DB2D9A}" dt="2018-12-09T18:53:27.881" v="3558" actId="1076"/>
          <ac:spMkLst>
            <pc:docMk/>
            <pc:sldMk cId="3265313685" sldId="4258"/>
            <ac:spMk id="80" creationId="{03C1DB04-C24E-49AE-8A76-F17ECC0EE0B7}"/>
          </ac:spMkLst>
        </pc:spChg>
        <pc:spChg chg="mod">
          <ac:chgData name="Lia Taylor" userId="2ccad05f-5017-4e2b-87e4-bbc6d22f4e64" providerId="ADAL" clId="{F700537D-3675-41CA-A525-EB2E79DB2D9A}" dt="2018-12-09T18:53:27.881" v="3558" actId="1076"/>
          <ac:spMkLst>
            <pc:docMk/>
            <pc:sldMk cId="3265313685" sldId="4258"/>
            <ac:spMk id="84" creationId="{9D5ED302-31E6-4300-A8EA-7A6FDC55BFC1}"/>
          </ac:spMkLst>
        </pc:spChg>
        <pc:spChg chg="mod">
          <ac:chgData name="Lia Taylor" userId="2ccad05f-5017-4e2b-87e4-bbc6d22f4e64" providerId="ADAL" clId="{F700537D-3675-41CA-A525-EB2E79DB2D9A}" dt="2018-12-09T18:53:27.881" v="3558" actId="1076"/>
          <ac:spMkLst>
            <pc:docMk/>
            <pc:sldMk cId="3265313685" sldId="4258"/>
            <ac:spMk id="88" creationId="{4FEA7318-77BD-4D45-90F1-67C3C8D2267F}"/>
          </ac:spMkLst>
        </pc:spChg>
        <pc:spChg chg="mod">
          <ac:chgData name="Lia Taylor" userId="2ccad05f-5017-4e2b-87e4-bbc6d22f4e64" providerId="ADAL" clId="{F700537D-3675-41CA-A525-EB2E79DB2D9A}" dt="2018-12-09T18:53:27.881" v="3558" actId="1076"/>
          <ac:spMkLst>
            <pc:docMk/>
            <pc:sldMk cId="3265313685" sldId="4258"/>
            <ac:spMk id="94" creationId="{9BE1700C-C375-4D29-8496-99E41387F3C5}"/>
          </ac:spMkLst>
        </pc:spChg>
        <pc:spChg chg="mod">
          <ac:chgData name="Lia Taylor" userId="2ccad05f-5017-4e2b-87e4-bbc6d22f4e64" providerId="ADAL" clId="{F700537D-3675-41CA-A525-EB2E79DB2D9A}" dt="2018-12-09T18:53:27.881" v="3558" actId="1076"/>
          <ac:spMkLst>
            <pc:docMk/>
            <pc:sldMk cId="3265313685" sldId="4258"/>
            <ac:spMk id="95" creationId="{C1F49FFF-5164-4C92-A086-6DD899DC6C63}"/>
          </ac:spMkLst>
        </pc:spChg>
        <pc:spChg chg="mod">
          <ac:chgData name="Lia Taylor" userId="2ccad05f-5017-4e2b-87e4-bbc6d22f4e64" providerId="ADAL" clId="{F700537D-3675-41CA-A525-EB2E79DB2D9A}" dt="2018-12-09T18:53:27.881" v="3558" actId="1076"/>
          <ac:spMkLst>
            <pc:docMk/>
            <pc:sldMk cId="3265313685" sldId="4258"/>
            <ac:spMk id="106" creationId="{7F3C0C30-2DD6-4F21-A8B1-16FAA550460E}"/>
          </ac:spMkLst>
        </pc:spChg>
        <pc:spChg chg="mod">
          <ac:chgData name="Lia Taylor" userId="2ccad05f-5017-4e2b-87e4-bbc6d22f4e64" providerId="ADAL" clId="{F700537D-3675-41CA-A525-EB2E79DB2D9A}" dt="2018-12-09T18:53:27.881" v="3558" actId="1076"/>
          <ac:spMkLst>
            <pc:docMk/>
            <pc:sldMk cId="3265313685" sldId="4258"/>
            <ac:spMk id="107" creationId="{DF723443-3228-4099-AE0F-FF2949DC1D5E}"/>
          </ac:spMkLst>
        </pc:spChg>
        <pc:spChg chg="del">
          <ac:chgData name="Lia Taylor" userId="2ccad05f-5017-4e2b-87e4-bbc6d22f4e64" providerId="ADAL" clId="{F700537D-3675-41CA-A525-EB2E79DB2D9A}" dt="2018-12-07T21:55:47.022" v="1822" actId="478"/>
          <ac:spMkLst>
            <pc:docMk/>
            <pc:sldMk cId="3265313685" sldId="4258"/>
            <ac:spMk id="108" creationId="{EEC83951-B91C-4E97-9C7C-58E3CB80CB8B}"/>
          </ac:spMkLst>
        </pc:spChg>
        <pc:spChg chg="add del">
          <ac:chgData name="Lia Taylor" userId="2ccad05f-5017-4e2b-87e4-bbc6d22f4e64" providerId="ADAL" clId="{F700537D-3675-41CA-A525-EB2E79DB2D9A}" dt="2018-12-09T18:44:22.894" v="3461" actId="478"/>
          <ac:spMkLst>
            <pc:docMk/>
            <pc:sldMk cId="3265313685" sldId="4258"/>
            <ac:spMk id="109" creationId="{4F0851F4-E353-48F7-A9BA-60742118083B}"/>
          </ac:spMkLst>
        </pc:spChg>
        <pc:spChg chg="add mod">
          <ac:chgData name="Lia Taylor" userId="2ccad05f-5017-4e2b-87e4-bbc6d22f4e64" providerId="ADAL" clId="{F700537D-3675-41CA-A525-EB2E79DB2D9A}" dt="2018-12-09T19:05:10.213" v="3900" actId="2711"/>
          <ac:spMkLst>
            <pc:docMk/>
            <pc:sldMk cId="3265313685" sldId="4258"/>
            <ac:spMk id="110" creationId="{431BC550-6A35-4006-9D37-FDE4F50A8389}"/>
          </ac:spMkLst>
        </pc:spChg>
        <pc:spChg chg="mod">
          <ac:chgData name="Lia Taylor" userId="2ccad05f-5017-4e2b-87e4-bbc6d22f4e64" providerId="ADAL" clId="{F700537D-3675-41CA-A525-EB2E79DB2D9A}" dt="2018-12-09T18:53:27.881" v="3558" actId="1076"/>
          <ac:spMkLst>
            <pc:docMk/>
            <pc:sldMk cId="3265313685" sldId="4258"/>
            <ac:spMk id="114" creationId="{366582FE-AD38-4541-B333-D3846528D5C3}"/>
          </ac:spMkLst>
        </pc:spChg>
        <pc:spChg chg="mod">
          <ac:chgData name="Lia Taylor" userId="2ccad05f-5017-4e2b-87e4-bbc6d22f4e64" providerId="ADAL" clId="{F700537D-3675-41CA-A525-EB2E79DB2D9A}" dt="2018-12-09T18:53:27.881" v="3558" actId="1076"/>
          <ac:spMkLst>
            <pc:docMk/>
            <pc:sldMk cId="3265313685" sldId="4258"/>
            <ac:spMk id="128" creationId="{7414689C-3365-4AEB-BF7A-C537D0076146}"/>
          </ac:spMkLst>
        </pc:spChg>
        <pc:spChg chg="mod">
          <ac:chgData name="Lia Taylor" userId="2ccad05f-5017-4e2b-87e4-bbc6d22f4e64" providerId="ADAL" clId="{F700537D-3675-41CA-A525-EB2E79DB2D9A}" dt="2018-12-07T21:59:40.030" v="1924" actId="14100"/>
          <ac:spMkLst>
            <pc:docMk/>
            <pc:sldMk cId="3265313685" sldId="4258"/>
            <ac:spMk id="165" creationId="{89236C1F-4C49-4095-84C5-701AE353CBD9}"/>
          </ac:spMkLst>
        </pc:spChg>
        <pc:spChg chg="mod">
          <ac:chgData name="Lia Taylor" userId="2ccad05f-5017-4e2b-87e4-bbc6d22f4e64" providerId="ADAL" clId="{F700537D-3675-41CA-A525-EB2E79DB2D9A}" dt="2018-12-09T18:53:27.881" v="3558" actId="1076"/>
          <ac:spMkLst>
            <pc:docMk/>
            <pc:sldMk cId="3265313685" sldId="4258"/>
            <ac:spMk id="184" creationId="{4F485C99-2D0D-40B3-A5B0-849E60008C06}"/>
          </ac:spMkLst>
        </pc:spChg>
        <pc:grpChg chg="mod">
          <ac:chgData name="Lia Taylor" userId="2ccad05f-5017-4e2b-87e4-bbc6d22f4e64" providerId="ADAL" clId="{F700537D-3675-41CA-A525-EB2E79DB2D9A}" dt="2018-12-09T18:53:27.881" v="3558" actId="1076"/>
          <ac:grpSpMkLst>
            <pc:docMk/>
            <pc:sldMk cId="3265313685" sldId="4258"/>
            <ac:grpSpMk id="6" creationId="{A0FE78EA-CF6B-4BD6-9AAE-1AF915947A22}"/>
          </ac:grpSpMkLst>
        </pc:grpChg>
        <pc:grpChg chg="mod">
          <ac:chgData name="Lia Taylor" userId="2ccad05f-5017-4e2b-87e4-bbc6d22f4e64" providerId="ADAL" clId="{F700537D-3675-41CA-A525-EB2E79DB2D9A}" dt="2018-12-09T18:53:27.881" v="3558" actId="1076"/>
          <ac:grpSpMkLst>
            <pc:docMk/>
            <pc:sldMk cId="3265313685" sldId="4258"/>
            <ac:grpSpMk id="9" creationId="{39F2B108-BA8E-4BA0-A9F6-5AC7962AF0DD}"/>
          </ac:grpSpMkLst>
        </pc:grpChg>
        <pc:grpChg chg="mod">
          <ac:chgData name="Lia Taylor" userId="2ccad05f-5017-4e2b-87e4-bbc6d22f4e64" providerId="ADAL" clId="{F700537D-3675-41CA-A525-EB2E79DB2D9A}" dt="2018-12-07T21:58:34.360" v="1891" actId="1076"/>
          <ac:grpSpMkLst>
            <pc:docMk/>
            <pc:sldMk cId="3265313685" sldId="4258"/>
            <ac:grpSpMk id="47" creationId="{ECCEE77F-A311-4B42-AA0F-F7A61D6E37EA}"/>
          </ac:grpSpMkLst>
        </pc:grpChg>
        <pc:grpChg chg="mod">
          <ac:chgData name="Lia Taylor" userId="2ccad05f-5017-4e2b-87e4-bbc6d22f4e64" providerId="ADAL" clId="{F700537D-3675-41CA-A525-EB2E79DB2D9A}" dt="2018-12-09T18:53:27.881" v="3558" actId="1076"/>
          <ac:grpSpMkLst>
            <pc:docMk/>
            <pc:sldMk cId="3265313685" sldId="4258"/>
            <ac:grpSpMk id="66" creationId="{F89BBAC6-38A4-47B1-B62E-DF73BF21E98B}"/>
          </ac:grpSpMkLst>
        </pc:grpChg>
        <pc:grpChg chg="mod">
          <ac:chgData name="Lia Taylor" userId="2ccad05f-5017-4e2b-87e4-bbc6d22f4e64" providerId="ADAL" clId="{F700537D-3675-41CA-A525-EB2E79DB2D9A}" dt="2018-12-09T18:53:27.881" v="3558" actId="1076"/>
          <ac:grpSpMkLst>
            <pc:docMk/>
            <pc:sldMk cId="3265313685" sldId="4258"/>
            <ac:grpSpMk id="98" creationId="{F021F200-298E-4BFA-BB26-B5C1A3999F9D}"/>
          </ac:grpSpMkLst>
        </pc:grpChg>
        <pc:grpChg chg="mod">
          <ac:chgData name="Lia Taylor" userId="2ccad05f-5017-4e2b-87e4-bbc6d22f4e64" providerId="ADAL" clId="{F700537D-3675-41CA-A525-EB2E79DB2D9A}" dt="2018-12-09T18:53:27.881" v="3558" actId="1076"/>
          <ac:grpSpMkLst>
            <pc:docMk/>
            <pc:sldMk cId="3265313685" sldId="4258"/>
            <ac:grpSpMk id="115" creationId="{D941AFA3-F0F5-405A-82D1-8E24EE144ECC}"/>
          </ac:grpSpMkLst>
        </pc:grpChg>
        <pc:grpChg chg="mod">
          <ac:chgData name="Lia Taylor" userId="2ccad05f-5017-4e2b-87e4-bbc6d22f4e64" providerId="ADAL" clId="{F700537D-3675-41CA-A525-EB2E79DB2D9A}" dt="2018-12-09T18:53:27.881" v="3558" actId="1076"/>
          <ac:grpSpMkLst>
            <pc:docMk/>
            <pc:sldMk cId="3265313685" sldId="4258"/>
            <ac:grpSpMk id="148" creationId="{47BE9848-423A-4176-9946-BD4486FA720E}"/>
          </ac:grpSpMkLst>
        </pc:grpChg>
        <pc:grpChg chg="mod">
          <ac:chgData name="Lia Taylor" userId="2ccad05f-5017-4e2b-87e4-bbc6d22f4e64" providerId="ADAL" clId="{F700537D-3675-41CA-A525-EB2E79DB2D9A}" dt="2018-12-09T18:53:27.881" v="3558" actId="1076"/>
          <ac:grpSpMkLst>
            <pc:docMk/>
            <pc:sldMk cId="3265313685" sldId="4258"/>
            <ac:grpSpMk id="154" creationId="{CB7CAADF-7DF3-41AA-BA62-0490FF39F80F}"/>
          </ac:grpSpMkLst>
        </pc:grpChg>
        <pc:grpChg chg="mod">
          <ac:chgData name="Lia Taylor" userId="2ccad05f-5017-4e2b-87e4-bbc6d22f4e64" providerId="ADAL" clId="{F700537D-3675-41CA-A525-EB2E79DB2D9A}" dt="2018-12-09T18:53:27.881" v="3558" actId="1076"/>
          <ac:grpSpMkLst>
            <pc:docMk/>
            <pc:sldMk cId="3265313685" sldId="4258"/>
            <ac:grpSpMk id="185" creationId="{ACD7DA0F-ECA5-4789-A030-6A2EC2647CA9}"/>
          </ac:grpSpMkLst>
        </pc:grpChg>
        <pc:cxnChg chg="mod">
          <ac:chgData name="Lia Taylor" userId="2ccad05f-5017-4e2b-87e4-bbc6d22f4e64" providerId="ADAL" clId="{F700537D-3675-41CA-A525-EB2E79DB2D9A}" dt="2018-12-09T18:53:27.881" v="3558" actId="1076"/>
          <ac:cxnSpMkLst>
            <pc:docMk/>
            <pc:sldMk cId="3265313685" sldId="4258"/>
            <ac:cxnSpMk id="17" creationId="{83B76D60-7C03-4A86-8AAD-49274C49D108}"/>
          </ac:cxnSpMkLst>
        </pc:cxnChg>
        <pc:cxnChg chg="mod">
          <ac:chgData name="Lia Taylor" userId="2ccad05f-5017-4e2b-87e4-bbc6d22f4e64" providerId="ADAL" clId="{F700537D-3675-41CA-A525-EB2E79DB2D9A}" dt="2018-12-09T18:53:27.881" v="3558" actId="1076"/>
          <ac:cxnSpMkLst>
            <pc:docMk/>
            <pc:sldMk cId="3265313685" sldId="4258"/>
            <ac:cxnSpMk id="28" creationId="{E874EC07-7154-4C4C-A720-DBDF8546E937}"/>
          </ac:cxnSpMkLst>
        </pc:cxnChg>
        <pc:cxnChg chg="mod">
          <ac:chgData name="Lia Taylor" userId="2ccad05f-5017-4e2b-87e4-bbc6d22f4e64" providerId="ADAL" clId="{F700537D-3675-41CA-A525-EB2E79DB2D9A}" dt="2018-12-09T18:53:27.881" v="3558" actId="1076"/>
          <ac:cxnSpMkLst>
            <pc:docMk/>
            <pc:sldMk cId="3265313685" sldId="4258"/>
            <ac:cxnSpMk id="53" creationId="{595EEA1C-7177-4489-8D33-4871947A4AD8}"/>
          </ac:cxnSpMkLst>
        </pc:cxnChg>
        <pc:cxnChg chg="mod">
          <ac:chgData name="Lia Taylor" userId="2ccad05f-5017-4e2b-87e4-bbc6d22f4e64" providerId="ADAL" clId="{F700537D-3675-41CA-A525-EB2E79DB2D9A}" dt="2018-12-09T18:53:27.881" v="3558" actId="1076"/>
          <ac:cxnSpMkLst>
            <pc:docMk/>
            <pc:sldMk cId="3265313685" sldId="4258"/>
            <ac:cxnSpMk id="54" creationId="{D6A16437-C9CB-42B1-8E44-E3003F72CEE5}"/>
          </ac:cxnSpMkLst>
        </pc:cxnChg>
        <pc:cxnChg chg="mod">
          <ac:chgData name="Lia Taylor" userId="2ccad05f-5017-4e2b-87e4-bbc6d22f4e64" providerId="ADAL" clId="{F700537D-3675-41CA-A525-EB2E79DB2D9A}" dt="2018-12-09T18:53:27.881" v="3558" actId="1076"/>
          <ac:cxnSpMkLst>
            <pc:docMk/>
            <pc:sldMk cId="3265313685" sldId="4258"/>
            <ac:cxnSpMk id="62" creationId="{488F99B4-E204-47CB-B40A-E990A871F940}"/>
          </ac:cxnSpMkLst>
        </pc:cxnChg>
        <pc:cxnChg chg="mod">
          <ac:chgData name="Lia Taylor" userId="2ccad05f-5017-4e2b-87e4-bbc6d22f4e64" providerId="ADAL" clId="{F700537D-3675-41CA-A525-EB2E79DB2D9A}" dt="2018-12-09T18:53:27.881" v="3558" actId="1076"/>
          <ac:cxnSpMkLst>
            <pc:docMk/>
            <pc:sldMk cId="3265313685" sldId="4258"/>
            <ac:cxnSpMk id="77" creationId="{080755E6-BBFF-407D-BC3A-65F94349ED75}"/>
          </ac:cxnSpMkLst>
        </pc:cxnChg>
        <pc:cxnChg chg="mod">
          <ac:chgData name="Lia Taylor" userId="2ccad05f-5017-4e2b-87e4-bbc6d22f4e64" providerId="ADAL" clId="{F700537D-3675-41CA-A525-EB2E79DB2D9A}" dt="2018-12-09T18:53:27.881" v="3558" actId="1076"/>
          <ac:cxnSpMkLst>
            <pc:docMk/>
            <pc:sldMk cId="3265313685" sldId="4258"/>
            <ac:cxnSpMk id="127" creationId="{A8C8310B-61BE-450B-8FA4-ACA0BA283EA4}"/>
          </ac:cxnSpMkLst>
        </pc:cxnChg>
      </pc:sldChg>
      <pc:sldChg chg="addSp delSp modSp add del ord modTransition">
        <pc:chgData name="Lia Taylor" userId="2ccad05f-5017-4e2b-87e4-bbc6d22f4e64" providerId="ADAL" clId="{F700537D-3675-41CA-A525-EB2E79DB2D9A}" dt="2018-12-12T23:37:03.548" v="6500"/>
        <pc:sldMkLst>
          <pc:docMk/>
          <pc:sldMk cId="1637786780" sldId="4259"/>
        </pc:sldMkLst>
        <pc:spChg chg="del mod">
          <ac:chgData name="Lia Taylor" userId="2ccad05f-5017-4e2b-87e4-bbc6d22f4e64" providerId="ADAL" clId="{F700537D-3675-41CA-A525-EB2E79DB2D9A}" dt="2018-12-12T23:36:35.061" v="6498"/>
          <ac:spMkLst>
            <pc:docMk/>
            <pc:sldMk cId="1637786780" sldId="4259"/>
            <ac:spMk id="2" creationId="{B8C9918D-D4DE-4CCB-B077-43386D01E5BF}"/>
          </ac:spMkLst>
        </pc:spChg>
        <pc:spChg chg="add del mod">
          <ac:chgData name="Lia Taylor" userId="2ccad05f-5017-4e2b-87e4-bbc6d22f4e64" providerId="ADAL" clId="{F700537D-3675-41CA-A525-EB2E79DB2D9A}" dt="2018-12-07T22:00:01.086" v="1927" actId="478"/>
          <ac:spMkLst>
            <pc:docMk/>
            <pc:sldMk cId="1637786780" sldId="4259"/>
            <ac:spMk id="6" creationId="{5A8E4A6C-D124-498D-8EE9-4EA9E433C4A6}"/>
          </ac:spMkLst>
        </pc:spChg>
        <pc:spChg chg="mod">
          <ac:chgData name="Lia Taylor" userId="2ccad05f-5017-4e2b-87e4-bbc6d22f4e64" providerId="ADAL" clId="{F700537D-3675-41CA-A525-EB2E79DB2D9A}" dt="2018-12-09T18:53:12.035" v="3556" actId="1076"/>
          <ac:spMkLst>
            <pc:docMk/>
            <pc:sldMk cId="1637786780" sldId="4259"/>
            <ac:spMk id="50" creationId="{40CB5054-9971-4771-BDCF-382BB855B8F4}"/>
          </ac:spMkLst>
        </pc:spChg>
        <pc:spChg chg="mod">
          <ac:chgData name="Lia Taylor" userId="2ccad05f-5017-4e2b-87e4-bbc6d22f4e64" providerId="ADAL" clId="{F700537D-3675-41CA-A525-EB2E79DB2D9A}" dt="2018-12-09T18:53:12.035" v="3556" actId="1076"/>
          <ac:spMkLst>
            <pc:docMk/>
            <pc:sldMk cId="1637786780" sldId="4259"/>
            <ac:spMk id="60" creationId="{A6ECE84E-1480-4C6A-B304-1B41808ED282}"/>
          </ac:spMkLst>
        </pc:spChg>
        <pc:spChg chg="mod">
          <ac:chgData name="Lia Taylor" userId="2ccad05f-5017-4e2b-87e4-bbc6d22f4e64" providerId="ADAL" clId="{F700537D-3675-41CA-A525-EB2E79DB2D9A}" dt="2018-12-09T18:53:12.035" v="3556" actId="1076"/>
          <ac:spMkLst>
            <pc:docMk/>
            <pc:sldMk cId="1637786780" sldId="4259"/>
            <ac:spMk id="61" creationId="{4666497F-2655-4487-9236-04CA72DC4E0F}"/>
          </ac:spMkLst>
        </pc:spChg>
        <pc:spChg chg="mod">
          <ac:chgData name="Lia Taylor" userId="2ccad05f-5017-4e2b-87e4-bbc6d22f4e64" providerId="ADAL" clId="{F700537D-3675-41CA-A525-EB2E79DB2D9A}" dt="2018-12-09T18:53:12.035" v="3556" actId="1076"/>
          <ac:spMkLst>
            <pc:docMk/>
            <pc:sldMk cId="1637786780" sldId="4259"/>
            <ac:spMk id="62" creationId="{A355334C-AF90-41D8-A40A-B1263CC92912}"/>
          </ac:spMkLst>
        </pc:spChg>
        <pc:spChg chg="mod">
          <ac:chgData name="Lia Taylor" userId="2ccad05f-5017-4e2b-87e4-bbc6d22f4e64" providerId="ADAL" clId="{F700537D-3675-41CA-A525-EB2E79DB2D9A}" dt="2018-12-09T18:53:12.035" v="3556" actId="1076"/>
          <ac:spMkLst>
            <pc:docMk/>
            <pc:sldMk cId="1637786780" sldId="4259"/>
            <ac:spMk id="63" creationId="{1F3EEF6D-FBCC-45CA-BF85-473CD69AC202}"/>
          </ac:spMkLst>
        </pc:spChg>
        <pc:spChg chg="mod">
          <ac:chgData name="Lia Taylor" userId="2ccad05f-5017-4e2b-87e4-bbc6d22f4e64" providerId="ADAL" clId="{F700537D-3675-41CA-A525-EB2E79DB2D9A}" dt="2018-12-09T18:53:12.035" v="3556" actId="1076"/>
          <ac:spMkLst>
            <pc:docMk/>
            <pc:sldMk cId="1637786780" sldId="4259"/>
            <ac:spMk id="64" creationId="{EE471911-842B-458F-833B-4029879F8353}"/>
          </ac:spMkLst>
        </pc:spChg>
        <pc:spChg chg="mod">
          <ac:chgData name="Lia Taylor" userId="2ccad05f-5017-4e2b-87e4-bbc6d22f4e64" providerId="ADAL" clId="{F700537D-3675-41CA-A525-EB2E79DB2D9A}" dt="2018-12-09T18:53:12.035" v="3556" actId="1076"/>
          <ac:spMkLst>
            <pc:docMk/>
            <pc:sldMk cId="1637786780" sldId="4259"/>
            <ac:spMk id="65" creationId="{2D46BBDC-2C92-462C-8E4D-227866246225}"/>
          </ac:spMkLst>
        </pc:spChg>
        <pc:spChg chg="mod">
          <ac:chgData name="Lia Taylor" userId="2ccad05f-5017-4e2b-87e4-bbc6d22f4e64" providerId="ADAL" clId="{F700537D-3675-41CA-A525-EB2E79DB2D9A}" dt="2018-12-09T18:53:12.035" v="3556" actId="1076"/>
          <ac:spMkLst>
            <pc:docMk/>
            <pc:sldMk cId="1637786780" sldId="4259"/>
            <ac:spMk id="66" creationId="{63E85F5A-BF89-41F0-9C97-6B14DE5F0AF5}"/>
          </ac:spMkLst>
        </pc:spChg>
        <pc:spChg chg="mod">
          <ac:chgData name="Lia Taylor" userId="2ccad05f-5017-4e2b-87e4-bbc6d22f4e64" providerId="ADAL" clId="{F700537D-3675-41CA-A525-EB2E79DB2D9A}" dt="2018-12-09T18:53:12.035" v="3556" actId="1076"/>
          <ac:spMkLst>
            <pc:docMk/>
            <pc:sldMk cId="1637786780" sldId="4259"/>
            <ac:spMk id="67" creationId="{A69025D0-14CE-4D51-B6AD-BCDD2099B686}"/>
          </ac:spMkLst>
        </pc:spChg>
        <pc:spChg chg="mod">
          <ac:chgData name="Lia Taylor" userId="2ccad05f-5017-4e2b-87e4-bbc6d22f4e64" providerId="ADAL" clId="{F700537D-3675-41CA-A525-EB2E79DB2D9A}" dt="2018-12-09T18:53:12.035" v="3556" actId="1076"/>
          <ac:spMkLst>
            <pc:docMk/>
            <pc:sldMk cId="1637786780" sldId="4259"/>
            <ac:spMk id="68" creationId="{AEBA10DB-0054-4A50-A319-977EB3182CAC}"/>
          </ac:spMkLst>
        </pc:spChg>
        <pc:spChg chg="mod">
          <ac:chgData name="Lia Taylor" userId="2ccad05f-5017-4e2b-87e4-bbc6d22f4e64" providerId="ADAL" clId="{F700537D-3675-41CA-A525-EB2E79DB2D9A}" dt="2018-12-09T18:53:12.035" v="3556" actId="1076"/>
          <ac:spMkLst>
            <pc:docMk/>
            <pc:sldMk cId="1637786780" sldId="4259"/>
            <ac:spMk id="69" creationId="{497F3552-9E64-44C4-A0EC-B7F7BAF03773}"/>
          </ac:spMkLst>
        </pc:spChg>
        <pc:spChg chg="mod">
          <ac:chgData name="Lia Taylor" userId="2ccad05f-5017-4e2b-87e4-bbc6d22f4e64" providerId="ADAL" clId="{F700537D-3675-41CA-A525-EB2E79DB2D9A}" dt="2018-12-09T18:53:12.035" v="3556" actId="1076"/>
          <ac:spMkLst>
            <pc:docMk/>
            <pc:sldMk cId="1637786780" sldId="4259"/>
            <ac:spMk id="79" creationId="{31751157-80F4-40BA-A879-145B2F14F966}"/>
          </ac:spMkLst>
        </pc:spChg>
        <pc:spChg chg="mod">
          <ac:chgData name="Lia Taylor" userId="2ccad05f-5017-4e2b-87e4-bbc6d22f4e64" providerId="ADAL" clId="{F700537D-3675-41CA-A525-EB2E79DB2D9A}" dt="2018-12-09T18:53:12.035" v="3556" actId="1076"/>
          <ac:spMkLst>
            <pc:docMk/>
            <pc:sldMk cId="1637786780" sldId="4259"/>
            <ac:spMk id="80" creationId="{F24F5709-273C-4C7B-9322-8DE41374781B}"/>
          </ac:spMkLst>
        </pc:spChg>
        <pc:spChg chg="mod">
          <ac:chgData name="Lia Taylor" userId="2ccad05f-5017-4e2b-87e4-bbc6d22f4e64" providerId="ADAL" clId="{F700537D-3675-41CA-A525-EB2E79DB2D9A}" dt="2018-12-09T18:53:12.035" v="3556" actId="1076"/>
          <ac:spMkLst>
            <pc:docMk/>
            <pc:sldMk cId="1637786780" sldId="4259"/>
            <ac:spMk id="90" creationId="{4E7C443D-1B34-45C3-81E3-90EBB3715FB6}"/>
          </ac:spMkLst>
        </pc:spChg>
        <pc:spChg chg="mod">
          <ac:chgData name="Lia Taylor" userId="2ccad05f-5017-4e2b-87e4-bbc6d22f4e64" providerId="ADAL" clId="{F700537D-3675-41CA-A525-EB2E79DB2D9A}" dt="2018-12-07T22:00:38.824" v="1931" actId="1076"/>
          <ac:spMkLst>
            <pc:docMk/>
            <pc:sldMk cId="1637786780" sldId="4259"/>
            <ac:spMk id="91" creationId="{C9E093F2-11C1-4CA3-AA58-3C15083AE704}"/>
          </ac:spMkLst>
        </pc:spChg>
        <pc:spChg chg="mod">
          <ac:chgData name="Lia Taylor" userId="2ccad05f-5017-4e2b-87e4-bbc6d22f4e64" providerId="ADAL" clId="{F700537D-3675-41CA-A525-EB2E79DB2D9A}" dt="2018-12-11T21:56:05.282" v="5274" actId="255"/>
          <ac:spMkLst>
            <pc:docMk/>
            <pc:sldMk cId="1637786780" sldId="4259"/>
            <ac:spMk id="92" creationId="{20C2E6E0-12E4-4B10-954C-CB9AFFC019CD}"/>
          </ac:spMkLst>
        </pc:spChg>
        <pc:spChg chg="del">
          <ac:chgData name="Lia Taylor" userId="2ccad05f-5017-4e2b-87e4-bbc6d22f4e64" providerId="ADAL" clId="{F700537D-3675-41CA-A525-EB2E79DB2D9A}" dt="2018-12-07T21:55:51.596" v="1823" actId="478"/>
          <ac:spMkLst>
            <pc:docMk/>
            <pc:sldMk cId="1637786780" sldId="4259"/>
            <ac:spMk id="93" creationId="{C4BDB4E0-1408-4826-B5DC-27B6D4424073}"/>
          </ac:spMkLst>
        </pc:spChg>
        <pc:spChg chg="add del">
          <ac:chgData name="Lia Taylor" userId="2ccad05f-5017-4e2b-87e4-bbc6d22f4e64" providerId="ADAL" clId="{F700537D-3675-41CA-A525-EB2E79DB2D9A}" dt="2018-12-09T18:44:31.749" v="3463" actId="478"/>
          <ac:spMkLst>
            <pc:docMk/>
            <pc:sldMk cId="1637786780" sldId="4259"/>
            <ac:spMk id="104" creationId="{96F78AFC-592D-4FED-9312-303A54C92C7B}"/>
          </ac:spMkLst>
        </pc:spChg>
        <pc:spChg chg="add mod">
          <ac:chgData name="Lia Taylor" userId="2ccad05f-5017-4e2b-87e4-bbc6d22f4e64" providerId="ADAL" clId="{F700537D-3675-41CA-A525-EB2E79DB2D9A}" dt="2018-12-09T19:05:00.600" v="3898" actId="113"/>
          <ac:spMkLst>
            <pc:docMk/>
            <pc:sldMk cId="1637786780" sldId="4259"/>
            <ac:spMk id="105" creationId="{B67B25ED-A4FA-44AC-BD7A-F8ED3BDF5895}"/>
          </ac:spMkLst>
        </pc:spChg>
        <pc:spChg chg="mod">
          <ac:chgData name="Lia Taylor" userId="2ccad05f-5017-4e2b-87e4-bbc6d22f4e64" providerId="ADAL" clId="{F700537D-3675-41CA-A525-EB2E79DB2D9A}" dt="2018-12-09T18:53:12.035" v="3556" actId="1076"/>
          <ac:spMkLst>
            <pc:docMk/>
            <pc:sldMk cId="1637786780" sldId="4259"/>
            <ac:spMk id="106" creationId="{54DF214B-7709-48B0-92AA-8B8ACA4C8849}"/>
          </ac:spMkLst>
        </pc:spChg>
        <pc:spChg chg="mod">
          <ac:chgData name="Lia Taylor" userId="2ccad05f-5017-4e2b-87e4-bbc6d22f4e64" providerId="ADAL" clId="{F700537D-3675-41CA-A525-EB2E79DB2D9A}" dt="2018-12-09T18:53:12.035" v="3556" actId="1076"/>
          <ac:spMkLst>
            <pc:docMk/>
            <pc:sldMk cId="1637786780" sldId="4259"/>
            <ac:spMk id="107" creationId="{D0DA26C2-75EE-4428-8360-A0061363D9A5}"/>
          </ac:spMkLst>
        </pc:spChg>
        <pc:spChg chg="mod">
          <ac:chgData name="Lia Taylor" userId="2ccad05f-5017-4e2b-87e4-bbc6d22f4e64" providerId="ADAL" clId="{F700537D-3675-41CA-A525-EB2E79DB2D9A}" dt="2018-12-11T21:58:32.163" v="5295" actId="20578"/>
          <ac:spMkLst>
            <pc:docMk/>
            <pc:sldMk cId="1637786780" sldId="4259"/>
            <ac:spMk id="108" creationId="{119B6498-7B4C-462D-87D1-BC329647AE72}"/>
          </ac:spMkLst>
        </pc:spChg>
        <pc:spChg chg="mod">
          <ac:chgData name="Lia Taylor" userId="2ccad05f-5017-4e2b-87e4-bbc6d22f4e64" providerId="ADAL" clId="{F700537D-3675-41CA-A525-EB2E79DB2D9A}" dt="2018-12-09T18:53:12.035" v="3556" actId="1076"/>
          <ac:spMkLst>
            <pc:docMk/>
            <pc:sldMk cId="1637786780" sldId="4259"/>
            <ac:spMk id="111" creationId="{28F950B3-0E17-4918-B92A-CF8E159CC60A}"/>
          </ac:spMkLst>
        </pc:spChg>
        <pc:spChg chg="mod">
          <ac:chgData name="Lia Taylor" userId="2ccad05f-5017-4e2b-87e4-bbc6d22f4e64" providerId="ADAL" clId="{F700537D-3675-41CA-A525-EB2E79DB2D9A}" dt="2018-12-09T18:53:12.035" v="3556" actId="1076"/>
          <ac:spMkLst>
            <pc:docMk/>
            <pc:sldMk cId="1637786780" sldId="4259"/>
            <ac:spMk id="121" creationId="{DFD0BFF2-6542-4354-8344-C24FA08EDA01}"/>
          </ac:spMkLst>
        </pc:spChg>
        <pc:spChg chg="mod">
          <ac:chgData name="Lia Taylor" userId="2ccad05f-5017-4e2b-87e4-bbc6d22f4e64" providerId="ADAL" clId="{F700537D-3675-41CA-A525-EB2E79DB2D9A}" dt="2018-12-09T18:53:12.035" v="3556" actId="1076"/>
          <ac:spMkLst>
            <pc:docMk/>
            <pc:sldMk cId="1637786780" sldId="4259"/>
            <ac:spMk id="129" creationId="{7B5FD233-7F52-4151-AC4F-D26B12C20ED8}"/>
          </ac:spMkLst>
        </pc:spChg>
        <pc:spChg chg="mod">
          <ac:chgData name="Lia Taylor" userId="2ccad05f-5017-4e2b-87e4-bbc6d22f4e64" providerId="ADAL" clId="{F700537D-3675-41CA-A525-EB2E79DB2D9A}" dt="2018-12-09T18:53:12.035" v="3556" actId="1076"/>
          <ac:spMkLst>
            <pc:docMk/>
            <pc:sldMk cId="1637786780" sldId="4259"/>
            <ac:spMk id="132" creationId="{6A12D6B3-EBB4-4CE5-B887-45E02477B39B}"/>
          </ac:spMkLst>
        </pc:spChg>
        <pc:spChg chg="mod">
          <ac:chgData name="Lia Taylor" userId="2ccad05f-5017-4e2b-87e4-bbc6d22f4e64" providerId="ADAL" clId="{F700537D-3675-41CA-A525-EB2E79DB2D9A}" dt="2018-12-09T18:53:12.035" v="3556" actId="1076"/>
          <ac:spMkLst>
            <pc:docMk/>
            <pc:sldMk cId="1637786780" sldId="4259"/>
            <ac:spMk id="134" creationId="{DC4D3768-8551-4B9E-9183-69340646E379}"/>
          </ac:spMkLst>
        </pc:spChg>
        <pc:spChg chg="mod">
          <ac:chgData name="Lia Taylor" userId="2ccad05f-5017-4e2b-87e4-bbc6d22f4e64" providerId="ADAL" clId="{F700537D-3675-41CA-A525-EB2E79DB2D9A}" dt="2018-12-09T18:53:12.035" v="3556" actId="1076"/>
          <ac:spMkLst>
            <pc:docMk/>
            <pc:sldMk cId="1637786780" sldId="4259"/>
            <ac:spMk id="138" creationId="{8A5DBAAB-F74B-4CEE-B16F-939DF6438222}"/>
          </ac:spMkLst>
        </pc:spChg>
        <pc:grpChg chg="mod">
          <ac:chgData name="Lia Taylor" userId="2ccad05f-5017-4e2b-87e4-bbc6d22f4e64" providerId="ADAL" clId="{F700537D-3675-41CA-A525-EB2E79DB2D9A}" dt="2018-12-09T18:53:12.035" v="3556" actId="1076"/>
          <ac:grpSpMkLst>
            <pc:docMk/>
            <pc:sldMk cId="1637786780" sldId="4259"/>
            <ac:grpSpMk id="4" creationId="{585CDC6F-1CAB-4C84-89AD-D769379745CA}"/>
          </ac:grpSpMkLst>
        </pc:grpChg>
        <pc:grpChg chg="mod">
          <ac:chgData name="Lia Taylor" userId="2ccad05f-5017-4e2b-87e4-bbc6d22f4e64" providerId="ADAL" clId="{F700537D-3675-41CA-A525-EB2E79DB2D9A}" dt="2018-12-09T18:53:12.035" v="3556" actId="1076"/>
          <ac:grpSpMkLst>
            <pc:docMk/>
            <pc:sldMk cId="1637786780" sldId="4259"/>
            <ac:grpSpMk id="13" creationId="{6A7C506E-0290-4C82-BC48-CC52F03AC72F}"/>
          </ac:grpSpMkLst>
        </pc:grpChg>
        <pc:grpChg chg="mod">
          <ac:chgData name="Lia Taylor" userId="2ccad05f-5017-4e2b-87e4-bbc6d22f4e64" providerId="ADAL" clId="{F700537D-3675-41CA-A525-EB2E79DB2D9A}" dt="2018-12-09T18:53:12.035" v="3556" actId="1076"/>
          <ac:grpSpMkLst>
            <pc:docMk/>
            <pc:sldMk cId="1637786780" sldId="4259"/>
            <ac:grpSpMk id="94" creationId="{781FC65C-342F-4E06-8C28-6FA7AA1EE720}"/>
          </ac:grpSpMkLst>
        </pc:grpChg>
        <pc:grpChg chg="mod">
          <ac:chgData name="Lia Taylor" userId="2ccad05f-5017-4e2b-87e4-bbc6d22f4e64" providerId="ADAL" clId="{F700537D-3675-41CA-A525-EB2E79DB2D9A}" dt="2018-12-09T18:53:12.035" v="3556" actId="1076"/>
          <ac:grpSpMkLst>
            <pc:docMk/>
            <pc:sldMk cId="1637786780" sldId="4259"/>
            <ac:grpSpMk id="98" creationId="{67C8C217-28A5-4967-8782-06D6611433A5}"/>
          </ac:grpSpMkLst>
        </pc:grpChg>
        <pc:grpChg chg="mod">
          <ac:chgData name="Lia Taylor" userId="2ccad05f-5017-4e2b-87e4-bbc6d22f4e64" providerId="ADAL" clId="{F700537D-3675-41CA-A525-EB2E79DB2D9A}" dt="2018-12-09T18:53:12.035" v="3556" actId="1076"/>
          <ac:grpSpMkLst>
            <pc:docMk/>
            <pc:sldMk cId="1637786780" sldId="4259"/>
            <ac:grpSpMk id="139" creationId="{3AF8C067-F0C5-4332-AB1E-81097FF7F91D}"/>
          </ac:grpSpMkLst>
        </pc:grpChg>
        <pc:grpChg chg="mod">
          <ac:chgData name="Lia Taylor" userId="2ccad05f-5017-4e2b-87e4-bbc6d22f4e64" providerId="ADAL" clId="{F700537D-3675-41CA-A525-EB2E79DB2D9A}" dt="2018-12-09T18:53:12.035" v="3556" actId="1076"/>
          <ac:grpSpMkLst>
            <pc:docMk/>
            <pc:sldMk cId="1637786780" sldId="4259"/>
            <ac:grpSpMk id="147" creationId="{4BECDE66-0285-44E2-A1D0-DE51F8E0CCE1}"/>
          </ac:grpSpMkLst>
        </pc:grpChg>
        <pc:grpChg chg="mod">
          <ac:chgData name="Lia Taylor" userId="2ccad05f-5017-4e2b-87e4-bbc6d22f4e64" providerId="ADAL" clId="{F700537D-3675-41CA-A525-EB2E79DB2D9A}" dt="2018-12-09T18:53:12.035" v="3556" actId="1076"/>
          <ac:grpSpMkLst>
            <pc:docMk/>
            <pc:sldMk cId="1637786780" sldId="4259"/>
            <ac:grpSpMk id="154" creationId="{402DE1CD-E93E-400C-A27D-D0DAFB032428}"/>
          </ac:grpSpMkLst>
        </pc:grpChg>
        <pc:grpChg chg="mod">
          <ac:chgData name="Lia Taylor" userId="2ccad05f-5017-4e2b-87e4-bbc6d22f4e64" providerId="ADAL" clId="{F700537D-3675-41CA-A525-EB2E79DB2D9A}" dt="2018-12-09T18:53:12.035" v="3556" actId="1076"/>
          <ac:grpSpMkLst>
            <pc:docMk/>
            <pc:sldMk cId="1637786780" sldId="4259"/>
            <ac:grpSpMk id="161" creationId="{9E9945EB-6D29-469D-9388-AB7941AE7F75}"/>
          </ac:grpSpMkLst>
        </pc:grpChg>
        <pc:grpChg chg="mod">
          <ac:chgData name="Lia Taylor" userId="2ccad05f-5017-4e2b-87e4-bbc6d22f4e64" providerId="ADAL" clId="{F700537D-3675-41CA-A525-EB2E79DB2D9A}" dt="2018-12-07T22:00:17.677" v="1928" actId="1076"/>
          <ac:grpSpMkLst>
            <pc:docMk/>
            <pc:sldMk cId="1637786780" sldId="4259"/>
            <ac:grpSpMk id="164" creationId="{338DFC20-3BDF-4A31-91F2-3A42EA5E5563}"/>
          </ac:grpSpMkLst>
        </pc:grpChg>
        <pc:cxnChg chg="mod">
          <ac:chgData name="Lia Taylor" userId="2ccad05f-5017-4e2b-87e4-bbc6d22f4e64" providerId="ADAL" clId="{F700537D-3675-41CA-A525-EB2E79DB2D9A}" dt="2018-12-09T18:53:12.035" v="3556" actId="1076"/>
          <ac:cxnSpMkLst>
            <pc:docMk/>
            <pc:sldMk cId="1637786780" sldId="4259"/>
            <ac:cxnSpMk id="5" creationId="{8CC805F9-217A-4C1E-B23E-CE15E771FE06}"/>
          </ac:cxnSpMkLst>
        </pc:cxnChg>
        <pc:cxnChg chg="mod">
          <ac:chgData name="Lia Taylor" userId="2ccad05f-5017-4e2b-87e4-bbc6d22f4e64" providerId="ADAL" clId="{F700537D-3675-41CA-A525-EB2E79DB2D9A}" dt="2018-12-09T18:53:12.035" v="3556" actId="1076"/>
          <ac:cxnSpMkLst>
            <pc:docMk/>
            <pc:sldMk cId="1637786780" sldId="4259"/>
            <ac:cxnSpMk id="89" creationId="{61030A30-7FA0-463C-8C20-59E2F8756804}"/>
          </ac:cxnSpMkLst>
        </pc:cxnChg>
        <pc:cxnChg chg="mod">
          <ac:chgData name="Lia Taylor" userId="2ccad05f-5017-4e2b-87e4-bbc6d22f4e64" providerId="ADAL" clId="{F700537D-3675-41CA-A525-EB2E79DB2D9A}" dt="2018-12-09T18:53:12.035" v="3556" actId="1076"/>
          <ac:cxnSpMkLst>
            <pc:docMk/>
            <pc:sldMk cId="1637786780" sldId="4259"/>
            <ac:cxnSpMk id="103" creationId="{86634241-5E7F-4295-884A-6474B7FF17DE}"/>
          </ac:cxnSpMkLst>
        </pc:cxnChg>
        <pc:cxnChg chg="mod">
          <ac:chgData name="Lia Taylor" userId="2ccad05f-5017-4e2b-87e4-bbc6d22f4e64" providerId="ADAL" clId="{F700537D-3675-41CA-A525-EB2E79DB2D9A}" dt="2018-12-09T18:53:12.035" v="3556" actId="1076"/>
          <ac:cxnSpMkLst>
            <pc:docMk/>
            <pc:sldMk cId="1637786780" sldId="4259"/>
            <ac:cxnSpMk id="114" creationId="{1813DF08-120B-4FEA-B233-E002F0F581F4}"/>
          </ac:cxnSpMkLst>
        </pc:cxnChg>
        <pc:cxnChg chg="mod">
          <ac:chgData name="Lia Taylor" userId="2ccad05f-5017-4e2b-87e4-bbc6d22f4e64" providerId="ADAL" clId="{F700537D-3675-41CA-A525-EB2E79DB2D9A}" dt="2018-12-09T18:53:12.035" v="3556" actId="1076"/>
          <ac:cxnSpMkLst>
            <pc:docMk/>
            <pc:sldMk cId="1637786780" sldId="4259"/>
            <ac:cxnSpMk id="123" creationId="{0CEDA18E-4DA6-40D6-8447-195C0616DB94}"/>
          </ac:cxnSpMkLst>
        </pc:cxnChg>
        <pc:cxnChg chg="mod">
          <ac:chgData name="Lia Taylor" userId="2ccad05f-5017-4e2b-87e4-bbc6d22f4e64" providerId="ADAL" clId="{F700537D-3675-41CA-A525-EB2E79DB2D9A}" dt="2018-12-09T18:53:12.035" v="3556" actId="1076"/>
          <ac:cxnSpMkLst>
            <pc:docMk/>
            <pc:sldMk cId="1637786780" sldId="4259"/>
            <ac:cxnSpMk id="127" creationId="{F75B1065-93B0-43C4-96F1-1CE9A051A35E}"/>
          </ac:cxnSpMkLst>
        </pc:cxnChg>
        <pc:cxnChg chg="mod">
          <ac:chgData name="Lia Taylor" userId="2ccad05f-5017-4e2b-87e4-bbc6d22f4e64" providerId="ADAL" clId="{F700537D-3675-41CA-A525-EB2E79DB2D9A}" dt="2018-12-09T18:53:12.035" v="3556" actId="1076"/>
          <ac:cxnSpMkLst>
            <pc:docMk/>
            <pc:sldMk cId="1637786780" sldId="4259"/>
            <ac:cxnSpMk id="130" creationId="{330EABE2-5522-4D5E-8818-1CA4E15BE2D2}"/>
          </ac:cxnSpMkLst>
        </pc:cxnChg>
      </pc:sldChg>
      <pc:sldChg chg="modSp add del modTransition">
        <pc:chgData name="Lia Taylor" userId="2ccad05f-5017-4e2b-87e4-bbc6d22f4e64" providerId="ADAL" clId="{F700537D-3675-41CA-A525-EB2E79DB2D9A}" dt="2018-12-12T23:37:03.548" v="6500"/>
        <pc:sldMkLst>
          <pc:docMk/>
          <pc:sldMk cId="3422595513" sldId="4260"/>
        </pc:sldMkLst>
        <pc:spChg chg="mod">
          <ac:chgData name="Lia Taylor" userId="2ccad05f-5017-4e2b-87e4-bbc6d22f4e64" providerId="ADAL" clId="{F700537D-3675-41CA-A525-EB2E79DB2D9A}" dt="2018-12-12T23:36:35.061" v="6498"/>
          <ac:spMkLst>
            <pc:docMk/>
            <pc:sldMk cId="3422595513" sldId="4260"/>
            <ac:spMk id="2" creationId="{C24599F8-DA26-4DA2-BD3B-D3D820834660}"/>
          </ac:spMkLst>
        </pc:spChg>
      </pc:sldChg>
      <pc:sldChg chg="delSp add del modAnim">
        <pc:chgData name="Lia Taylor" userId="2ccad05f-5017-4e2b-87e4-bbc6d22f4e64" providerId="ADAL" clId="{F700537D-3675-41CA-A525-EB2E79DB2D9A}" dt="2018-12-06T22:39:08.676" v="1335" actId="2696"/>
        <pc:sldMkLst>
          <pc:docMk/>
          <pc:sldMk cId="2319853211" sldId="4731"/>
        </pc:sldMkLst>
        <pc:spChg chg="del">
          <ac:chgData name="Lia Taylor" userId="2ccad05f-5017-4e2b-87e4-bbc6d22f4e64" providerId="ADAL" clId="{F700537D-3675-41CA-A525-EB2E79DB2D9A}" dt="2018-12-06T19:42:38.727" v="1248"/>
          <ac:spMkLst>
            <pc:docMk/>
            <pc:sldMk cId="2319853211" sldId="4731"/>
            <ac:spMk id="4" creationId="{49C81772-4427-4292-9366-40BDE3A60DD5}"/>
          </ac:spMkLst>
        </pc:spChg>
        <pc:spChg chg="del">
          <ac:chgData name="Lia Taylor" userId="2ccad05f-5017-4e2b-87e4-bbc6d22f4e64" providerId="ADAL" clId="{F700537D-3675-41CA-A525-EB2E79DB2D9A}" dt="2018-12-06T19:42:38.727" v="1248"/>
          <ac:spMkLst>
            <pc:docMk/>
            <pc:sldMk cId="2319853211" sldId="4731"/>
            <ac:spMk id="6" creationId="{C406BFCE-8BBA-4035-AB6A-D189389A63A3}"/>
          </ac:spMkLst>
        </pc:spChg>
        <pc:spChg chg="del">
          <ac:chgData name="Lia Taylor" userId="2ccad05f-5017-4e2b-87e4-bbc6d22f4e64" providerId="ADAL" clId="{F700537D-3675-41CA-A525-EB2E79DB2D9A}" dt="2018-12-06T19:42:38.727" v="1248"/>
          <ac:spMkLst>
            <pc:docMk/>
            <pc:sldMk cId="2319853211" sldId="4731"/>
            <ac:spMk id="12" creationId="{073B8212-06DA-43CF-AFA8-0D9A48FA4CCE}"/>
          </ac:spMkLst>
        </pc:spChg>
        <pc:spChg chg="del">
          <ac:chgData name="Lia Taylor" userId="2ccad05f-5017-4e2b-87e4-bbc6d22f4e64" providerId="ADAL" clId="{F700537D-3675-41CA-A525-EB2E79DB2D9A}" dt="2018-12-06T19:42:38.727" v="1248"/>
          <ac:spMkLst>
            <pc:docMk/>
            <pc:sldMk cId="2319853211" sldId="4731"/>
            <ac:spMk id="15" creationId="{993947F0-DBC9-4EB1-A790-99A20AB945E3}"/>
          </ac:spMkLst>
        </pc:spChg>
        <pc:graphicFrameChg chg="del">
          <ac:chgData name="Lia Taylor" userId="2ccad05f-5017-4e2b-87e4-bbc6d22f4e64" providerId="ADAL" clId="{F700537D-3675-41CA-A525-EB2E79DB2D9A}" dt="2018-12-06T19:42:38.727" v="1248"/>
          <ac:graphicFrameMkLst>
            <pc:docMk/>
            <pc:sldMk cId="2319853211" sldId="4731"/>
            <ac:graphicFrameMk id="5" creationId="{B81F1F49-0C05-4846-B3D3-F5E8C32DD9C9}"/>
          </ac:graphicFrameMkLst>
        </pc:graphicFrameChg>
        <pc:graphicFrameChg chg="del">
          <ac:chgData name="Lia Taylor" userId="2ccad05f-5017-4e2b-87e4-bbc6d22f4e64" providerId="ADAL" clId="{F700537D-3675-41CA-A525-EB2E79DB2D9A}" dt="2018-12-06T19:42:38.727" v="1248"/>
          <ac:graphicFrameMkLst>
            <pc:docMk/>
            <pc:sldMk cId="2319853211" sldId="4731"/>
            <ac:graphicFrameMk id="11" creationId="{5DBEE238-E013-4005-AB97-B8CB4D38FE0A}"/>
          </ac:graphicFrameMkLst>
        </pc:graphicFrameChg>
        <pc:graphicFrameChg chg="del">
          <ac:chgData name="Lia Taylor" userId="2ccad05f-5017-4e2b-87e4-bbc6d22f4e64" providerId="ADAL" clId="{F700537D-3675-41CA-A525-EB2E79DB2D9A}" dt="2018-12-06T19:42:38.727" v="1248"/>
          <ac:graphicFrameMkLst>
            <pc:docMk/>
            <pc:sldMk cId="2319853211" sldId="4731"/>
            <ac:graphicFrameMk id="13" creationId="{DB465187-5BC5-442E-9A45-3A771A3072E0}"/>
          </ac:graphicFrameMkLst>
        </pc:graphicFrameChg>
        <pc:graphicFrameChg chg="del">
          <ac:chgData name="Lia Taylor" userId="2ccad05f-5017-4e2b-87e4-bbc6d22f4e64" providerId="ADAL" clId="{F700537D-3675-41CA-A525-EB2E79DB2D9A}" dt="2018-12-06T19:42:38.727" v="1248"/>
          <ac:graphicFrameMkLst>
            <pc:docMk/>
            <pc:sldMk cId="2319853211" sldId="4731"/>
            <ac:graphicFrameMk id="14" creationId="{841F2833-BE1F-497A-B1C5-B888923C817A}"/>
          </ac:graphicFrameMkLst>
        </pc:graphicFrameChg>
      </pc:sldChg>
      <pc:sldChg chg="add del">
        <pc:chgData name="Lia Taylor" userId="2ccad05f-5017-4e2b-87e4-bbc6d22f4e64" providerId="ADAL" clId="{F700537D-3675-41CA-A525-EB2E79DB2D9A}" dt="2018-12-12T23:37:03.548" v="6500"/>
        <pc:sldMkLst>
          <pc:docMk/>
          <pc:sldMk cId="756873040" sldId="4740"/>
        </pc:sldMkLst>
      </pc:sldChg>
      <pc:sldChg chg="modSp add del modTransition">
        <pc:chgData name="Lia Taylor" userId="2ccad05f-5017-4e2b-87e4-bbc6d22f4e64" providerId="ADAL" clId="{F700537D-3675-41CA-A525-EB2E79DB2D9A}" dt="2018-12-12T23:37:03.548" v="6500"/>
        <pc:sldMkLst>
          <pc:docMk/>
          <pc:sldMk cId="2378253799" sldId="4741"/>
        </pc:sldMkLst>
        <pc:spChg chg="mod">
          <ac:chgData name="Lia Taylor" userId="2ccad05f-5017-4e2b-87e4-bbc6d22f4e64" providerId="ADAL" clId="{F700537D-3675-41CA-A525-EB2E79DB2D9A}" dt="2018-12-12T23:36:35.061" v="6498"/>
          <ac:spMkLst>
            <pc:docMk/>
            <pc:sldMk cId="2378253799" sldId="4741"/>
            <ac:spMk id="2" creationId="{917590F2-A101-4405-9D51-5E6AE3F5135F}"/>
          </ac:spMkLst>
        </pc:spChg>
      </pc:sldChg>
      <pc:sldChg chg="add del modTransition">
        <pc:chgData name="Lia Taylor" userId="2ccad05f-5017-4e2b-87e4-bbc6d22f4e64" providerId="ADAL" clId="{F700537D-3675-41CA-A525-EB2E79DB2D9A}" dt="2018-12-12T23:37:03.548" v="6500"/>
        <pc:sldMkLst>
          <pc:docMk/>
          <pc:sldMk cId="3269862561" sldId="4742"/>
        </pc:sldMkLst>
      </pc:sldChg>
      <pc:sldChg chg="add del">
        <pc:chgData name="Lia Taylor" userId="2ccad05f-5017-4e2b-87e4-bbc6d22f4e64" providerId="ADAL" clId="{F700537D-3675-41CA-A525-EB2E79DB2D9A}" dt="2018-12-12T23:37:03.548" v="6500"/>
        <pc:sldMkLst>
          <pc:docMk/>
          <pc:sldMk cId="3573818201" sldId="4743"/>
        </pc:sldMkLst>
      </pc:sldChg>
      <pc:sldChg chg="modSp add del modTransition">
        <pc:chgData name="Lia Taylor" userId="2ccad05f-5017-4e2b-87e4-bbc6d22f4e64" providerId="ADAL" clId="{F700537D-3675-41CA-A525-EB2E79DB2D9A}" dt="2018-12-12T23:37:03.548" v="6500"/>
        <pc:sldMkLst>
          <pc:docMk/>
          <pc:sldMk cId="2160088570" sldId="4744"/>
        </pc:sldMkLst>
        <pc:spChg chg="mod">
          <ac:chgData name="Lia Taylor" userId="2ccad05f-5017-4e2b-87e4-bbc6d22f4e64" providerId="ADAL" clId="{F700537D-3675-41CA-A525-EB2E79DB2D9A}" dt="2018-12-12T23:36:35.061" v="6498"/>
          <ac:spMkLst>
            <pc:docMk/>
            <pc:sldMk cId="2160088570" sldId="4744"/>
            <ac:spMk id="2" creationId="{5DC15859-C0D8-432E-9E01-253A501A0D93}"/>
          </ac:spMkLst>
        </pc:spChg>
      </pc:sldChg>
      <pc:sldChg chg="add del">
        <pc:chgData name="Lia Taylor" userId="2ccad05f-5017-4e2b-87e4-bbc6d22f4e64" providerId="ADAL" clId="{F700537D-3675-41CA-A525-EB2E79DB2D9A}" dt="2018-12-12T17:47:50.988" v="6476" actId="2696"/>
        <pc:sldMkLst>
          <pc:docMk/>
          <pc:sldMk cId="3221299550" sldId="4749"/>
        </pc:sldMkLst>
      </pc:sldChg>
      <pc:sldChg chg="add del modTransition">
        <pc:chgData name="Lia Taylor" userId="2ccad05f-5017-4e2b-87e4-bbc6d22f4e64" providerId="ADAL" clId="{F700537D-3675-41CA-A525-EB2E79DB2D9A}" dt="2018-12-12T23:42:54.369" v="6541" actId="2696"/>
        <pc:sldMkLst>
          <pc:docMk/>
          <pc:sldMk cId="3399185589" sldId="4752"/>
        </pc:sldMkLst>
      </pc:sldChg>
      <pc:sldChg chg="add del">
        <pc:chgData name="Lia Taylor" userId="2ccad05f-5017-4e2b-87e4-bbc6d22f4e64" providerId="ADAL" clId="{F700537D-3675-41CA-A525-EB2E79DB2D9A}" dt="2018-12-12T23:37:03.548" v="6500"/>
        <pc:sldMkLst>
          <pc:docMk/>
          <pc:sldMk cId="2610828006" sldId="4753"/>
        </pc:sldMkLst>
      </pc:sldChg>
      <pc:sldChg chg="add del modTransition">
        <pc:chgData name="Lia Taylor" userId="2ccad05f-5017-4e2b-87e4-bbc6d22f4e64" providerId="ADAL" clId="{F700537D-3675-41CA-A525-EB2E79DB2D9A}" dt="2018-12-12T23:37:03.548" v="6500"/>
        <pc:sldMkLst>
          <pc:docMk/>
          <pc:sldMk cId="833452659" sldId="4754"/>
        </pc:sldMkLst>
      </pc:sldChg>
      <pc:sldChg chg="add del">
        <pc:chgData name="Lia Taylor" userId="2ccad05f-5017-4e2b-87e4-bbc6d22f4e64" providerId="ADAL" clId="{F700537D-3675-41CA-A525-EB2E79DB2D9A}" dt="2018-12-12T23:37:03.548" v="6500"/>
        <pc:sldMkLst>
          <pc:docMk/>
          <pc:sldMk cId="2159352757" sldId="4755"/>
        </pc:sldMkLst>
      </pc:sldChg>
      <pc:sldChg chg="add del modTransition">
        <pc:chgData name="Lia Taylor" userId="2ccad05f-5017-4e2b-87e4-bbc6d22f4e64" providerId="ADAL" clId="{F700537D-3675-41CA-A525-EB2E79DB2D9A}" dt="2018-12-12T23:37:03.548" v="6500"/>
        <pc:sldMkLst>
          <pc:docMk/>
          <pc:sldMk cId="1741690617" sldId="4756"/>
        </pc:sldMkLst>
      </pc:sldChg>
      <pc:sldChg chg="modSp add del">
        <pc:chgData name="Lia Taylor" userId="2ccad05f-5017-4e2b-87e4-bbc6d22f4e64" providerId="ADAL" clId="{F700537D-3675-41CA-A525-EB2E79DB2D9A}" dt="2018-12-12T23:37:03.548" v="6500"/>
        <pc:sldMkLst>
          <pc:docMk/>
          <pc:sldMk cId="3678185867" sldId="4757"/>
        </pc:sldMkLst>
        <pc:spChg chg="mod">
          <ac:chgData name="Lia Taylor" userId="2ccad05f-5017-4e2b-87e4-bbc6d22f4e64" providerId="ADAL" clId="{F700537D-3675-41CA-A525-EB2E79DB2D9A}" dt="2018-12-12T23:36:35.061" v="6498"/>
          <ac:spMkLst>
            <pc:docMk/>
            <pc:sldMk cId="3678185867" sldId="4757"/>
            <ac:spMk id="2" creationId="{EF9E9867-6D98-4EA3-88C1-A07366E40280}"/>
          </ac:spMkLst>
        </pc:spChg>
      </pc:sldChg>
      <pc:sldChg chg="add del modTransition">
        <pc:chgData name="Lia Taylor" userId="2ccad05f-5017-4e2b-87e4-bbc6d22f4e64" providerId="ADAL" clId="{F700537D-3675-41CA-A525-EB2E79DB2D9A}" dt="2018-12-12T23:37:03.548" v="6500"/>
        <pc:sldMkLst>
          <pc:docMk/>
          <pc:sldMk cId="1703739302" sldId="4758"/>
        </pc:sldMkLst>
      </pc:sldChg>
      <pc:sldChg chg="modSp add del">
        <pc:chgData name="Lia Taylor" userId="2ccad05f-5017-4e2b-87e4-bbc6d22f4e64" providerId="ADAL" clId="{F700537D-3675-41CA-A525-EB2E79DB2D9A}" dt="2018-12-12T23:37:03.548" v="6500"/>
        <pc:sldMkLst>
          <pc:docMk/>
          <pc:sldMk cId="4241359634" sldId="4759"/>
        </pc:sldMkLst>
        <pc:spChg chg="mod">
          <ac:chgData name="Lia Taylor" userId="2ccad05f-5017-4e2b-87e4-bbc6d22f4e64" providerId="ADAL" clId="{F700537D-3675-41CA-A525-EB2E79DB2D9A}" dt="2018-12-12T23:36:35.061" v="6498"/>
          <ac:spMkLst>
            <pc:docMk/>
            <pc:sldMk cId="4241359634" sldId="4759"/>
            <ac:spMk id="7" creationId="{C793D2AD-503C-4963-8954-BEECF85CAE17}"/>
          </ac:spMkLst>
        </pc:spChg>
      </pc:sldChg>
      <pc:sldChg chg="modSp add del">
        <pc:chgData name="Lia Taylor" userId="2ccad05f-5017-4e2b-87e4-bbc6d22f4e64" providerId="ADAL" clId="{F700537D-3675-41CA-A525-EB2E79DB2D9A}" dt="2018-12-12T23:37:03.548" v="6500"/>
        <pc:sldMkLst>
          <pc:docMk/>
          <pc:sldMk cId="3715144342" sldId="4760"/>
        </pc:sldMkLst>
        <pc:spChg chg="mod">
          <ac:chgData name="Lia Taylor" userId="2ccad05f-5017-4e2b-87e4-bbc6d22f4e64" providerId="ADAL" clId="{F700537D-3675-41CA-A525-EB2E79DB2D9A}" dt="2018-12-12T23:36:35.061" v="6498"/>
          <ac:spMkLst>
            <pc:docMk/>
            <pc:sldMk cId="3715144342" sldId="4760"/>
            <ac:spMk id="7" creationId="{F8A63D30-12C3-4C61-B5B4-BAE37BF96E59}"/>
          </ac:spMkLst>
        </pc:spChg>
      </pc:sldChg>
      <pc:sldChg chg="add del modTransition">
        <pc:chgData name="Lia Taylor" userId="2ccad05f-5017-4e2b-87e4-bbc6d22f4e64" providerId="ADAL" clId="{F700537D-3675-41CA-A525-EB2E79DB2D9A}" dt="2018-12-12T23:37:03.548" v="6500"/>
        <pc:sldMkLst>
          <pc:docMk/>
          <pc:sldMk cId="2940809397" sldId="4761"/>
        </pc:sldMkLst>
      </pc:sldChg>
      <pc:sldChg chg="add del">
        <pc:chgData name="Lia Taylor" userId="2ccad05f-5017-4e2b-87e4-bbc6d22f4e64" providerId="ADAL" clId="{F700537D-3675-41CA-A525-EB2E79DB2D9A}" dt="2018-12-12T23:37:03.548" v="6500"/>
        <pc:sldMkLst>
          <pc:docMk/>
          <pc:sldMk cId="1816457547" sldId="4762"/>
        </pc:sldMkLst>
      </pc:sldChg>
      <pc:sldChg chg="modSp add del modTransition">
        <pc:chgData name="Lia Taylor" userId="2ccad05f-5017-4e2b-87e4-bbc6d22f4e64" providerId="ADAL" clId="{F700537D-3675-41CA-A525-EB2E79DB2D9A}" dt="2018-12-12T23:37:03.548" v="6500"/>
        <pc:sldMkLst>
          <pc:docMk/>
          <pc:sldMk cId="818006409" sldId="4763"/>
        </pc:sldMkLst>
        <pc:spChg chg="mod">
          <ac:chgData name="Lia Taylor" userId="2ccad05f-5017-4e2b-87e4-bbc6d22f4e64" providerId="ADAL" clId="{F700537D-3675-41CA-A525-EB2E79DB2D9A}" dt="2018-12-12T23:36:35.061" v="6498"/>
          <ac:spMkLst>
            <pc:docMk/>
            <pc:sldMk cId="818006409" sldId="4763"/>
            <ac:spMk id="2" creationId="{C24599F8-DA26-4DA2-BD3B-D3D820834660}"/>
          </ac:spMkLst>
        </pc:spChg>
      </pc:sldChg>
      <pc:sldChg chg="modSp add del modTransition">
        <pc:chgData name="Lia Taylor" userId="2ccad05f-5017-4e2b-87e4-bbc6d22f4e64" providerId="ADAL" clId="{F700537D-3675-41CA-A525-EB2E79DB2D9A}" dt="2018-12-12T23:37:03.548" v="6500"/>
        <pc:sldMkLst>
          <pc:docMk/>
          <pc:sldMk cId="4219555686" sldId="4764"/>
        </pc:sldMkLst>
        <pc:spChg chg="mod">
          <ac:chgData name="Lia Taylor" userId="2ccad05f-5017-4e2b-87e4-bbc6d22f4e64" providerId="ADAL" clId="{F700537D-3675-41CA-A525-EB2E79DB2D9A}" dt="2018-12-12T23:36:35.061" v="6498"/>
          <ac:spMkLst>
            <pc:docMk/>
            <pc:sldMk cId="4219555686" sldId="4764"/>
            <ac:spMk id="2" creationId="{C24599F8-DA26-4DA2-BD3B-D3D820834660}"/>
          </ac:spMkLst>
        </pc:spChg>
      </pc:sldChg>
      <pc:sldChg chg="add del">
        <pc:chgData name="Lia Taylor" userId="2ccad05f-5017-4e2b-87e4-bbc6d22f4e64" providerId="ADAL" clId="{F700537D-3675-41CA-A525-EB2E79DB2D9A}" dt="2018-12-12T23:37:03.548" v="6500"/>
        <pc:sldMkLst>
          <pc:docMk/>
          <pc:sldMk cId="3396631006" sldId="4765"/>
        </pc:sldMkLst>
      </pc:sldChg>
      <pc:sldChg chg="add del modTransition">
        <pc:chgData name="Lia Taylor" userId="2ccad05f-5017-4e2b-87e4-bbc6d22f4e64" providerId="ADAL" clId="{F700537D-3675-41CA-A525-EB2E79DB2D9A}" dt="2018-12-12T23:37:03.548" v="6500"/>
        <pc:sldMkLst>
          <pc:docMk/>
          <pc:sldMk cId="1026874425" sldId="4766"/>
        </pc:sldMkLst>
      </pc:sldChg>
      <pc:sldChg chg="add del">
        <pc:chgData name="Lia Taylor" userId="2ccad05f-5017-4e2b-87e4-bbc6d22f4e64" providerId="ADAL" clId="{F700537D-3675-41CA-A525-EB2E79DB2D9A}" dt="2018-12-12T23:37:03.548" v="6500"/>
        <pc:sldMkLst>
          <pc:docMk/>
          <pc:sldMk cId="434542950" sldId="4767"/>
        </pc:sldMkLst>
      </pc:sldChg>
      <pc:sldChg chg="add del">
        <pc:chgData name="Lia Taylor" userId="2ccad05f-5017-4e2b-87e4-bbc6d22f4e64" providerId="ADAL" clId="{F700537D-3675-41CA-A525-EB2E79DB2D9A}" dt="2018-12-12T23:37:03.548" v="6500"/>
        <pc:sldMkLst>
          <pc:docMk/>
          <pc:sldMk cId="171730947" sldId="4768"/>
        </pc:sldMkLst>
      </pc:sldChg>
      <pc:sldChg chg="add del">
        <pc:chgData name="Lia Taylor" userId="2ccad05f-5017-4e2b-87e4-bbc6d22f4e64" providerId="ADAL" clId="{F700537D-3675-41CA-A525-EB2E79DB2D9A}" dt="2018-12-12T23:37:03.548" v="6500"/>
        <pc:sldMkLst>
          <pc:docMk/>
          <pc:sldMk cId="3683424243" sldId="4769"/>
        </pc:sldMkLst>
      </pc:sldChg>
      <pc:sldChg chg="add del">
        <pc:chgData name="Lia Taylor" userId="2ccad05f-5017-4e2b-87e4-bbc6d22f4e64" providerId="ADAL" clId="{F700537D-3675-41CA-A525-EB2E79DB2D9A}" dt="2018-12-12T23:37:03.548" v="6500"/>
        <pc:sldMkLst>
          <pc:docMk/>
          <pc:sldMk cId="2364137905" sldId="4770"/>
        </pc:sldMkLst>
      </pc:sldChg>
      <pc:sldChg chg="modSp add del modTransition">
        <pc:chgData name="Lia Taylor" userId="2ccad05f-5017-4e2b-87e4-bbc6d22f4e64" providerId="ADAL" clId="{F700537D-3675-41CA-A525-EB2E79DB2D9A}" dt="2018-12-12T23:43:31.212" v="6551" actId="1076"/>
        <pc:sldMkLst>
          <pc:docMk/>
          <pc:sldMk cId="1818400815" sldId="4771"/>
        </pc:sldMkLst>
        <pc:spChg chg="mod">
          <ac:chgData name="Lia Taylor" userId="2ccad05f-5017-4e2b-87e4-bbc6d22f4e64" providerId="ADAL" clId="{F700537D-3675-41CA-A525-EB2E79DB2D9A}" dt="2018-12-12T23:43:24.969" v="6550" actId="20577"/>
          <ac:spMkLst>
            <pc:docMk/>
            <pc:sldMk cId="1818400815" sldId="4771"/>
            <ac:spMk id="2" creationId="{B734D3E2-A4FF-4B77-A257-8B4929FE540C}"/>
          </ac:spMkLst>
        </pc:spChg>
        <pc:picChg chg="mod">
          <ac:chgData name="Lia Taylor" userId="2ccad05f-5017-4e2b-87e4-bbc6d22f4e64" providerId="ADAL" clId="{F700537D-3675-41CA-A525-EB2E79DB2D9A}" dt="2018-12-12T23:43:31.212" v="6551" actId="1076"/>
          <ac:picMkLst>
            <pc:docMk/>
            <pc:sldMk cId="1818400815" sldId="4771"/>
            <ac:picMk id="6" creationId="{C66EB600-4DDB-4846-B2E7-CB7694C1794E}"/>
          </ac:picMkLst>
        </pc:picChg>
      </pc:sldChg>
      <pc:sldChg chg="modSp add del modTransition">
        <pc:chgData name="Lia Taylor" userId="2ccad05f-5017-4e2b-87e4-bbc6d22f4e64" providerId="ADAL" clId="{F700537D-3675-41CA-A525-EB2E79DB2D9A}" dt="2018-12-12T23:45:48.073" v="6561" actId="20577"/>
        <pc:sldMkLst>
          <pc:docMk/>
          <pc:sldMk cId="532032539" sldId="4772"/>
        </pc:sldMkLst>
        <pc:spChg chg="mod">
          <ac:chgData name="Lia Taylor" userId="2ccad05f-5017-4e2b-87e4-bbc6d22f4e64" providerId="ADAL" clId="{F700537D-3675-41CA-A525-EB2E79DB2D9A}" dt="2018-12-12T23:45:48.073" v="6561" actId="20577"/>
          <ac:spMkLst>
            <pc:docMk/>
            <pc:sldMk cId="532032539" sldId="4772"/>
            <ac:spMk id="2" creationId="{D57AD612-BF16-4421-AC4F-8FE9D47C7B14}"/>
          </ac:spMkLst>
        </pc:spChg>
        <pc:spChg chg="mod">
          <ac:chgData name="Lia Taylor" userId="2ccad05f-5017-4e2b-87e4-bbc6d22f4e64" providerId="ADAL" clId="{F700537D-3675-41CA-A525-EB2E79DB2D9A}" dt="2018-12-12T23:44:33.334" v="6558" actId="14100"/>
          <ac:spMkLst>
            <pc:docMk/>
            <pc:sldMk cId="532032539" sldId="4772"/>
            <ac:spMk id="3" creationId="{428369C6-920D-4110-BF3E-954A82943E14}"/>
          </ac:spMkLst>
        </pc:spChg>
        <pc:picChg chg="mod">
          <ac:chgData name="Lia Taylor" userId="2ccad05f-5017-4e2b-87e4-bbc6d22f4e64" providerId="ADAL" clId="{F700537D-3675-41CA-A525-EB2E79DB2D9A}" dt="2018-12-12T23:44:40.840" v="6559" actId="1076"/>
          <ac:picMkLst>
            <pc:docMk/>
            <pc:sldMk cId="532032539" sldId="4772"/>
            <ac:picMk id="4" creationId="{C33C2549-2723-476A-B378-B5FB27779490}"/>
          </ac:picMkLst>
        </pc:picChg>
      </pc:sldChg>
      <pc:sldChg chg="modSp add del modTransition">
        <pc:chgData name="Lia Taylor" userId="2ccad05f-5017-4e2b-87e4-bbc6d22f4e64" providerId="ADAL" clId="{F700537D-3675-41CA-A525-EB2E79DB2D9A}" dt="2018-12-12T23:42:43.828" v="6540" actId="1076"/>
        <pc:sldMkLst>
          <pc:docMk/>
          <pc:sldMk cId="647999187" sldId="4773"/>
        </pc:sldMkLst>
        <pc:spChg chg="mod">
          <ac:chgData name="Lia Taylor" userId="2ccad05f-5017-4e2b-87e4-bbc6d22f4e64" providerId="ADAL" clId="{F700537D-3675-41CA-A525-EB2E79DB2D9A}" dt="2018-12-12T23:42:43.828" v="6540" actId="1076"/>
          <ac:spMkLst>
            <pc:docMk/>
            <pc:sldMk cId="647999187" sldId="4773"/>
            <ac:spMk id="13" creationId="{BCB01C1F-10F3-4021-BDAA-807299E23BF0}"/>
          </ac:spMkLst>
        </pc:spChg>
        <pc:graphicFrameChg chg="mod modGraphic">
          <ac:chgData name="Lia Taylor" userId="2ccad05f-5017-4e2b-87e4-bbc6d22f4e64" providerId="ADAL" clId="{F700537D-3675-41CA-A525-EB2E79DB2D9A}" dt="2018-12-12T23:42:34.704" v="6539" actId="242"/>
          <ac:graphicFrameMkLst>
            <pc:docMk/>
            <pc:sldMk cId="647999187" sldId="4773"/>
            <ac:graphicFrameMk id="10" creationId="{5BE18670-2D11-4FAD-B5BB-958F6157CD2E}"/>
          </ac:graphicFrameMkLst>
        </pc:graphicFrameChg>
      </pc:sldChg>
      <pc:sldChg chg="del">
        <pc:chgData name="Lia Taylor" userId="2ccad05f-5017-4e2b-87e4-bbc6d22f4e64" providerId="ADAL" clId="{F700537D-3675-41CA-A525-EB2E79DB2D9A}" dt="2018-12-04T23:37:07.717" v="288" actId="2696"/>
        <pc:sldMkLst>
          <pc:docMk/>
          <pc:sldMk cId="1818393984" sldId="8109"/>
        </pc:sldMkLst>
      </pc:sldChg>
      <pc:sldChg chg="addSp delSp modSp add">
        <pc:chgData name="Lia Taylor" userId="2ccad05f-5017-4e2b-87e4-bbc6d22f4e64" providerId="ADAL" clId="{F700537D-3675-41CA-A525-EB2E79DB2D9A}" dt="2018-12-09T19:16:35.860" v="4108" actId="207"/>
        <pc:sldMkLst>
          <pc:docMk/>
          <pc:sldMk cId="1988437336" sldId="8109"/>
        </pc:sldMkLst>
        <pc:spChg chg="mod">
          <ac:chgData name="Lia Taylor" userId="2ccad05f-5017-4e2b-87e4-bbc6d22f4e64" providerId="ADAL" clId="{F700537D-3675-41CA-A525-EB2E79DB2D9A}" dt="2018-12-07T23:01:30.349" v="3393" actId="113"/>
          <ac:spMkLst>
            <pc:docMk/>
            <pc:sldMk cId="1988437336" sldId="8109"/>
            <ac:spMk id="2" creationId="{EF56340A-D5EF-48F1-BAF4-1381E88C6DCF}"/>
          </ac:spMkLst>
        </pc:spChg>
        <pc:spChg chg="del">
          <ac:chgData name="Lia Taylor" userId="2ccad05f-5017-4e2b-87e4-bbc6d22f4e64" providerId="ADAL" clId="{F700537D-3675-41CA-A525-EB2E79DB2D9A}" dt="2018-12-05T17:57:48.628" v="395" actId="478"/>
          <ac:spMkLst>
            <pc:docMk/>
            <pc:sldMk cId="1988437336" sldId="8109"/>
            <ac:spMk id="3" creationId="{E4229A8C-1B31-45E7-8874-6A2F56706EA0}"/>
          </ac:spMkLst>
        </pc:spChg>
        <pc:spChg chg="add del mod">
          <ac:chgData name="Lia Taylor" userId="2ccad05f-5017-4e2b-87e4-bbc6d22f4e64" providerId="ADAL" clId="{F700537D-3675-41CA-A525-EB2E79DB2D9A}" dt="2018-12-05T17:57:50.859" v="396" actId="478"/>
          <ac:spMkLst>
            <pc:docMk/>
            <pc:sldMk cId="1988437336" sldId="8109"/>
            <ac:spMk id="5" creationId="{F143ACC4-A0B4-4144-B748-CBEDC50276B3}"/>
          </ac:spMkLst>
        </pc:spChg>
        <pc:spChg chg="add del">
          <ac:chgData name="Lia Taylor" userId="2ccad05f-5017-4e2b-87e4-bbc6d22f4e64" providerId="ADAL" clId="{F700537D-3675-41CA-A525-EB2E79DB2D9A}" dt="2018-12-09T18:46:56.867" v="3495" actId="478"/>
          <ac:spMkLst>
            <pc:docMk/>
            <pc:sldMk cId="1988437336" sldId="8109"/>
            <ac:spMk id="6" creationId="{0ACC9211-8892-4F62-A6DE-7F6A8F5AC189}"/>
          </ac:spMkLst>
        </pc:spChg>
        <pc:spChg chg="add mod">
          <ac:chgData name="Lia Taylor" userId="2ccad05f-5017-4e2b-87e4-bbc6d22f4e64" providerId="ADAL" clId="{F700537D-3675-41CA-A525-EB2E79DB2D9A}" dt="2018-12-09T19:16:35.860" v="4108" actId="207"/>
          <ac:spMkLst>
            <pc:docMk/>
            <pc:sldMk cId="1988437336" sldId="8109"/>
            <ac:spMk id="7" creationId="{40023DCA-FFE3-4ED5-8BFB-F3468C904437}"/>
          </ac:spMkLst>
        </pc:spChg>
      </pc:sldChg>
      <pc:sldChg chg="addSp delSp modSp mod setBg setClrOvrMap">
        <pc:chgData name="Lia Taylor" userId="2ccad05f-5017-4e2b-87e4-bbc6d22f4e64" providerId="ADAL" clId="{F700537D-3675-41CA-A525-EB2E79DB2D9A}" dt="2018-12-09T19:11:18.190" v="4073" actId="14100"/>
        <pc:sldMkLst>
          <pc:docMk/>
          <pc:sldMk cId="1993030529" sldId="8111"/>
        </pc:sldMkLst>
        <pc:spChg chg="mod">
          <ac:chgData name="Lia Taylor" userId="2ccad05f-5017-4e2b-87e4-bbc6d22f4e64" providerId="ADAL" clId="{F700537D-3675-41CA-A525-EB2E79DB2D9A}" dt="2018-12-09T19:11:18.190" v="4073" actId="14100"/>
          <ac:spMkLst>
            <pc:docMk/>
            <pc:sldMk cId="1993030529" sldId="8111"/>
            <ac:spMk id="2" creationId="{51815942-16B4-45BF-9CB5-341514A058B6}"/>
          </ac:spMkLst>
        </pc:spChg>
        <pc:spChg chg="add del">
          <ac:chgData name="Lia Taylor" userId="2ccad05f-5017-4e2b-87e4-bbc6d22f4e64" providerId="ADAL" clId="{F700537D-3675-41CA-A525-EB2E79DB2D9A}" dt="2018-12-09T19:10:33.623" v="4064" actId="26606"/>
          <ac:spMkLst>
            <pc:docMk/>
            <pc:sldMk cId="1993030529" sldId="8111"/>
            <ac:spMk id="11" creationId="{66B332A4-D438-4773-A77F-5ED49A448D9D}"/>
          </ac:spMkLst>
        </pc:spChg>
        <pc:spChg chg="add del">
          <ac:chgData name="Lia Taylor" userId="2ccad05f-5017-4e2b-87e4-bbc6d22f4e64" providerId="ADAL" clId="{F700537D-3675-41CA-A525-EB2E79DB2D9A}" dt="2018-12-09T19:10:33.623" v="4064" actId="26606"/>
          <ac:spMkLst>
            <pc:docMk/>
            <pc:sldMk cId="1993030529" sldId="8111"/>
            <ac:spMk id="12" creationId="{DF9AD32D-FF05-44F4-BD4D-9CEE89B71EB9}"/>
          </ac:spMkLst>
        </pc:spChg>
        <pc:spChg chg="add del">
          <ac:chgData name="Lia Taylor" userId="2ccad05f-5017-4e2b-87e4-bbc6d22f4e64" providerId="ADAL" clId="{F700537D-3675-41CA-A525-EB2E79DB2D9A}" dt="2018-12-09T19:09:48.448" v="4056" actId="26606"/>
          <ac:spMkLst>
            <pc:docMk/>
            <pc:sldMk cId="1993030529" sldId="8111"/>
            <ac:spMk id="14" creationId="{66B332A4-D438-4773-A77F-5ED49A448D9D}"/>
          </ac:spMkLst>
        </pc:spChg>
        <pc:spChg chg="add del">
          <ac:chgData name="Lia Taylor" userId="2ccad05f-5017-4e2b-87e4-bbc6d22f4e64" providerId="ADAL" clId="{F700537D-3675-41CA-A525-EB2E79DB2D9A}" dt="2018-12-09T19:10:44.235" v="4066" actId="26606"/>
          <ac:spMkLst>
            <pc:docMk/>
            <pc:sldMk cId="1993030529" sldId="8111"/>
            <ac:spMk id="15" creationId="{23207CC6-EAA1-4BFF-A48A-DECAD8972717}"/>
          </ac:spMkLst>
        </pc:spChg>
        <pc:spChg chg="add del">
          <ac:chgData name="Lia Taylor" userId="2ccad05f-5017-4e2b-87e4-bbc6d22f4e64" providerId="ADAL" clId="{F700537D-3675-41CA-A525-EB2E79DB2D9A}" dt="2018-12-09T19:09:48.448" v="4056" actId="26606"/>
          <ac:spMkLst>
            <pc:docMk/>
            <pc:sldMk cId="1993030529" sldId="8111"/>
            <ac:spMk id="16" creationId="{DF9AD32D-FF05-44F4-BD4D-9CEE89B71EB9}"/>
          </ac:spMkLst>
        </pc:spChg>
        <pc:spChg chg="add del">
          <ac:chgData name="Lia Taylor" userId="2ccad05f-5017-4e2b-87e4-bbc6d22f4e64" providerId="ADAL" clId="{F700537D-3675-41CA-A525-EB2E79DB2D9A}" dt="2018-12-09T19:10:44.235" v="4066" actId="26606"/>
          <ac:spMkLst>
            <pc:docMk/>
            <pc:sldMk cId="1993030529" sldId="8111"/>
            <ac:spMk id="17" creationId="{B234A3DD-923D-4166-8B19-7DD589908C68}"/>
          </ac:spMkLst>
        </pc:spChg>
        <pc:spChg chg="add del">
          <ac:chgData name="Lia Taylor" userId="2ccad05f-5017-4e2b-87e4-bbc6d22f4e64" providerId="ADAL" clId="{F700537D-3675-41CA-A525-EB2E79DB2D9A}" dt="2018-12-09T19:09:52.552" v="4058" actId="26606"/>
          <ac:spMkLst>
            <pc:docMk/>
            <pc:sldMk cId="1993030529" sldId="8111"/>
            <ac:spMk id="18" creationId="{23962611-DFD5-4092-AAFD-559E3DFCE2C9}"/>
          </ac:spMkLst>
        </pc:spChg>
        <pc:spChg chg="add del">
          <ac:chgData name="Lia Taylor" userId="2ccad05f-5017-4e2b-87e4-bbc6d22f4e64" providerId="ADAL" clId="{F700537D-3675-41CA-A525-EB2E79DB2D9A}" dt="2018-12-09T19:10:44.235" v="4066" actId="26606"/>
          <ac:spMkLst>
            <pc:docMk/>
            <pc:sldMk cId="1993030529" sldId="8111"/>
            <ac:spMk id="20" creationId="{F6ACA5AC-3C5D-4994-B40F-FC8349E4D6F4}"/>
          </ac:spMkLst>
        </pc:spChg>
        <pc:spChg chg="add">
          <ac:chgData name="Lia Taylor" userId="2ccad05f-5017-4e2b-87e4-bbc6d22f4e64" providerId="ADAL" clId="{F700537D-3675-41CA-A525-EB2E79DB2D9A}" dt="2018-12-09T19:10:44.288" v="4067" actId="26606"/>
          <ac:spMkLst>
            <pc:docMk/>
            <pc:sldMk cId="1993030529" sldId="8111"/>
            <ac:spMk id="22" creationId="{2B931666-F28F-45F3-A074-66D2272D580B}"/>
          </ac:spMkLst>
        </pc:spChg>
        <pc:spChg chg="add del">
          <ac:chgData name="Lia Taylor" userId="2ccad05f-5017-4e2b-87e4-bbc6d22f4e64" providerId="ADAL" clId="{F700537D-3675-41CA-A525-EB2E79DB2D9A}" dt="2018-12-09T19:10:10.464" v="4060" actId="26606"/>
          <ac:spMkLst>
            <pc:docMk/>
            <pc:sldMk cId="1993030529" sldId="8111"/>
            <ac:spMk id="23" creationId="{053FB2EE-284F-4C87-AB3D-BBF87A9FAB97}"/>
          </ac:spMkLst>
        </pc:spChg>
        <pc:spChg chg="add">
          <ac:chgData name="Lia Taylor" userId="2ccad05f-5017-4e2b-87e4-bbc6d22f4e64" providerId="ADAL" clId="{F700537D-3675-41CA-A525-EB2E79DB2D9A}" dt="2018-12-09T19:10:44.288" v="4067" actId="26606"/>
          <ac:spMkLst>
            <pc:docMk/>
            <pc:sldMk cId="1993030529" sldId="8111"/>
            <ac:spMk id="24" creationId="{C66F2F30-5DC0-44A0-BFA6-E12F46ED16DA}"/>
          </ac:spMkLst>
        </pc:spChg>
        <pc:spChg chg="add del">
          <ac:chgData name="Lia Taylor" userId="2ccad05f-5017-4e2b-87e4-bbc6d22f4e64" providerId="ADAL" clId="{F700537D-3675-41CA-A525-EB2E79DB2D9A}" dt="2018-12-09T19:10:15.983" v="4062" actId="26606"/>
          <ac:spMkLst>
            <pc:docMk/>
            <pc:sldMk cId="1993030529" sldId="8111"/>
            <ac:spMk id="25" creationId="{66B332A4-D438-4773-A77F-5ED49A448D9D}"/>
          </ac:spMkLst>
        </pc:spChg>
        <pc:spChg chg="add del">
          <ac:chgData name="Lia Taylor" userId="2ccad05f-5017-4e2b-87e4-bbc6d22f4e64" providerId="ADAL" clId="{F700537D-3675-41CA-A525-EB2E79DB2D9A}" dt="2018-12-09T19:10:15.983" v="4062" actId="26606"/>
          <ac:spMkLst>
            <pc:docMk/>
            <pc:sldMk cId="1993030529" sldId="8111"/>
            <ac:spMk id="26" creationId="{DF9AD32D-FF05-44F4-BD4D-9CEE89B71EB9}"/>
          </ac:spMkLst>
        </pc:spChg>
        <pc:spChg chg="add">
          <ac:chgData name="Lia Taylor" userId="2ccad05f-5017-4e2b-87e4-bbc6d22f4e64" providerId="ADAL" clId="{F700537D-3675-41CA-A525-EB2E79DB2D9A}" dt="2018-12-09T19:10:44.288" v="4067" actId="26606"/>
          <ac:spMkLst>
            <pc:docMk/>
            <pc:sldMk cId="1993030529" sldId="8111"/>
            <ac:spMk id="27" creationId="{85872F57-7F42-4F97-8391-DDC8D0054C03}"/>
          </ac:spMkLst>
        </pc:spChg>
        <pc:spChg chg="add">
          <ac:chgData name="Lia Taylor" userId="2ccad05f-5017-4e2b-87e4-bbc6d22f4e64" providerId="ADAL" clId="{F700537D-3675-41CA-A525-EB2E79DB2D9A}" dt="2018-12-09T19:10:44.288" v="4067" actId="26606"/>
          <ac:spMkLst>
            <pc:docMk/>
            <pc:sldMk cId="1993030529" sldId="8111"/>
            <ac:spMk id="28" creationId="{04DC2037-48A0-4F22-B9D4-8EAEBC780AB4}"/>
          </ac:spMkLst>
        </pc:spChg>
        <pc:spChg chg="add">
          <ac:chgData name="Lia Taylor" userId="2ccad05f-5017-4e2b-87e4-bbc6d22f4e64" providerId="ADAL" clId="{F700537D-3675-41CA-A525-EB2E79DB2D9A}" dt="2018-12-09T19:10:44.288" v="4067" actId="26606"/>
          <ac:spMkLst>
            <pc:docMk/>
            <pc:sldMk cId="1993030529" sldId="8111"/>
            <ac:spMk id="29" creationId="{0006CBFD-ADA0-43D1-9332-9C34CA1C76ED}"/>
          </ac:spMkLst>
        </pc:spChg>
        <pc:grpChg chg="add del">
          <ac:chgData name="Lia Taylor" userId="2ccad05f-5017-4e2b-87e4-bbc6d22f4e64" providerId="ADAL" clId="{F700537D-3675-41CA-A525-EB2E79DB2D9A}" dt="2018-12-09T19:10:10.464" v="4060" actId="26606"/>
          <ac:grpSpMkLst>
            <pc:docMk/>
            <pc:sldMk cId="1993030529" sldId="8111"/>
            <ac:grpSpMk id="21" creationId="{D2C4BFA1-2075-4901-9E24-E41D1FDD51FD}"/>
          </ac:grpSpMkLst>
        </pc:grpChg>
        <pc:picChg chg="add del">
          <ac:chgData name="Lia Taylor" userId="2ccad05f-5017-4e2b-87e4-bbc6d22f4e64" providerId="ADAL" clId="{F700537D-3675-41CA-A525-EB2E79DB2D9A}" dt="2018-12-09T19:09:52.552" v="4058" actId="26606"/>
          <ac:picMkLst>
            <pc:docMk/>
            <pc:sldMk cId="1993030529" sldId="8111"/>
            <ac:picMk id="19" creationId="{2270F1FA-0425-408F-9861-80BF5AFB276D}"/>
          </ac:picMkLst>
        </pc:picChg>
      </pc:sldChg>
      <pc:sldChg chg="addSp delSp modSp mod setBg setClrOvrMap">
        <pc:chgData name="Lia Taylor" userId="2ccad05f-5017-4e2b-87e4-bbc6d22f4e64" providerId="ADAL" clId="{F700537D-3675-41CA-A525-EB2E79DB2D9A}" dt="2018-12-09T19:15:09.493" v="4099" actId="2711"/>
        <pc:sldMkLst>
          <pc:docMk/>
          <pc:sldMk cId="3416359653" sldId="8118"/>
        </pc:sldMkLst>
        <pc:spChg chg="mod ord">
          <ac:chgData name="Lia Taylor" userId="2ccad05f-5017-4e2b-87e4-bbc6d22f4e64" providerId="ADAL" clId="{F700537D-3675-41CA-A525-EB2E79DB2D9A}" dt="2018-12-09T19:15:09.493" v="4099" actId="2711"/>
          <ac:spMkLst>
            <pc:docMk/>
            <pc:sldMk cId="3416359653" sldId="8118"/>
            <ac:spMk id="3" creationId="{00000000-0000-0000-0000-000000000000}"/>
          </ac:spMkLst>
        </pc:spChg>
        <pc:spChg chg="mod">
          <ac:chgData name="Lia Taylor" userId="2ccad05f-5017-4e2b-87e4-bbc6d22f4e64" providerId="ADAL" clId="{F700537D-3675-41CA-A525-EB2E79DB2D9A}" dt="2018-12-09T19:11:59.810" v="4086" actId="26606"/>
          <ac:spMkLst>
            <pc:docMk/>
            <pc:sldMk cId="3416359653" sldId="8118"/>
            <ac:spMk id="4" creationId="{555E8B4A-360D-4E1D-9A09-72B14C7673BD}"/>
          </ac:spMkLst>
        </pc:spChg>
        <pc:spChg chg="add del">
          <ac:chgData name="Lia Taylor" userId="2ccad05f-5017-4e2b-87e4-bbc6d22f4e64" providerId="ADAL" clId="{F700537D-3675-41CA-A525-EB2E79DB2D9A}" dt="2018-12-09T19:11:40.460" v="4075" actId="26606"/>
          <ac:spMkLst>
            <pc:docMk/>
            <pc:sldMk cId="3416359653" sldId="8118"/>
            <ac:spMk id="9" creationId="{3B854194-185D-494D-905C-7C7CB2E30F6E}"/>
          </ac:spMkLst>
        </pc:spChg>
        <pc:spChg chg="add del">
          <ac:chgData name="Lia Taylor" userId="2ccad05f-5017-4e2b-87e4-bbc6d22f4e64" providerId="ADAL" clId="{F700537D-3675-41CA-A525-EB2E79DB2D9A}" dt="2018-12-09T19:11:40.460" v="4075" actId="26606"/>
          <ac:spMkLst>
            <pc:docMk/>
            <pc:sldMk cId="3416359653" sldId="8118"/>
            <ac:spMk id="11" creationId="{B4F5FA0D-0104-4987-8241-EFF7C85B88DE}"/>
          </ac:spMkLst>
        </pc:spChg>
        <pc:spChg chg="add del">
          <ac:chgData name="Lia Taylor" userId="2ccad05f-5017-4e2b-87e4-bbc6d22f4e64" providerId="ADAL" clId="{F700537D-3675-41CA-A525-EB2E79DB2D9A}" dt="2018-12-09T19:11:42.782" v="4077" actId="26606"/>
          <ac:spMkLst>
            <pc:docMk/>
            <pc:sldMk cId="3416359653" sldId="8118"/>
            <ac:spMk id="15" creationId="{8D70B121-56F4-4848-B38B-182089D909FA}"/>
          </ac:spMkLst>
        </pc:spChg>
        <pc:spChg chg="add del">
          <ac:chgData name="Lia Taylor" userId="2ccad05f-5017-4e2b-87e4-bbc6d22f4e64" providerId="ADAL" clId="{F700537D-3675-41CA-A525-EB2E79DB2D9A}" dt="2018-12-09T19:11:45.168" v="4079" actId="26606"/>
          <ac:spMkLst>
            <pc:docMk/>
            <pc:sldMk cId="3416359653" sldId="8118"/>
            <ac:spMk id="18" creationId="{D3FFFA32-D9F4-4AF9-A025-CD128AC85E32}"/>
          </ac:spMkLst>
        </pc:spChg>
        <pc:spChg chg="add del">
          <ac:chgData name="Lia Taylor" userId="2ccad05f-5017-4e2b-87e4-bbc6d22f4e64" providerId="ADAL" clId="{F700537D-3675-41CA-A525-EB2E79DB2D9A}" dt="2018-12-09T19:11:53.446" v="4081" actId="26606"/>
          <ac:spMkLst>
            <pc:docMk/>
            <pc:sldMk cId="3416359653" sldId="8118"/>
            <ac:spMk id="22" creationId="{EA67B5B4-3A24-436E-B663-1B2EBFF8A0CD}"/>
          </ac:spMkLst>
        </pc:spChg>
        <pc:spChg chg="add del">
          <ac:chgData name="Lia Taylor" userId="2ccad05f-5017-4e2b-87e4-bbc6d22f4e64" providerId="ADAL" clId="{F700537D-3675-41CA-A525-EB2E79DB2D9A}" dt="2018-12-09T19:11:53.446" v="4081" actId="26606"/>
          <ac:spMkLst>
            <pc:docMk/>
            <pc:sldMk cId="3416359653" sldId="8118"/>
            <ac:spMk id="23" creationId="{987FDF89-C993-41F4-A1B8-DBAFF16008A9}"/>
          </ac:spMkLst>
        </pc:spChg>
        <pc:spChg chg="add del">
          <ac:chgData name="Lia Taylor" userId="2ccad05f-5017-4e2b-87e4-bbc6d22f4e64" providerId="ADAL" clId="{F700537D-3675-41CA-A525-EB2E79DB2D9A}" dt="2018-12-09T19:11:53.446" v="4081" actId="26606"/>
          <ac:spMkLst>
            <pc:docMk/>
            <pc:sldMk cId="3416359653" sldId="8118"/>
            <ac:spMk id="24" creationId="{64E585EA-75FD-4025-8270-F66A58A15CDA}"/>
          </ac:spMkLst>
        </pc:spChg>
        <pc:spChg chg="add del">
          <ac:chgData name="Lia Taylor" userId="2ccad05f-5017-4e2b-87e4-bbc6d22f4e64" providerId="ADAL" clId="{F700537D-3675-41CA-A525-EB2E79DB2D9A}" dt="2018-12-09T19:11:57.821" v="4083" actId="26606"/>
          <ac:spMkLst>
            <pc:docMk/>
            <pc:sldMk cId="3416359653" sldId="8118"/>
            <ac:spMk id="26" creationId="{4351DFE5-F63D-4BE0-BDA9-E3EB88F01AA5}"/>
          </ac:spMkLst>
        </pc:spChg>
        <pc:spChg chg="add del">
          <ac:chgData name="Lia Taylor" userId="2ccad05f-5017-4e2b-87e4-bbc6d22f4e64" providerId="ADAL" clId="{F700537D-3675-41CA-A525-EB2E79DB2D9A}" dt="2018-12-09T19:11:59.795" v="4085" actId="26606"/>
          <ac:spMkLst>
            <pc:docMk/>
            <pc:sldMk cId="3416359653" sldId="8118"/>
            <ac:spMk id="29" creationId="{48A740BC-A0AA-45E0-B899-2AE9C6FE11CA}"/>
          </ac:spMkLst>
        </pc:spChg>
        <pc:spChg chg="add">
          <ac:chgData name="Lia Taylor" userId="2ccad05f-5017-4e2b-87e4-bbc6d22f4e64" providerId="ADAL" clId="{F700537D-3675-41CA-A525-EB2E79DB2D9A}" dt="2018-12-09T19:11:59.810" v="4086" actId="26606"/>
          <ac:spMkLst>
            <pc:docMk/>
            <pc:sldMk cId="3416359653" sldId="8118"/>
            <ac:spMk id="32" creationId="{EA67B5B4-3A24-436E-B663-1B2EBFF8A0CD}"/>
          </ac:spMkLst>
        </pc:spChg>
        <pc:spChg chg="add">
          <ac:chgData name="Lia Taylor" userId="2ccad05f-5017-4e2b-87e4-bbc6d22f4e64" providerId="ADAL" clId="{F700537D-3675-41CA-A525-EB2E79DB2D9A}" dt="2018-12-09T19:11:59.810" v="4086" actId="26606"/>
          <ac:spMkLst>
            <pc:docMk/>
            <pc:sldMk cId="3416359653" sldId="8118"/>
            <ac:spMk id="33" creationId="{987FDF89-C993-41F4-A1B8-DBAFF16008A9}"/>
          </ac:spMkLst>
        </pc:spChg>
        <pc:spChg chg="add">
          <ac:chgData name="Lia Taylor" userId="2ccad05f-5017-4e2b-87e4-bbc6d22f4e64" providerId="ADAL" clId="{F700537D-3675-41CA-A525-EB2E79DB2D9A}" dt="2018-12-09T19:11:59.810" v="4086" actId="26606"/>
          <ac:spMkLst>
            <pc:docMk/>
            <pc:sldMk cId="3416359653" sldId="8118"/>
            <ac:spMk id="34" creationId="{64E585EA-75FD-4025-8270-F66A58A15CDA}"/>
          </ac:spMkLst>
        </pc:spChg>
        <pc:grpChg chg="add del">
          <ac:chgData name="Lia Taylor" userId="2ccad05f-5017-4e2b-87e4-bbc6d22f4e64" providerId="ADAL" clId="{F700537D-3675-41CA-A525-EB2E79DB2D9A}" dt="2018-12-09T19:11:45.168" v="4079" actId="26606"/>
          <ac:grpSpMkLst>
            <pc:docMk/>
            <pc:sldMk cId="3416359653" sldId="8118"/>
            <ac:grpSpMk id="19" creationId="{2823A416-999C-4FA3-A853-0AE48404B5D7}"/>
          </ac:grpSpMkLst>
        </pc:grpChg>
        <pc:picChg chg="add del">
          <ac:chgData name="Lia Taylor" userId="2ccad05f-5017-4e2b-87e4-bbc6d22f4e64" providerId="ADAL" clId="{F700537D-3675-41CA-A525-EB2E79DB2D9A}" dt="2018-12-09T19:11:40.460" v="4075" actId="26606"/>
          <ac:picMkLst>
            <pc:docMk/>
            <pc:sldMk cId="3416359653" sldId="8118"/>
            <ac:picMk id="13" creationId="{2897127E-6CEF-446C-BE87-93B7C46E49D1}"/>
          </ac:picMkLst>
        </pc:picChg>
        <pc:picChg chg="add del">
          <ac:chgData name="Lia Taylor" userId="2ccad05f-5017-4e2b-87e4-bbc6d22f4e64" providerId="ADAL" clId="{F700537D-3675-41CA-A525-EB2E79DB2D9A}" dt="2018-12-09T19:11:57.821" v="4083" actId="26606"/>
          <ac:picMkLst>
            <pc:docMk/>
            <pc:sldMk cId="3416359653" sldId="8118"/>
            <ac:picMk id="27" creationId="{3AA16612-ACD2-4A16-8F2B-4514FD6BF28F}"/>
          </ac:picMkLst>
        </pc:picChg>
        <pc:cxnChg chg="add del">
          <ac:chgData name="Lia Taylor" userId="2ccad05f-5017-4e2b-87e4-bbc6d22f4e64" providerId="ADAL" clId="{F700537D-3675-41CA-A525-EB2E79DB2D9A}" dt="2018-12-09T19:11:42.782" v="4077" actId="26606"/>
          <ac:cxnSpMkLst>
            <pc:docMk/>
            <pc:sldMk cId="3416359653" sldId="8118"/>
            <ac:cxnSpMk id="16" creationId="{2D72A2C9-F3CA-4216-8BAD-FA4C970C3C4E}"/>
          </ac:cxnSpMkLst>
        </pc:cxnChg>
        <pc:cxnChg chg="add del">
          <ac:chgData name="Lia Taylor" userId="2ccad05f-5017-4e2b-87e4-bbc6d22f4e64" providerId="ADAL" clId="{F700537D-3675-41CA-A525-EB2E79DB2D9A}" dt="2018-12-09T19:11:59.795" v="4085" actId="26606"/>
          <ac:cxnSpMkLst>
            <pc:docMk/>
            <pc:sldMk cId="3416359653" sldId="8118"/>
            <ac:cxnSpMk id="30" creationId="{B874EF51-C858-4BB9-97C3-D17755787127}"/>
          </ac:cxnSpMkLst>
        </pc:cxnChg>
      </pc:sldChg>
      <pc:sldChg chg="delSp modSp ord delCm">
        <pc:chgData name="Lia Taylor" userId="2ccad05f-5017-4e2b-87e4-bbc6d22f4e64" providerId="ADAL" clId="{F700537D-3675-41CA-A525-EB2E79DB2D9A}" dt="2018-12-13T22:32:17.164" v="6787" actId="1592"/>
        <pc:sldMkLst>
          <pc:docMk/>
          <pc:sldMk cId="1977394622" sldId="8120"/>
        </pc:sldMkLst>
        <pc:spChg chg="mod">
          <ac:chgData name="Lia Taylor" userId="2ccad05f-5017-4e2b-87e4-bbc6d22f4e64" providerId="ADAL" clId="{F700537D-3675-41CA-A525-EB2E79DB2D9A}" dt="2018-12-09T19:03:58.198" v="3890" actId="113"/>
          <ac:spMkLst>
            <pc:docMk/>
            <pc:sldMk cId="1977394622" sldId="8120"/>
            <ac:spMk id="10" creationId="{5966FF76-FAB6-4690-A012-3BAB02F7349B}"/>
          </ac:spMkLst>
        </pc:spChg>
        <pc:spChg chg="del">
          <ac:chgData name="Lia Taylor" userId="2ccad05f-5017-4e2b-87e4-bbc6d22f4e64" providerId="ADAL" clId="{F700537D-3675-41CA-A525-EB2E79DB2D9A}" dt="2018-12-09T18:45:03.528" v="3471" actId="478"/>
          <ac:spMkLst>
            <pc:docMk/>
            <pc:sldMk cId="1977394622" sldId="8120"/>
            <ac:spMk id="12" creationId="{F3C51380-B72A-4013-9215-417D3D0ECFA2}"/>
          </ac:spMkLst>
        </pc:spChg>
        <pc:spChg chg="mod">
          <ac:chgData name="Lia Taylor" userId="2ccad05f-5017-4e2b-87e4-bbc6d22f4e64" providerId="ADAL" clId="{F700537D-3675-41CA-A525-EB2E79DB2D9A}" dt="2018-12-13T22:30:32.956" v="6777" actId="6549"/>
          <ac:spMkLst>
            <pc:docMk/>
            <pc:sldMk cId="1977394622" sldId="8120"/>
            <ac:spMk id="15" creationId="{C3DBDC4B-6983-416C-9D8B-C61974F07B8D}"/>
          </ac:spMkLst>
        </pc:spChg>
      </pc:sldChg>
      <pc:sldChg chg="modSp del ord">
        <pc:chgData name="Lia Taylor" userId="2ccad05f-5017-4e2b-87e4-bbc6d22f4e64" providerId="ADAL" clId="{F700537D-3675-41CA-A525-EB2E79DB2D9A}" dt="2018-12-10T21:32:43.037" v="4462" actId="2696"/>
        <pc:sldMkLst>
          <pc:docMk/>
          <pc:sldMk cId="693325408" sldId="8121"/>
        </pc:sldMkLst>
        <pc:spChg chg="mod">
          <ac:chgData name="Lia Taylor" userId="2ccad05f-5017-4e2b-87e4-bbc6d22f4e64" providerId="ADAL" clId="{F700537D-3675-41CA-A525-EB2E79DB2D9A}" dt="2018-12-04T23:10:40.654" v="15" actId="14100"/>
          <ac:spMkLst>
            <pc:docMk/>
            <pc:sldMk cId="693325408" sldId="8121"/>
            <ac:spMk id="37" creationId="{A5729375-DEC4-4961-B432-C80F29B692E9}"/>
          </ac:spMkLst>
        </pc:spChg>
      </pc:sldChg>
      <pc:sldChg chg="delSp modSp delCm">
        <pc:chgData name="Lia Taylor" userId="2ccad05f-5017-4e2b-87e4-bbc6d22f4e64" providerId="ADAL" clId="{F700537D-3675-41CA-A525-EB2E79DB2D9A}" dt="2018-12-13T22:32:17.187" v="6789" actId="1592"/>
        <pc:sldMkLst>
          <pc:docMk/>
          <pc:sldMk cId="1748051645" sldId="8122"/>
        </pc:sldMkLst>
        <pc:spChg chg="del">
          <ac:chgData name="Lia Taylor" userId="2ccad05f-5017-4e2b-87e4-bbc6d22f4e64" providerId="ADAL" clId="{F700537D-3675-41CA-A525-EB2E79DB2D9A}" dt="2018-12-09T18:44:48.903" v="3467" actId="478"/>
          <ac:spMkLst>
            <pc:docMk/>
            <pc:sldMk cId="1748051645" sldId="8122"/>
            <ac:spMk id="18" creationId="{90686D31-5EF5-4E68-9DEB-05591C278B1F}"/>
          </ac:spMkLst>
        </pc:spChg>
        <pc:spChg chg="mod">
          <ac:chgData name="Lia Taylor" userId="2ccad05f-5017-4e2b-87e4-bbc6d22f4e64" providerId="ADAL" clId="{F700537D-3675-41CA-A525-EB2E79DB2D9A}" dt="2018-12-09T19:04:08.325" v="3892" actId="113"/>
          <ac:spMkLst>
            <pc:docMk/>
            <pc:sldMk cId="1748051645" sldId="8122"/>
            <ac:spMk id="20" creationId="{70CD788A-181C-4413-89DA-25602E0553ED}"/>
          </ac:spMkLst>
        </pc:spChg>
        <pc:spChg chg="mod">
          <ac:chgData name="Lia Taylor" userId="2ccad05f-5017-4e2b-87e4-bbc6d22f4e64" providerId="ADAL" clId="{F700537D-3675-41CA-A525-EB2E79DB2D9A}" dt="2018-12-11T23:25:28.270" v="5983" actId="20577"/>
          <ac:spMkLst>
            <pc:docMk/>
            <pc:sldMk cId="1748051645" sldId="8122"/>
            <ac:spMk id="41" creationId="{5A77C7A3-F720-4A92-9AAF-8B1201983510}"/>
          </ac:spMkLst>
        </pc:spChg>
        <pc:spChg chg="mod">
          <ac:chgData name="Lia Taylor" userId="2ccad05f-5017-4e2b-87e4-bbc6d22f4e64" providerId="ADAL" clId="{F700537D-3675-41CA-A525-EB2E79DB2D9A}" dt="2018-12-11T23:25:53.365" v="6011" actId="20577"/>
          <ac:spMkLst>
            <pc:docMk/>
            <pc:sldMk cId="1748051645" sldId="8122"/>
            <ac:spMk id="42" creationId="{3CF4105B-F038-45C0-95F5-A4E70D4DE56E}"/>
          </ac:spMkLst>
        </pc:spChg>
        <pc:spChg chg="mod">
          <ac:chgData name="Lia Taylor" userId="2ccad05f-5017-4e2b-87e4-bbc6d22f4e64" providerId="ADAL" clId="{F700537D-3675-41CA-A525-EB2E79DB2D9A}" dt="2018-12-11T23:32:13.521" v="6235" actId="14100"/>
          <ac:spMkLst>
            <pc:docMk/>
            <pc:sldMk cId="1748051645" sldId="8122"/>
            <ac:spMk id="43" creationId="{D6EAE50D-972B-48BE-ADAE-716D654DB10D}"/>
          </ac:spMkLst>
        </pc:spChg>
        <pc:spChg chg="mod">
          <ac:chgData name="Lia Taylor" userId="2ccad05f-5017-4e2b-87e4-bbc6d22f4e64" providerId="ADAL" clId="{F700537D-3675-41CA-A525-EB2E79DB2D9A}" dt="2018-12-13T00:35:55.506" v="6651" actId="6549"/>
          <ac:spMkLst>
            <pc:docMk/>
            <pc:sldMk cId="1748051645" sldId="8122"/>
            <ac:spMk id="45" creationId="{D18B6313-AA97-4602-9DB2-5AE49551CF41}"/>
          </ac:spMkLst>
        </pc:spChg>
        <pc:spChg chg="mod">
          <ac:chgData name="Lia Taylor" userId="2ccad05f-5017-4e2b-87e4-bbc6d22f4e64" providerId="ADAL" clId="{F700537D-3675-41CA-A525-EB2E79DB2D9A}" dt="2018-12-13T00:35:06.081" v="6605" actId="20577"/>
          <ac:spMkLst>
            <pc:docMk/>
            <pc:sldMk cId="1748051645" sldId="8122"/>
            <ac:spMk id="46" creationId="{D9B4BCE1-7777-43AF-87CC-F4F65085EC4A}"/>
          </ac:spMkLst>
        </pc:spChg>
        <pc:spChg chg="mod">
          <ac:chgData name="Lia Taylor" userId="2ccad05f-5017-4e2b-87e4-bbc6d22f4e64" providerId="ADAL" clId="{F700537D-3675-41CA-A525-EB2E79DB2D9A}" dt="2018-12-11T23:25:40.248" v="6005" actId="20577"/>
          <ac:spMkLst>
            <pc:docMk/>
            <pc:sldMk cId="1748051645" sldId="8122"/>
            <ac:spMk id="48" creationId="{F03C899F-83F2-4F35-AAC5-3E7903754B5B}"/>
          </ac:spMkLst>
        </pc:spChg>
      </pc:sldChg>
      <pc:sldChg chg="add del">
        <pc:chgData name="Lia Taylor" userId="2ccad05f-5017-4e2b-87e4-bbc6d22f4e64" providerId="ADAL" clId="{F700537D-3675-41CA-A525-EB2E79DB2D9A}" dt="2018-12-10T21:32:49.679" v="4472" actId="2696"/>
        <pc:sldMkLst>
          <pc:docMk/>
          <pc:sldMk cId="1874783085" sldId="8123"/>
        </pc:sldMkLst>
      </pc:sldChg>
      <pc:sldChg chg="del modNotesTx">
        <pc:chgData name="Lia Taylor" userId="2ccad05f-5017-4e2b-87e4-bbc6d22f4e64" providerId="ADAL" clId="{F700537D-3675-41CA-A525-EB2E79DB2D9A}" dt="2018-12-09T19:28:05.194" v="4316" actId="2696"/>
        <pc:sldMkLst>
          <pc:docMk/>
          <pc:sldMk cId="2271234192" sldId="8123"/>
        </pc:sldMkLst>
      </pc:sldChg>
      <pc:sldChg chg="delSp del">
        <pc:chgData name="Lia Taylor" userId="2ccad05f-5017-4e2b-87e4-bbc6d22f4e64" providerId="ADAL" clId="{F700537D-3675-41CA-A525-EB2E79DB2D9A}" dt="2018-12-09T19:28:05.240" v="4317" actId="2696"/>
        <pc:sldMkLst>
          <pc:docMk/>
          <pc:sldMk cId="659572265" sldId="8124"/>
        </pc:sldMkLst>
        <pc:spChg chg="del">
          <ac:chgData name="Lia Taylor" userId="2ccad05f-5017-4e2b-87e4-bbc6d22f4e64" providerId="ADAL" clId="{F700537D-3675-41CA-A525-EB2E79DB2D9A}" dt="2018-12-07T22:48:55.605" v="3305" actId="478"/>
          <ac:spMkLst>
            <pc:docMk/>
            <pc:sldMk cId="659572265" sldId="8124"/>
            <ac:spMk id="3" creationId="{A71CD909-FAD6-471C-8B36-F161FD9732D6}"/>
          </ac:spMkLst>
        </pc:spChg>
      </pc:sldChg>
      <pc:sldChg chg="add del">
        <pc:chgData name="Lia Taylor" userId="2ccad05f-5017-4e2b-87e4-bbc6d22f4e64" providerId="ADAL" clId="{F700537D-3675-41CA-A525-EB2E79DB2D9A}" dt="2018-12-10T21:32:49.712" v="4473" actId="2696"/>
        <pc:sldMkLst>
          <pc:docMk/>
          <pc:sldMk cId="2248462874" sldId="8124"/>
        </pc:sldMkLst>
      </pc:sldChg>
      <pc:sldChg chg="add del">
        <pc:chgData name="Lia Taylor" userId="2ccad05f-5017-4e2b-87e4-bbc6d22f4e64" providerId="ADAL" clId="{F700537D-3675-41CA-A525-EB2E79DB2D9A}" dt="2018-12-10T21:32:49.795" v="4474" actId="2696"/>
        <pc:sldMkLst>
          <pc:docMk/>
          <pc:sldMk cId="868302261" sldId="8125"/>
        </pc:sldMkLst>
      </pc:sldChg>
      <pc:sldChg chg="delSp del">
        <pc:chgData name="Lia Taylor" userId="2ccad05f-5017-4e2b-87e4-bbc6d22f4e64" providerId="ADAL" clId="{F700537D-3675-41CA-A525-EB2E79DB2D9A}" dt="2018-12-09T19:28:05.272" v="4318" actId="2696"/>
        <pc:sldMkLst>
          <pc:docMk/>
          <pc:sldMk cId="4115194590" sldId="8125"/>
        </pc:sldMkLst>
        <pc:spChg chg="del">
          <ac:chgData name="Lia Taylor" userId="2ccad05f-5017-4e2b-87e4-bbc6d22f4e64" providerId="ADAL" clId="{F700537D-3675-41CA-A525-EB2E79DB2D9A}" dt="2018-12-07T22:48:45.169" v="3304" actId="478"/>
          <ac:spMkLst>
            <pc:docMk/>
            <pc:sldMk cId="4115194590" sldId="8125"/>
            <ac:spMk id="12" creationId="{BE13E3B9-0DD6-4BAB-8525-ACB99275F5D7}"/>
          </ac:spMkLst>
        </pc:spChg>
      </pc:sldChg>
      <pc:sldChg chg="addSp delSp modSp">
        <pc:chgData name="Lia Taylor" userId="2ccad05f-5017-4e2b-87e4-bbc6d22f4e64" providerId="ADAL" clId="{F700537D-3675-41CA-A525-EB2E79DB2D9A}" dt="2018-12-09T19:15:40.812" v="4100" actId="207"/>
        <pc:sldMkLst>
          <pc:docMk/>
          <pc:sldMk cId="1131270749" sldId="8126"/>
        </pc:sldMkLst>
        <pc:spChg chg="del">
          <ac:chgData name="Lia Taylor" userId="2ccad05f-5017-4e2b-87e4-bbc6d22f4e64" providerId="ADAL" clId="{F700537D-3675-41CA-A525-EB2E79DB2D9A}" dt="2018-12-04T23:27:57.637" v="201" actId="478"/>
          <ac:spMkLst>
            <pc:docMk/>
            <pc:sldMk cId="1131270749" sldId="8126"/>
            <ac:spMk id="2" creationId="{7D034E3F-E91B-4495-A2EF-F36EBB6FC608}"/>
          </ac:spMkLst>
        </pc:spChg>
        <pc:spChg chg="mod">
          <ac:chgData name="Lia Taylor" userId="2ccad05f-5017-4e2b-87e4-bbc6d22f4e64" providerId="ADAL" clId="{F700537D-3675-41CA-A525-EB2E79DB2D9A}" dt="2018-12-09T19:15:40.812" v="4100" actId="207"/>
          <ac:spMkLst>
            <pc:docMk/>
            <pc:sldMk cId="1131270749" sldId="8126"/>
            <ac:spMk id="3" creationId="{F2EEB5CD-50E6-487F-BBF7-A83170A60906}"/>
          </ac:spMkLst>
        </pc:spChg>
        <pc:spChg chg="add del mod">
          <ac:chgData name="Lia Taylor" userId="2ccad05f-5017-4e2b-87e4-bbc6d22f4e64" providerId="ADAL" clId="{F700537D-3675-41CA-A525-EB2E79DB2D9A}" dt="2018-12-04T23:28:00.760" v="202" actId="478"/>
          <ac:spMkLst>
            <pc:docMk/>
            <pc:sldMk cId="1131270749" sldId="8126"/>
            <ac:spMk id="5" creationId="{5CDDBE39-4757-4C62-AE33-AE214088E91E}"/>
          </ac:spMkLst>
        </pc:spChg>
        <pc:spChg chg="del">
          <ac:chgData name="Lia Taylor" userId="2ccad05f-5017-4e2b-87e4-bbc6d22f4e64" providerId="ADAL" clId="{F700537D-3675-41CA-A525-EB2E79DB2D9A}" dt="2018-12-04T23:27:57.637" v="201" actId="478"/>
          <ac:spMkLst>
            <pc:docMk/>
            <pc:sldMk cId="1131270749" sldId="8126"/>
            <ac:spMk id="6"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41" creationId="{00000000-0000-0000-0000-000000000000}"/>
          </ac:spMkLst>
        </pc:spChg>
        <pc:spChg chg="del">
          <ac:chgData name="Lia Taylor" userId="2ccad05f-5017-4e2b-87e4-bbc6d22f4e64" providerId="ADAL" clId="{F700537D-3675-41CA-A525-EB2E79DB2D9A}" dt="2018-12-04T23:27:57.637" v="201" actId="478"/>
          <ac:spMkLst>
            <pc:docMk/>
            <pc:sldMk cId="1131270749" sldId="8126"/>
            <ac:spMk id="42"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43"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45"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46"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47"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52" creationId="{00000000-0000-0000-0000-000000000000}"/>
          </ac:spMkLst>
        </pc:spChg>
        <pc:spChg chg="del">
          <ac:chgData name="Lia Taylor" userId="2ccad05f-5017-4e2b-87e4-bbc6d22f4e64" providerId="ADAL" clId="{F700537D-3675-41CA-A525-EB2E79DB2D9A}" dt="2018-12-04T23:27:57.637" v="201" actId="478"/>
          <ac:spMkLst>
            <pc:docMk/>
            <pc:sldMk cId="1131270749" sldId="8126"/>
            <ac:spMk id="53" creationId="{00000000-0000-0000-0000-000000000000}"/>
          </ac:spMkLst>
        </pc:spChg>
        <pc:spChg chg="del">
          <ac:chgData name="Lia Taylor" userId="2ccad05f-5017-4e2b-87e4-bbc6d22f4e64" providerId="ADAL" clId="{F700537D-3675-41CA-A525-EB2E79DB2D9A}" dt="2018-12-04T23:27:57.637" v="201" actId="478"/>
          <ac:spMkLst>
            <pc:docMk/>
            <pc:sldMk cId="1131270749" sldId="8126"/>
            <ac:spMk id="54" creationId="{00000000-0000-0000-0000-000000000000}"/>
          </ac:spMkLst>
        </pc:spChg>
        <pc:spChg chg="del">
          <ac:chgData name="Lia Taylor" userId="2ccad05f-5017-4e2b-87e4-bbc6d22f4e64" providerId="ADAL" clId="{F700537D-3675-41CA-A525-EB2E79DB2D9A}" dt="2018-12-04T23:27:57.637" v="201" actId="478"/>
          <ac:spMkLst>
            <pc:docMk/>
            <pc:sldMk cId="1131270749" sldId="8126"/>
            <ac:spMk id="55" creationId="{00000000-0000-0000-0000-000000000000}"/>
          </ac:spMkLst>
        </pc:spChg>
        <pc:spChg chg="del">
          <ac:chgData name="Lia Taylor" userId="2ccad05f-5017-4e2b-87e4-bbc6d22f4e64" providerId="ADAL" clId="{F700537D-3675-41CA-A525-EB2E79DB2D9A}" dt="2018-12-04T23:27:57.637" v="201" actId="478"/>
          <ac:spMkLst>
            <pc:docMk/>
            <pc:sldMk cId="1131270749" sldId="8126"/>
            <ac:spMk id="56"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57"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58"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59" creationId="{3E2B1880-FE14-4A01-9161-FE2E5690ECDD}"/>
          </ac:spMkLst>
        </pc:spChg>
        <pc:spChg chg="del">
          <ac:chgData name="Lia Taylor" userId="2ccad05f-5017-4e2b-87e4-bbc6d22f4e64" providerId="ADAL" clId="{F700537D-3675-41CA-A525-EB2E79DB2D9A}" dt="2018-12-04T23:27:57.637" v="201" actId="478"/>
          <ac:spMkLst>
            <pc:docMk/>
            <pc:sldMk cId="1131270749" sldId="8126"/>
            <ac:spMk id="60" creationId="{3E2B1880-FE14-4A01-9161-FE2E5690ECDD}"/>
          </ac:spMkLst>
        </pc:spChg>
        <pc:spChg chg="mod">
          <ac:chgData name="Lia Taylor" userId="2ccad05f-5017-4e2b-87e4-bbc6d22f4e64" providerId="ADAL" clId="{F700537D-3675-41CA-A525-EB2E79DB2D9A}" dt="2018-12-04T23:28:28.491" v="205" actId="1076"/>
          <ac:spMkLst>
            <pc:docMk/>
            <pc:sldMk cId="1131270749" sldId="8126"/>
            <ac:spMk id="61" creationId="{167B6DA7-72F8-4F17-B733-6BB86D9C1EA0}"/>
          </ac:spMkLst>
        </pc:spChg>
        <pc:spChg chg="del">
          <ac:chgData name="Lia Taylor" userId="2ccad05f-5017-4e2b-87e4-bbc6d22f4e64" providerId="ADAL" clId="{F700537D-3675-41CA-A525-EB2E79DB2D9A}" dt="2018-12-04T23:27:57.637" v="201" actId="478"/>
          <ac:spMkLst>
            <pc:docMk/>
            <pc:sldMk cId="1131270749" sldId="8126"/>
            <ac:spMk id="65" creationId="{00000000-0000-0000-0000-000000000000}"/>
          </ac:spMkLst>
        </pc:spChg>
        <pc:spChg chg="del">
          <ac:chgData name="Lia Taylor" userId="2ccad05f-5017-4e2b-87e4-bbc6d22f4e64" providerId="ADAL" clId="{F700537D-3675-41CA-A525-EB2E79DB2D9A}" dt="2018-12-04T23:27:57.637" v="201" actId="478"/>
          <ac:spMkLst>
            <pc:docMk/>
            <pc:sldMk cId="1131270749" sldId="8126"/>
            <ac:spMk id="66" creationId="{51D9EF39-56AD-461E-A555-EA72CCC0D26B}"/>
          </ac:spMkLst>
        </pc:spChg>
        <pc:spChg chg="add mod">
          <ac:chgData name="Lia Taylor" userId="2ccad05f-5017-4e2b-87e4-bbc6d22f4e64" providerId="ADAL" clId="{F700537D-3675-41CA-A525-EB2E79DB2D9A}" dt="2018-12-09T18:49:51.184" v="3520" actId="1076"/>
          <ac:spMkLst>
            <pc:docMk/>
            <pc:sldMk cId="1131270749" sldId="8126"/>
            <ac:spMk id="67" creationId="{E29B9577-FA75-47D1-BF75-DC83BC95F305}"/>
          </ac:spMkLst>
        </pc:spChg>
        <pc:spChg chg="add mod">
          <ac:chgData name="Lia Taylor" userId="2ccad05f-5017-4e2b-87e4-bbc6d22f4e64" providerId="ADAL" clId="{F700537D-3675-41CA-A525-EB2E79DB2D9A}" dt="2018-12-09T18:49:51.184" v="3520" actId="1076"/>
          <ac:spMkLst>
            <pc:docMk/>
            <pc:sldMk cId="1131270749" sldId="8126"/>
            <ac:spMk id="68" creationId="{D64522EE-1E87-419E-BE54-9DC76A040614}"/>
          </ac:spMkLst>
        </pc:spChg>
        <pc:spChg chg="add mod">
          <ac:chgData name="Lia Taylor" userId="2ccad05f-5017-4e2b-87e4-bbc6d22f4e64" providerId="ADAL" clId="{F700537D-3675-41CA-A525-EB2E79DB2D9A}" dt="2018-12-09T18:49:51.184" v="3520" actId="1076"/>
          <ac:spMkLst>
            <pc:docMk/>
            <pc:sldMk cId="1131270749" sldId="8126"/>
            <ac:spMk id="69" creationId="{DF976BBB-C604-4643-AE2A-075E19AAFBD0}"/>
          </ac:spMkLst>
        </pc:spChg>
        <pc:spChg chg="del">
          <ac:chgData name="Lia Taylor" userId="2ccad05f-5017-4e2b-87e4-bbc6d22f4e64" providerId="ADAL" clId="{F700537D-3675-41CA-A525-EB2E79DB2D9A}" dt="2018-12-04T23:27:57.637" v="201" actId="478"/>
          <ac:spMkLst>
            <pc:docMk/>
            <pc:sldMk cId="1131270749" sldId="8126"/>
            <ac:spMk id="70" creationId="{6C1717E9-881F-4173-A4A9-20BB72EC0EB0}"/>
          </ac:spMkLst>
        </pc:spChg>
        <pc:spChg chg="del">
          <ac:chgData name="Lia Taylor" userId="2ccad05f-5017-4e2b-87e4-bbc6d22f4e64" providerId="ADAL" clId="{F700537D-3675-41CA-A525-EB2E79DB2D9A}" dt="2018-12-09T18:42:59.876" v="3449" actId="478"/>
          <ac:spMkLst>
            <pc:docMk/>
            <pc:sldMk cId="1131270749" sldId="8126"/>
            <ac:spMk id="71" creationId="{2ED7D1CD-34BA-447D-9C8B-681B040B4A1B}"/>
          </ac:spMkLst>
        </pc:spChg>
        <pc:spChg chg="add mod">
          <ac:chgData name="Lia Taylor" userId="2ccad05f-5017-4e2b-87e4-bbc6d22f4e64" providerId="ADAL" clId="{F700537D-3675-41CA-A525-EB2E79DB2D9A}" dt="2018-12-09T18:49:51.184" v="3520" actId="1076"/>
          <ac:spMkLst>
            <pc:docMk/>
            <pc:sldMk cId="1131270749" sldId="8126"/>
            <ac:spMk id="72" creationId="{0FD44921-97D7-4FDA-8156-FDF889E5143E}"/>
          </ac:spMkLst>
        </pc:spChg>
        <pc:spChg chg="add mod">
          <ac:chgData name="Lia Taylor" userId="2ccad05f-5017-4e2b-87e4-bbc6d22f4e64" providerId="ADAL" clId="{F700537D-3675-41CA-A525-EB2E79DB2D9A}" dt="2018-12-09T18:49:51.184" v="3520" actId="1076"/>
          <ac:spMkLst>
            <pc:docMk/>
            <pc:sldMk cId="1131270749" sldId="8126"/>
            <ac:spMk id="73" creationId="{E1455666-AC31-4A23-9CAF-5A818807783F}"/>
          </ac:spMkLst>
        </pc:spChg>
        <pc:spChg chg="add mod">
          <ac:chgData name="Lia Taylor" userId="2ccad05f-5017-4e2b-87e4-bbc6d22f4e64" providerId="ADAL" clId="{F700537D-3675-41CA-A525-EB2E79DB2D9A}" dt="2018-12-09T18:49:51.184" v="3520" actId="1076"/>
          <ac:spMkLst>
            <pc:docMk/>
            <pc:sldMk cId="1131270749" sldId="8126"/>
            <ac:spMk id="75" creationId="{48B343F0-4B17-42F1-9872-759B43AB1C25}"/>
          </ac:spMkLst>
        </pc:spChg>
        <pc:spChg chg="add mod">
          <ac:chgData name="Lia Taylor" userId="2ccad05f-5017-4e2b-87e4-bbc6d22f4e64" providerId="ADAL" clId="{F700537D-3675-41CA-A525-EB2E79DB2D9A}" dt="2018-12-09T18:49:51.184" v="3520" actId="1076"/>
          <ac:spMkLst>
            <pc:docMk/>
            <pc:sldMk cId="1131270749" sldId="8126"/>
            <ac:spMk id="77" creationId="{F8E1E0FF-5194-4D83-A5C6-419872E9FFD5}"/>
          </ac:spMkLst>
        </pc:spChg>
        <pc:spChg chg="add mod">
          <ac:chgData name="Lia Taylor" userId="2ccad05f-5017-4e2b-87e4-bbc6d22f4e64" providerId="ADAL" clId="{F700537D-3675-41CA-A525-EB2E79DB2D9A}" dt="2018-12-09T18:49:51.184" v="3520" actId="1076"/>
          <ac:spMkLst>
            <pc:docMk/>
            <pc:sldMk cId="1131270749" sldId="8126"/>
            <ac:spMk id="79" creationId="{ABDC5092-0392-4FBA-84D0-60B22FF888F3}"/>
          </ac:spMkLst>
        </pc:spChg>
        <pc:spChg chg="add mod">
          <ac:chgData name="Lia Taylor" userId="2ccad05f-5017-4e2b-87e4-bbc6d22f4e64" providerId="ADAL" clId="{F700537D-3675-41CA-A525-EB2E79DB2D9A}" dt="2018-12-09T18:49:51.184" v="3520" actId="1076"/>
          <ac:spMkLst>
            <pc:docMk/>
            <pc:sldMk cId="1131270749" sldId="8126"/>
            <ac:spMk id="80" creationId="{0415E772-FA9C-434B-857A-965C297FD737}"/>
          </ac:spMkLst>
        </pc:spChg>
        <pc:spChg chg="add mod">
          <ac:chgData name="Lia Taylor" userId="2ccad05f-5017-4e2b-87e4-bbc6d22f4e64" providerId="ADAL" clId="{F700537D-3675-41CA-A525-EB2E79DB2D9A}" dt="2018-12-09T18:49:51.184" v="3520" actId="1076"/>
          <ac:spMkLst>
            <pc:docMk/>
            <pc:sldMk cId="1131270749" sldId="8126"/>
            <ac:spMk id="81" creationId="{33209D2E-468A-4FA6-987A-56539F2B2C20}"/>
          </ac:spMkLst>
        </pc:spChg>
        <pc:spChg chg="add mod">
          <ac:chgData name="Lia Taylor" userId="2ccad05f-5017-4e2b-87e4-bbc6d22f4e64" providerId="ADAL" clId="{F700537D-3675-41CA-A525-EB2E79DB2D9A}" dt="2018-12-09T18:49:51.184" v="3520" actId="1076"/>
          <ac:spMkLst>
            <pc:docMk/>
            <pc:sldMk cId="1131270749" sldId="8126"/>
            <ac:spMk id="82" creationId="{5446026F-251B-47A3-9F78-5C40A5098D10}"/>
          </ac:spMkLst>
        </pc:spChg>
        <pc:spChg chg="add mod">
          <ac:chgData name="Lia Taylor" userId="2ccad05f-5017-4e2b-87e4-bbc6d22f4e64" providerId="ADAL" clId="{F700537D-3675-41CA-A525-EB2E79DB2D9A}" dt="2018-12-09T18:49:51.184" v="3520" actId="1076"/>
          <ac:spMkLst>
            <pc:docMk/>
            <pc:sldMk cId="1131270749" sldId="8126"/>
            <ac:spMk id="83" creationId="{4F71B47E-D08D-40E2-BB41-3399F267BFE8}"/>
          </ac:spMkLst>
        </pc:spChg>
        <pc:grpChg chg="del">
          <ac:chgData name="Lia Taylor" userId="2ccad05f-5017-4e2b-87e4-bbc6d22f4e64" providerId="ADAL" clId="{F700537D-3675-41CA-A525-EB2E79DB2D9A}" dt="2018-12-04T23:27:57.637" v="201" actId="478"/>
          <ac:grpSpMkLst>
            <pc:docMk/>
            <pc:sldMk cId="1131270749" sldId="8126"/>
            <ac:grpSpMk id="7" creationId="{966986C6-C168-4CB1-B5E9-75EC6F5C8F41}"/>
          </ac:grpSpMkLst>
        </pc:grpChg>
        <pc:grpChg chg="del">
          <ac:chgData name="Lia Taylor" userId="2ccad05f-5017-4e2b-87e4-bbc6d22f4e64" providerId="ADAL" clId="{F700537D-3675-41CA-A525-EB2E79DB2D9A}" dt="2018-12-04T23:27:57.637" v="201" actId="478"/>
          <ac:grpSpMkLst>
            <pc:docMk/>
            <pc:sldMk cId="1131270749" sldId="8126"/>
            <ac:grpSpMk id="11" creationId="{966986C6-C168-4CB1-B5E9-75EC6F5C8F41}"/>
          </ac:grpSpMkLst>
        </pc:grpChg>
        <pc:grpChg chg="del">
          <ac:chgData name="Lia Taylor" userId="2ccad05f-5017-4e2b-87e4-bbc6d22f4e64" providerId="ADAL" clId="{F700537D-3675-41CA-A525-EB2E79DB2D9A}" dt="2018-12-04T23:27:57.637" v="201" actId="478"/>
          <ac:grpSpMkLst>
            <pc:docMk/>
            <pc:sldMk cId="1131270749" sldId="8126"/>
            <ac:grpSpMk id="15" creationId="{00000000-0000-0000-0000-000000000000}"/>
          </ac:grpSpMkLst>
        </pc:grpChg>
        <pc:grpChg chg="del">
          <ac:chgData name="Lia Taylor" userId="2ccad05f-5017-4e2b-87e4-bbc6d22f4e64" providerId="ADAL" clId="{F700537D-3675-41CA-A525-EB2E79DB2D9A}" dt="2018-12-04T23:27:57.637" v="201" actId="478"/>
          <ac:grpSpMkLst>
            <pc:docMk/>
            <pc:sldMk cId="1131270749" sldId="8126"/>
            <ac:grpSpMk id="24" creationId="{00000000-0000-0000-0000-000000000000}"/>
          </ac:grpSpMkLst>
        </pc:grpChg>
        <pc:grpChg chg="del">
          <ac:chgData name="Lia Taylor" userId="2ccad05f-5017-4e2b-87e4-bbc6d22f4e64" providerId="ADAL" clId="{F700537D-3675-41CA-A525-EB2E79DB2D9A}" dt="2018-12-04T23:27:57.637" v="201" actId="478"/>
          <ac:grpSpMkLst>
            <pc:docMk/>
            <pc:sldMk cId="1131270749" sldId="8126"/>
            <ac:grpSpMk id="31" creationId="{00000000-0000-0000-0000-000000000000}"/>
          </ac:grpSpMkLst>
        </pc:grpChg>
        <pc:grpChg chg="add mod">
          <ac:chgData name="Lia Taylor" userId="2ccad05f-5017-4e2b-87e4-bbc6d22f4e64" providerId="ADAL" clId="{F700537D-3675-41CA-A525-EB2E79DB2D9A}" dt="2018-12-09T18:49:51.184" v="3520" actId="1076"/>
          <ac:grpSpMkLst>
            <pc:docMk/>
            <pc:sldMk cId="1131270749" sldId="8126"/>
            <ac:grpSpMk id="84" creationId="{84DD52A7-72E8-4452-84C4-A4659ED727AE}"/>
          </ac:grpSpMkLst>
        </pc:grpChg>
        <pc:grpChg chg="add mod">
          <ac:chgData name="Lia Taylor" userId="2ccad05f-5017-4e2b-87e4-bbc6d22f4e64" providerId="ADAL" clId="{F700537D-3675-41CA-A525-EB2E79DB2D9A}" dt="2018-12-09T18:49:51.184" v="3520" actId="1076"/>
          <ac:grpSpMkLst>
            <pc:docMk/>
            <pc:sldMk cId="1131270749" sldId="8126"/>
            <ac:grpSpMk id="89" creationId="{44F13E38-6AC9-4AA2-973D-2B9F4C3B23D6}"/>
          </ac:grpSpMkLst>
        </pc:grpChg>
        <pc:grpChg chg="add mod">
          <ac:chgData name="Lia Taylor" userId="2ccad05f-5017-4e2b-87e4-bbc6d22f4e64" providerId="ADAL" clId="{F700537D-3675-41CA-A525-EB2E79DB2D9A}" dt="2018-12-09T18:49:51.184" v="3520" actId="1076"/>
          <ac:grpSpMkLst>
            <pc:docMk/>
            <pc:sldMk cId="1131270749" sldId="8126"/>
            <ac:grpSpMk id="92" creationId="{57028EC9-B564-4848-882D-B77FFFF88077}"/>
          </ac:grpSpMkLst>
        </pc:grpChg>
        <pc:grpChg chg="add mod">
          <ac:chgData name="Lia Taylor" userId="2ccad05f-5017-4e2b-87e4-bbc6d22f4e64" providerId="ADAL" clId="{F700537D-3675-41CA-A525-EB2E79DB2D9A}" dt="2018-12-09T18:49:51.184" v="3520" actId="1076"/>
          <ac:grpSpMkLst>
            <pc:docMk/>
            <pc:sldMk cId="1131270749" sldId="8126"/>
            <ac:grpSpMk id="96" creationId="{974B0DFD-F027-4E79-9534-07B04A58BB17}"/>
          </ac:grpSpMkLst>
        </pc:grpChg>
        <pc:cxnChg chg="del">
          <ac:chgData name="Lia Taylor" userId="2ccad05f-5017-4e2b-87e4-bbc6d22f4e64" providerId="ADAL" clId="{F700537D-3675-41CA-A525-EB2E79DB2D9A}" dt="2018-12-04T23:27:57.637" v="201" actId="478"/>
          <ac:cxnSpMkLst>
            <pc:docMk/>
            <pc:sldMk cId="1131270749" sldId="8126"/>
            <ac:cxnSpMk id="48" creationId="{00000000-0000-0000-0000-000000000000}"/>
          </ac:cxnSpMkLst>
        </pc:cxnChg>
        <pc:cxnChg chg="del">
          <ac:chgData name="Lia Taylor" userId="2ccad05f-5017-4e2b-87e4-bbc6d22f4e64" providerId="ADAL" clId="{F700537D-3675-41CA-A525-EB2E79DB2D9A}" dt="2018-12-04T23:27:57.637" v="201" actId="478"/>
          <ac:cxnSpMkLst>
            <pc:docMk/>
            <pc:sldMk cId="1131270749" sldId="8126"/>
            <ac:cxnSpMk id="49" creationId="{00000000-0000-0000-0000-000000000000}"/>
          </ac:cxnSpMkLst>
        </pc:cxnChg>
        <pc:cxnChg chg="del">
          <ac:chgData name="Lia Taylor" userId="2ccad05f-5017-4e2b-87e4-bbc6d22f4e64" providerId="ADAL" clId="{F700537D-3675-41CA-A525-EB2E79DB2D9A}" dt="2018-12-04T23:27:57.637" v="201" actId="478"/>
          <ac:cxnSpMkLst>
            <pc:docMk/>
            <pc:sldMk cId="1131270749" sldId="8126"/>
            <ac:cxnSpMk id="50" creationId="{00000000-0000-0000-0000-000000000000}"/>
          </ac:cxnSpMkLst>
        </pc:cxnChg>
        <pc:cxnChg chg="del">
          <ac:chgData name="Lia Taylor" userId="2ccad05f-5017-4e2b-87e4-bbc6d22f4e64" providerId="ADAL" clId="{F700537D-3675-41CA-A525-EB2E79DB2D9A}" dt="2018-12-04T23:27:57.637" v="201" actId="478"/>
          <ac:cxnSpMkLst>
            <pc:docMk/>
            <pc:sldMk cId="1131270749" sldId="8126"/>
            <ac:cxnSpMk id="51" creationId="{00000000-0000-0000-0000-000000000000}"/>
          </ac:cxnSpMkLst>
        </pc:cxnChg>
        <pc:cxnChg chg="del">
          <ac:chgData name="Lia Taylor" userId="2ccad05f-5017-4e2b-87e4-bbc6d22f4e64" providerId="ADAL" clId="{F700537D-3675-41CA-A525-EB2E79DB2D9A}" dt="2018-12-04T23:27:57.637" v="201" actId="478"/>
          <ac:cxnSpMkLst>
            <pc:docMk/>
            <pc:sldMk cId="1131270749" sldId="8126"/>
            <ac:cxnSpMk id="62" creationId="{00000000-0000-0000-0000-000000000000}"/>
          </ac:cxnSpMkLst>
        </pc:cxnChg>
        <pc:cxnChg chg="del">
          <ac:chgData name="Lia Taylor" userId="2ccad05f-5017-4e2b-87e4-bbc6d22f4e64" providerId="ADAL" clId="{F700537D-3675-41CA-A525-EB2E79DB2D9A}" dt="2018-12-04T23:27:57.637" v="201" actId="478"/>
          <ac:cxnSpMkLst>
            <pc:docMk/>
            <pc:sldMk cId="1131270749" sldId="8126"/>
            <ac:cxnSpMk id="63" creationId="{00000000-0000-0000-0000-000000000000}"/>
          </ac:cxnSpMkLst>
        </pc:cxnChg>
        <pc:cxnChg chg="del">
          <ac:chgData name="Lia Taylor" userId="2ccad05f-5017-4e2b-87e4-bbc6d22f4e64" providerId="ADAL" clId="{F700537D-3675-41CA-A525-EB2E79DB2D9A}" dt="2018-12-04T23:27:57.637" v="201" actId="478"/>
          <ac:cxnSpMkLst>
            <pc:docMk/>
            <pc:sldMk cId="1131270749" sldId="8126"/>
            <ac:cxnSpMk id="64" creationId="{00000000-0000-0000-0000-000000000000}"/>
          </ac:cxnSpMkLst>
        </pc:cxnChg>
        <pc:cxnChg chg="add mod">
          <ac:chgData name="Lia Taylor" userId="2ccad05f-5017-4e2b-87e4-bbc6d22f4e64" providerId="ADAL" clId="{F700537D-3675-41CA-A525-EB2E79DB2D9A}" dt="2018-12-09T18:49:51.184" v="3520" actId="1076"/>
          <ac:cxnSpMkLst>
            <pc:docMk/>
            <pc:sldMk cId="1131270749" sldId="8126"/>
            <ac:cxnSpMk id="74" creationId="{61E11458-DDCC-4259-B8CC-EA254EAD325D}"/>
          </ac:cxnSpMkLst>
        </pc:cxnChg>
        <pc:cxnChg chg="add mod">
          <ac:chgData name="Lia Taylor" userId="2ccad05f-5017-4e2b-87e4-bbc6d22f4e64" providerId="ADAL" clId="{F700537D-3675-41CA-A525-EB2E79DB2D9A}" dt="2018-12-09T18:49:51.184" v="3520" actId="1076"/>
          <ac:cxnSpMkLst>
            <pc:docMk/>
            <pc:sldMk cId="1131270749" sldId="8126"/>
            <ac:cxnSpMk id="76" creationId="{7266C7D9-D5DC-45A6-BFEE-AEA93B5E4DA8}"/>
          </ac:cxnSpMkLst>
        </pc:cxnChg>
        <pc:cxnChg chg="add mod">
          <ac:chgData name="Lia Taylor" userId="2ccad05f-5017-4e2b-87e4-bbc6d22f4e64" providerId="ADAL" clId="{F700537D-3675-41CA-A525-EB2E79DB2D9A}" dt="2018-12-09T18:49:51.184" v="3520" actId="1076"/>
          <ac:cxnSpMkLst>
            <pc:docMk/>
            <pc:sldMk cId="1131270749" sldId="8126"/>
            <ac:cxnSpMk id="78" creationId="{9CB7B064-1434-46A6-8BB4-887A0B3E778D}"/>
          </ac:cxnSpMkLst>
        </pc:cxnChg>
      </pc:sldChg>
      <pc:sldChg chg="del">
        <pc:chgData name="Lia Taylor" userId="2ccad05f-5017-4e2b-87e4-bbc6d22f4e64" providerId="ADAL" clId="{F700537D-3675-41CA-A525-EB2E79DB2D9A}" dt="2018-12-04T23:37:07.785" v="289" actId="2696"/>
        <pc:sldMkLst>
          <pc:docMk/>
          <pc:sldMk cId="189498579" sldId="8127"/>
        </pc:sldMkLst>
      </pc:sldChg>
      <pc:sldChg chg="modSp add">
        <pc:chgData name="Lia Taylor" userId="2ccad05f-5017-4e2b-87e4-bbc6d22f4e64" providerId="ADAL" clId="{F700537D-3675-41CA-A525-EB2E79DB2D9A}" dt="2018-12-09T19:16:21.059" v="4106" actId="14100"/>
        <pc:sldMkLst>
          <pc:docMk/>
          <pc:sldMk cId="2945519729" sldId="8127"/>
        </pc:sldMkLst>
        <pc:spChg chg="mod">
          <ac:chgData name="Lia Taylor" userId="2ccad05f-5017-4e2b-87e4-bbc6d22f4e64" providerId="ADAL" clId="{F700537D-3675-41CA-A525-EB2E79DB2D9A}" dt="2018-12-09T18:41:30.033" v="3436" actId="14100"/>
          <ac:spMkLst>
            <pc:docMk/>
            <pc:sldMk cId="2945519729" sldId="8127"/>
            <ac:spMk id="5" creationId="{1993B46F-8DAC-4F18-878D-2C3A14D042E6}"/>
          </ac:spMkLst>
        </pc:spChg>
        <pc:spChg chg="mod">
          <ac:chgData name="Lia Taylor" userId="2ccad05f-5017-4e2b-87e4-bbc6d22f4e64" providerId="ADAL" clId="{F700537D-3675-41CA-A525-EB2E79DB2D9A}" dt="2018-12-07T22:24:13.705" v="3220" actId="20577"/>
          <ac:spMkLst>
            <pc:docMk/>
            <pc:sldMk cId="2945519729" sldId="8127"/>
            <ac:spMk id="13" creationId="{8BFC0159-1B6E-464B-95CF-FF878027DDBB}"/>
          </ac:spMkLst>
        </pc:spChg>
        <pc:spChg chg="mod">
          <ac:chgData name="Lia Taylor" userId="2ccad05f-5017-4e2b-87e4-bbc6d22f4e64" providerId="ADAL" clId="{F700537D-3675-41CA-A525-EB2E79DB2D9A}" dt="2018-12-07T22:23:36.014" v="3216" actId="6549"/>
          <ac:spMkLst>
            <pc:docMk/>
            <pc:sldMk cId="2945519729" sldId="8127"/>
            <ac:spMk id="18" creationId="{898B8501-4BB6-4A85-86C0-5D1EF84D1A4F}"/>
          </ac:spMkLst>
        </pc:spChg>
        <pc:spChg chg="mod">
          <ac:chgData name="Lia Taylor" userId="2ccad05f-5017-4e2b-87e4-bbc6d22f4e64" providerId="ADAL" clId="{F700537D-3675-41CA-A525-EB2E79DB2D9A}" dt="2018-12-07T22:23:03.572" v="3215" actId="1076"/>
          <ac:spMkLst>
            <pc:docMk/>
            <pc:sldMk cId="2945519729" sldId="8127"/>
            <ac:spMk id="22" creationId="{F3EE5F3D-B98D-4C3D-8E0D-DA9D74E74CB1}"/>
          </ac:spMkLst>
        </pc:spChg>
        <pc:spChg chg="mod">
          <ac:chgData name="Lia Taylor" userId="2ccad05f-5017-4e2b-87e4-bbc6d22f4e64" providerId="ADAL" clId="{F700537D-3675-41CA-A525-EB2E79DB2D9A}" dt="2018-12-07T22:23:03.572" v="3215" actId="1076"/>
          <ac:spMkLst>
            <pc:docMk/>
            <pc:sldMk cId="2945519729" sldId="8127"/>
            <ac:spMk id="24" creationId="{7582EDDC-C114-49BE-8A82-6A6E551FE834}"/>
          </ac:spMkLst>
        </pc:spChg>
        <pc:spChg chg="mod">
          <ac:chgData name="Lia Taylor" userId="2ccad05f-5017-4e2b-87e4-bbc6d22f4e64" providerId="ADAL" clId="{F700537D-3675-41CA-A525-EB2E79DB2D9A}" dt="2018-12-07T22:23:03.572" v="3215" actId="1076"/>
          <ac:spMkLst>
            <pc:docMk/>
            <pc:sldMk cId="2945519729" sldId="8127"/>
            <ac:spMk id="29" creationId="{9BBF92AE-F61C-460D-B370-8C83D0E5C44B}"/>
          </ac:spMkLst>
        </pc:spChg>
        <pc:spChg chg="mod">
          <ac:chgData name="Lia Taylor" userId="2ccad05f-5017-4e2b-87e4-bbc6d22f4e64" providerId="ADAL" clId="{F700537D-3675-41CA-A525-EB2E79DB2D9A}" dt="2018-12-09T18:41:02.074" v="3433" actId="1076"/>
          <ac:spMkLst>
            <pc:docMk/>
            <pc:sldMk cId="2945519729" sldId="8127"/>
            <ac:spMk id="36" creationId="{AB44F03A-ECAF-413B-BB2A-27FDB0EEA567}"/>
          </ac:spMkLst>
        </pc:spChg>
        <pc:spChg chg="mod">
          <ac:chgData name="Lia Taylor" userId="2ccad05f-5017-4e2b-87e4-bbc6d22f4e64" providerId="ADAL" clId="{F700537D-3675-41CA-A525-EB2E79DB2D9A}" dt="2018-12-09T18:41:02.074" v="3433" actId="1076"/>
          <ac:spMkLst>
            <pc:docMk/>
            <pc:sldMk cId="2945519729" sldId="8127"/>
            <ac:spMk id="40" creationId="{2F22A198-CB19-4DEE-B588-E663B9B86DE0}"/>
          </ac:spMkLst>
        </pc:spChg>
        <pc:spChg chg="mod">
          <ac:chgData name="Lia Taylor" userId="2ccad05f-5017-4e2b-87e4-bbc6d22f4e64" providerId="ADAL" clId="{F700537D-3675-41CA-A525-EB2E79DB2D9A}" dt="2018-12-09T18:41:02.074" v="3433" actId="1076"/>
          <ac:spMkLst>
            <pc:docMk/>
            <pc:sldMk cId="2945519729" sldId="8127"/>
            <ac:spMk id="41" creationId="{F77F0FA1-0EC5-4040-89D4-094E68472479}"/>
          </ac:spMkLst>
        </pc:spChg>
        <pc:spChg chg="mod">
          <ac:chgData name="Lia Taylor" userId="2ccad05f-5017-4e2b-87e4-bbc6d22f4e64" providerId="ADAL" clId="{F700537D-3675-41CA-A525-EB2E79DB2D9A}" dt="2018-12-09T18:41:02.074" v="3433" actId="1076"/>
          <ac:spMkLst>
            <pc:docMk/>
            <pc:sldMk cId="2945519729" sldId="8127"/>
            <ac:spMk id="42" creationId="{D30403ED-52A3-48F3-B734-ECD4B1B7FA94}"/>
          </ac:spMkLst>
        </pc:spChg>
        <pc:spChg chg="mod">
          <ac:chgData name="Lia Taylor" userId="2ccad05f-5017-4e2b-87e4-bbc6d22f4e64" providerId="ADAL" clId="{F700537D-3675-41CA-A525-EB2E79DB2D9A}" dt="2018-12-09T18:41:02.074" v="3433" actId="1076"/>
          <ac:spMkLst>
            <pc:docMk/>
            <pc:sldMk cId="2945519729" sldId="8127"/>
            <ac:spMk id="43" creationId="{B516A089-FF06-4AAB-AED9-10C344A325B1}"/>
          </ac:spMkLst>
        </pc:spChg>
        <pc:spChg chg="mod">
          <ac:chgData name="Lia Taylor" userId="2ccad05f-5017-4e2b-87e4-bbc6d22f4e64" providerId="ADAL" clId="{F700537D-3675-41CA-A525-EB2E79DB2D9A}" dt="2018-12-09T18:41:02.074" v="3433" actId="1076"/>
          <ac:spMkLst>
            <pc:docMk/>
            <pc:sldMk cId="2945519729" sldId="8127"/>
            <ac:spMk id="44" creationId="{7FB9895C-FFE1-4A6C-B685-7603FA9C76DF}"/>
          </ac:spMkLst>
        </pc:spChg>
        <pc:spChg chg="mod">
          <ac:chgData name="Lia Taylor" userId="2ccad05f-5017-4e2b-87e4-bbc6d22f4e64" providerId="ADAL" clId="{F700537D-3675-41CA-A525-EB2E79DB2D9A}" dt="2018-12-09T18:41:02.074" v="3433" actId="1076"/>
          <ac:spMkLst>
            <pc:docMk/>
            <pc:sldMk cId="2945519729" sldId="8127"/>
            <ac:spMk id="46" creationId="{95CC3C74-147D-4F10-8251-28C0F8D80514}"/>
          </ac:spMkLst>
        </pc:spChg>
        <pc:spChg chg="mod">
          <ac:chgData name="Lia Taylor" userId="2ccad05f-5017-4e2b-87e4-bbc6d22f4e64" providerId="ADAL" clId="{F700537D-3675-41CA-A525-EB2E79DB2D9A}" dt="2018-12-09T18:41:02.074" v="3433" actId="1076"/>
          <ac:spMkLst>
            <pc:docMk/>
            <pc:sldMk cId="2945519729" sldId="8127"/>
            <ac:spMk id="47" creationId="{4C1D7685-6B16-4A55-A21E-863CAE8C5CBE}"/>
          </ac:spMkLst>
        </pc:spChg>
        <pc:spChg chg="mod">
          <ac:chgData name="Lia Taylor" userId="2ccad05f-5017-4e2b-87e4-bbc6d22f4e64" providerId="ADAL" clId="{F700537D-3675-41CA-A525-EB2E79DB2D9A}" dt="2018-12-09T18:41:02.074" v="3433" actId="1076"/>
          <ac:spMkLst>
            <pc:docMk/>
            <pc:sldMk cId="2945519729" sldId="8127"/>
            <ac:spMk id="48" creationId="{EF19B846-8A6F-42AE-8FEA-6333E52B1634}"/>
          </ac:spMkLst>
        </pc:spChg>
        <pc:spChg chg="mod">
          <ac:chgData name="Lia Taylor" userId="2ccad05f-5017-4e2b-87e4-bbc6d22f4e64" providerId="ADAL" clId="{F700537D-3675-41CA-A525-EB2E79DB2D9A}" dt="2018-12-09T18:41:02.074" v="3433" actId="1076"/>
          <ac:spMkLst>
            <pc:docMk/>
            <pc:sldMk cId="2945519729" sldId="8127"/>
            <ac:spMk id="49" creationId="{B463CC31-1559-4E43-992E-DD26B0FE2091}"/>
          </ac:spMkLst>
        </pc:spChg>
        <pc:spChg chg="mod">
          <ac:chgData name="Lia Taylor" userId="2ccad05f-5017-4e2b-87e4-bbc6d22f4e64" providerId="ADAL" clId="{F700537D-3675-41CA-A525-EB2E79DB2D9A}" dt="2018-12-09T18:41:02.074" v="3433" actId="1076"/>
          <ac:spMkLst>
            <pc:docMk/>
            <pc:sldMk cId="2945519729" sldId="8127"/>
            <ac:spMk id="50" creationId="{FD3C63C3-32FE-4644-9099-B84FB1234000}"/>
          </ac:spMkLst>
        </pc:spChg>
        <pc:spChg chg="mod">
          <ac:chgData name="Lia Taylor" userId="2ccad05f-5017-4e2b-87e4-bbc6d22f4e64" providerId="ADAL" clId="{F700537D-3675-41CA-A525-EB2E79DB2D9A}" dt="2018-12-09T18:41:02.074" v="3433" actId="1076"/>
          <ac:spMkLst>
            <pc:docMk/>
            <pc:sldMk cId="2945519729" sldId="8127"/>
            <ac:spMk id="51" creationId="{BEE39390-7406-46DE-A69F-B8F64AFF7071}"/>
          </ac:spMkLst>
        </pc:spChg>
        <pc:spChg chg="mod">
          <ac:chgData name="Lia Taylor" userId="2ccad05f-5017-4e2b-87e4-bbc6d22f4e64" providerId="ADAL" clId="{F700537D-3675-41CA-A525-EB2E79DB2D9A}" dt="2018-12-09T18:41:02.074" v="3433" actId="1076"/>
          <ac:spMkLst>
            <pc:docMk/>
            <pc:sldMk cId="2945519729" sldId="8127"/>
            <ac:spMk id="52" creationId="{F146EA07-6E93-423E-A0FA-173F8C0A53E5}"/>
          </ac:spMkLst>
        </pc:spChg>
        <pc:spChg chg="mod">
          <ac:chgData name="Lia Taylor" userId="2ccad05f-5017-4e2b-87e4-bbc6d22f4e64" providerId="ADAL" clId="{F700537D-3675-41CA-A525-EB2E79DB2D9A}" dt="2018-12-09T18:41:02.074" v="3433" actId="1076"/>
          <ac:spMkLst>
            <pc:docMk/>
            <pc:sldMk cId="2945519729" sldId="8127"/>
            <ac:spMk id="53" creationId="{B2DA453B-FCF4-4DAD-B3C9-E04585BF07E4}"/>
          </ac:spMkLst>
        </pc:spChg>
        <pc:spChg chg="mod">
          <ac:chgData name="Lia Taylor" userId="2ccad05f-5017-4e2b-87e4-bbc6d22f4e64" providerId="ADAL" clId="{F700537D-3675-41CA-A525-EB2E79DB2D9A}" dt="2018-12-09T18:41:02.074" v="3433" actId="1076"/>
          <ac:spMkLst>
            <pc:docMk/>
            <pc:sldMk cId="2945519729" sldId="8127"/>
            <ac:spMk id="55" creationId="{32CB43CD-F257-4412-ADA1-A9A78FE905E7}"/>
          </ac:spMkLst>
        </pc:spChg>
        <pc:spChg chg="mod">
          <ac:chgData name="Lia Taylor" userId="2ccad05f-5017-4e2b-87e4-bbc6d22f4e64" providerId="ADAL" clId="{F700537D-3675-41CA-A525-EB2E79DB2D9A}" dt="2018-12-07T22:23:03.572" v="3215" actId="1076"/>
          <ac:spMkLst>
            <pc:docMk/>
            <pc:sldMk cId="2945519729" sldId="8127"/>
            <ac:spMk id="56" creationId="{0200E6B4-B0AB-4468-823D-7E35471A028A}"/>
          </ac:spMkLst>
        </pc:spChg>
        <pc:spChg chg="mod">
          <ac:chgData name="Lia Taylor" userId="2ccad05f-5017-4e2b-87e4-bbc6d22f4e64" providerId="ADAL" clId="{F700537D-3675-41CA-A525-EB2E79DB2D9A}" dt="2018-12-07T22:23:03.572" v="3215" actId="1076"/>
          <ac:spMkLst>
            <pc:docMk/>
            <pc:sldMk cId="2945519729" sldId="8127"/>
            <ac:spMk id="57" creationId="{8CC63602-C169-4535-836B-23D7CAB3C337}"/>
          </ac:spMkLst>
        </pc:spChg>
        <pc:spChg chg="mod">
          <ac:chgData name="Lia Taylor" userId="2ccad05f-5017-4e2b-87e4-bbc6d22f4e64" providerId="ADAL" clId="{F700537D-3675-41CA-A525-EB2E79DB2D9A}" dt="2018-12-07T22:23:03.572" v="3215" actId="1076"/>
          <ac:spMkLst>
            <pc:docMk/>
            <pc:sldMk cId="2945519729" sldId="8127"/>
            <ac:spMk id="58" creationId="{ED7407E5-ABE1-41AE-85EB-6AA24D6890E3}"/>
          </ac:spMkLst>
        </pc:spChg>
        <pc:spChg chg="mod">
          <ac:chgData name="Lia Taylor" userId="2ccad05f-5017-4e2b-87e4-bbc6d22f4e64" providerId="ADAL" clId="{F700537D-3675-41CA-A525-EB2E79DB2D9A}" dt="2018-12-07T22:23:03.572" v="3215" actId="1076"/>
          <ac:spMkLst>
            <pc:docMk/>
            <pc:sldMk cId="2945519729" sldId="8127"/>
            <ac:spMk id="59" creationId="{B7B65848-AF01-480B-BFB5-379CCAD9C393}"/>
          </ac:spMkLst>
        </pc:spChg>
        <pc:spChg chg="mod">
          <ac:chgData name="Lia Taylor" userId="2ccad05f-5017-4e2b-87e4-bbc6d22f4e64" providerId="ADAL" clId="{F700537D-3675-41CA-A525-EB2E79DB2D9A}" dt="2018-12-07T22:23:03.572" v="3215" actId="1076"/>
          <ac:spMkLst>
            <pc:docMk/>
            <pc:sldMk cId="2945519729" sldId="8127"/>
            <ac:spMk id="60" creationId="{BA90F8B4-A0DA-40B8-A9CD-2048FA18E1A9}"/>
          </ac:spMkLst>
        </pc:spChg>
        <pc:spChg chg="mod">
          <ac:chgData name="Lia Taylor" userId="2ccad05f-5017-4e2b-87e4-bbc6d22f4e64" providerId="ADAL" clId="{F700537D-3675-41CA-A525-EB2E79DB2D9A}" dt="2018-12-07T22:23:03.572" v="3215" actId="1076"/>
          <ac:spMkLst>
            <pc:docMk/>
            <pc:sldMk cId="2945519729" sldId="8127"/>
            <ac:spMk id="61" creationId="{5CDD0544-39A6-448E-B5D8-BDF14467B2CA}"/>
          </ac:spMkLst>
        </pc:spChg>
        <pc:spChg chg="mod">
          <ac:chgData name="Lia Taylor" userId="2ccad05f-5017-4e2b-87e4-bbc6d22f4e64" providerId="ADAL" clId="{F700537D-3675-41CA-A525-EB2E79DB2D9A}" dt="2018-12-07T22:23:03.572" v="3215" actId="1076"/>
          <ac:spMkLst>
            <pc:docMk/>
            <pc:sldMk cId="2945519729" sldId="8127"/>
            <ac:spMk id="62" creationId="{4BBC63B5-5DE6-4E4F-8F9C-1E62A9B561D0}"/>
          </ac:spMkLst>
        </pc:spChg>
        <pc:spChg chg="mod">
          <ac:chgData name="Lia Taylor" userId="2ccad05f-5017-4e2b-87e4-bbc6d22f4e64" providerId="ADAL" clId="{F700537D-3675-41CA-A525-EB2E79DB2D9A}" dt="2018-12-07T22:23:03.572" v="3215" actId="1076"/>
          <ac:spMkLst>
            <pc:docMk/>
            <pc:sldMk cId="2945519729" sldId="8127"/>
            <ac:spMk id="63" creationId="{FA33229B-6C37-486F-980B-525122C9907B}"/>
          </ac:spMkLst>
        </pc:spChg>
        <pc:spChg chg="mod">
          <ac:chgData name="Lia Taylor" userId="2ccad05f-5017-4e2b-87e4-bbc6d22f4e64" providerId="ADAL" clId="{F700537D-3675-41CA-A525-EB2E79DB2D9A}" dt="2018-12-09T19:16:21.059" v="4106" actId="14100"/>
          <ac:spMkLst>
            <pc:docMk/>
            <pc:sldMk cId="2945519729" sldId="8127"/>
            <ac:spMk id="64" creationId="{104910E9-169B-4499-9156-FA10704C252F}"/>
          </ac:spMkLst>
        </pc:spChg>
        <pc:spChg chg="mod">
          <ac:chgData name="Lia Taylor" userId="2ccad05f-5017-4e2b-87e4-bbc6d22f4e64" providerId="ADAL" clId="{F700537D-3675-41CA-A525-EB2E79DB2D9A}" dt="2018-12-07T22:23:03.572" v="3215" actId="1076"/>
          <ac:spMkLst>
            <pc:docMk/>
            <pc:sldMk cId="2945519729" sldId="8127"/>
            <ac:spMk id="65" creationId="{A2E66846-CFCF-4FAD-86FC-CD0C73112410}"/>
          </ac:spMkLst>
        </pc:spChg>
        <pc:spChg chg="mod">
          <ac:chgData name="Lia Taylor" userId="2ccad05f-5017-4e2b-87e4-bbc6d22f4e64" providerId="ADAL" clId="{F700537D-3675-41CA-A525-EB2E79DB2D9A}" dt="2018-12-07T22:23:03.572" v="3215" actId="1076"/>
          <ac:spMkLst>
            <pc:docMk/>
            <pc:sldMk cId="2945519729" sldId="8127"/>
            <ac:spMk id="66" creationId="{4358A7E5-64EA-4F07-B760-E5F36ED16DF6}"/>
          </ac:spMkLst>
        </pc:spChg>
        <pc:spChg chg="mod">
          <ac:chgData name="Lia Taylor" userId="2ccad05f-5017-4e2b-87e4-bbc6d22f4e64" providerId="ADAL" clId="{F700537D-3675-41CA-A525-EB2E79DB2D9A}" dt="2018-12-07T22:23:03.572" v="3215" actId="1076"/>
          <ac:spMkLst>
            <pc:docMk/>
            <pc:sldMk cId="2945519729" sldId="8127"/>
            <ac:spMk id="68" creationId="{DD18E607-8275-48F9-938D-C28218E99BDF}"/>
          </ac:spMkLst>
        </pc:spChg>
        <pc:cxnChg chg="mod">
          <ac:chgData name="Lia Taylor" userId="2ccad05f-5017-4e2b-87e4-bbc6d22f4e64" providerId="ADAL" clId="{F700537D-3675-41CA-A525-EB2E79DB2D9A}" dt="2018-12-09T18:41:11.164" v="3434" actId="1076"/>
          <ac:cxnSpMkLst>
            <pc:docMk/>
            <pc:sldMk cId="2945519729" sldId="8127"/>
            <ac:cxnSpMk id="4" creationId="{2BAFBEFB-CBA9-4EDF-ADEB-1D9374DF6527}"/>
          </ac:cxnSpMkLst>
        </pc:cxnChg>
        <pc:cxnChg chg="mod">
          <ac:chgData name="Lia Taylor" userId="2ccad05f-5017-4e2b-87e4-bbc6d22f4e64" providerId="ADAL" clId="{F700537D-3675-41CA-A525-EB2E79DB2D9A}" dt="2018-12-07T22:23:03.572" v="3215" actId="1076"/>
          <ac:cxnSpMkLst>
            <pc:docMk/>
            <pc:sldMk cId="2945519729" sldId="8127"/>
            <ac:cxnSpMk id="54" creationId="{C63C38F4-5544-4E42-93AE-9BB4593BE35F}"/>
          </ac:cxnSpMkLst>
        </pc:cxnChg>
        <pc:cxnChg chg="mod">
          <ac:chgData name="Lia Taylor" userId="2ccad05f-5017-4e2b-87e4-bbc6d22f4e64" providerId="ADAL" clId="{F700537D-3675-41CA-A525-EB2E79DB2D9A}" dt="2018-12-09T18:41:02.074" v="3433" actId="1076"/>
          <ac:cxnSpMkLst>
            <pc:docMk/>
            <pc:sldMk cId="2945519729" sldId="8127"/>
            <ac:cxnSpMk id="67" creationId="{838297AD-8FE7-47E5-ABB3-F6B7EA161775}"/>
          </ac:cxnSpMkLst>
        </pc:cxnChg>
      </pc:sldChg>
      <pc:sldChg chg="del">
        <pc:chgData name="Lia Taylor" userId="2ccad05f-5017-4e2b-87e4-bbc6d22f4e64" providerId="ADAL" clId="{F700537D-3675-41CA-A525-EB2E79DB2D9A}" dt="2018-12-07T22:40:03.351" v="3256" actId="2696"/>
        <pc:sldMkLst>
          <pc:docMk/>
          <pc:sldMk cId="1520678876" sldId="8129"/>
        </pc:sldMkLst>
      </pc:sldChg>
      <pc:sldChg chg="delSp modSp ord">
        <pc:chgData name="Lia Taylor" userId="2ccad05f-5017-4e2b-87e4-bbc6d22f4e64" providerId="ADAL" clId="{F700537D-3675-41CA-A525-EB2E79DB2D9A}" dt="2018-12-09T19:16:46.554" v="4109" actId="207"/>
        <pc:sldMkLst>
          <pc:docMk/>
          <pc:sldMk cId="3100949915" sldId="8130"/>
        </pc:sldMkLst>
        <pc:spChg chg="mod">
          <ac:chgData name="Lia Taylor" userId="2ccad05f-5017-4e2b-87e4-bbc6d22f4e64" providerId="ADAL" clId="{F700537D-3675-41CA-A525-EB2E79DB2D9A}" dt="2018-12-05T18:33:29.019" v="787" actId="14100"/>
          <ac:spMkLst>
            <pc:docMk/>
            <pc:sldMk cId="3100949915" sldId="8130"/>
            <ac:spMk id="5" creationId="{00000000-0000-0000-0000-000000000000}"/>
          </ac:spMkLst>
        </pc:spChg>
        <pc:spChg chg="mod">
          <ac:chgData name="Lia Taylor" userId="2ccad05f-5017-4e2b-87e4-bbc6d22f4e64" providerId="ADAL" clId="{F700537D-3675-41CA-A525-EB2E79DB2D9A}" dt="2018-12-09T19:16:46.554" v="4109" actId="207"/>
          <ac:spMkLst>
            <pc:docMk/>
            <pc:sldMk cId="3100949915" sldId="8130"/>
            <ac:spMk id="7" creationId="{ADD83DDE-6E17-497D-8F3E-A0E834B5227B}"/>
          </ac:spMkLst>
        </pc:spChg>
        <pc:spChg chg="del mod">
          <ac:chgData name="Lia Taylor" userId="2ccad05f-5017-4e2b-87e4-bbc6d22f4e64" providerId="ADAL" clId="{F700537D-3675-41CA-A525-EB2E79DB2D9A}" dt="2018-12-09T18:47:04.834" v="3496" actId="478"/>
          <ac:spMkLst>
            <pc:docMk/>
            <pc:sldMk cId="3100949915" sldId="8130"/>
            <ac:spMk id="9" creationId="{1941BD5B-8C2A-442E-BD03-297F26C0E557}"/>
          </ac:spMkLst>
        </pc:spChg>
        <pc:spChg chg="mod">
          <ac:chgData name="Lia Taylor" userId="2ccad05f-5017-4e2b-87e4-bbc6d22f4e64" providerId="ADAL" clId="{F700537D-3675-41CA-A525-EB2E79DB2D9A}" dt="2018-12-05T18:25:21.398" v="684" actId="2711"/>
          <ac:spMkLst>
            <pc:docMk/>
            <pc:sldMk cId="3100949915" sldId="8130"/>
            <ac:spMk id="12" creationId="{F7FFF5F5-12B3-4056-9516-8C06313C82B9}"/>
          </ac:spMkLst>
        </pc:spChg>
      </pc:sldChg>
      <pc:sldChg chg="addSp modSp mod setBg">
        <pc:chgData name="Lia Taylor" userId="2ccad05f-5017-4e2b-87e4-bbc6d22f4e64" providerId="ADAL" clId="{F700537D-3675-41CA-A525-EB2E79DB2D9A}" dt="2018-12-09T19:13:48.236" v="4097" actId="26606"/>
        <pc:sldMkLst>
          <pc:docMk/>
          <pc:sldMk cId="1301183547" sldId="8131"/>
        </pc:sldMkLst>
        <pc:spChg chg="mod">
          <ac:chgData name="Lia Taylor" userId="2ccad05f-5017-4e2b-87e4-bbc6d22f4e64" providerId="ADAL" clId="{F700537D-3675-41CA-A525-EB2E79DB2D9A}" dt="2018-12-09T19:13:48.236" v="4097" actId="26606"/>
          <ac:spMkLst>
            <pc:docMk/>
            <pc:sldMk cId="1301183547" sldId="8131"/>
            <ac:spMk id="2" creationId="{A9C67AE9-1733-4285-B569-33A68F7FB594}"/>
          </ac:spMkLst>
        </pc:spChg>
        <pc:spChg chg="add">
          <ac:chgData name="Lia Taylor" userId="2ccad05f-5017-4e2b-87e4-bbc6d22f4e64" providerId="ADAL" clId="{F700537D-3675-41CA-A525-EB2E79DB2D9A}" dt="2018-12-09T19:13:48.236" v="4097" actId="26606"/>
          <ac:spMkLst>
            <pc:docMk/>
            <pc:sldMk cId="1301183547" sldId="8131"/>
            <ac:spMk id="7" creationId="{23207CC6-EAA1-4BFF-A48A-DECAD8972717}"/>
          </ac:spMkLst>
        </pc:spChg>
        <pc:spChg chg="add">
          <ac:chgData name="Lia Taylor" userId="2ccad05f-5017-4e2b-87e4-bbc6d22f4e64" providerId="ADAL" clId="{F700537D-3675-41CA-A525-EB2E79DB2D9A}" dt="2018-12-09T19:13:48.236" v="4097" actId="26606"/>
          <ac:spMkLst>
            <pc:docMk/>
            <pc:sldMk cId="1301183547" sldId="8131"/>
            <ac:spMk id="9" creationId="{B234A3DD-923D-4166-8B19-7DD589908C68}"/>
          </ac:spMkLst>
        </pc:spChg>
        <pc:spChg chg="add">
          <ac:chgData name="Lia Taylor" userId="2ccad05f-5017-4e2b-87e4-bbc6d22f4e64" providerId="ADAL" clId="{F700537D-3675-41CA-A525-EB2E79DB2D9A}" dt="2018-12-09T19:13:48.236" v="4097" actId="26606"/>
          <ac:spMkLst>
            <pc:docMk/>
            <pc:sldMk cId="1301183547" sldId="8131"/>
            <ac:spMk id="11" creationId="{F6ACA5AC-3C5D-4994-B40F-FC8349E4D6F4}"/>
          </ac:spMkLst>
        </pc:spChg>
      </pc:sldChg>
      <pc:sldChg chg="delSp modSp ord">
        <pc:chgData name="Lia Taylor" userId="2ccad05f-5017-4e2b-87e4-bbc6d22f4e64" providerId="ADAL" clId="{F700537D-3675-41CA-A525-EB2E79DB2D9A}" dt="2018-12-09T18:50:46.445" v="3528" actId="207"/>
        <pc:sldMkLst>
          <pc:docMk/>
          <pc:sldMk cId="2947830414" sldId="8132"/>
        </pc:sldMkLst>
        <pc:spChg chg="del">
          <ac:chgData name="Lia Taylor" userId="2ccad05f-5017-4e2b-87e4-bbc6d22f4e64" providerId="ADAL" clId="{F700537D-3675-41CA-A525-EB2E79DB2D9A}" dt="2018-12-09T18:43:44.526" v="3457" actId="478"/>
          <ac:spMkLst>
            <pc:docMk/>
            <pc:sldMk cId="2947830414" sldId="8132"/>
            <ac:spMk id="18" creationId="{90686D31-5EF5-4E68-9DEB-05591C278B1F}"/>
          </ac:spMkLst>
        </pc:spChg>
        <pc:spChg chg="mod">
          <ac:chgData name="Lia Taylor" userId="2ccad05f-5017-4e2b-87e4-bbc6d22f4e64" providerId="ADAL" clId="{F700537D-3675-41CA-A525-EB2E79DB2D9A}" dt="2018-12-09T18:50:46.445" v="3528" actId="207"/>
          <ac:spMkLst>
            <pc:docMk/>
            <pc:sldMk cId="2947830414" sldId="8132"/>
            <ac:spMk id="20" creationId="{70CD788A-181C-4413-89DA-25602E0553ED}"/>
          </ac:spMkLst>
        </pc:spChg>
      </pc:sldChg>
      <pc:sldChg chg="addSp delSp modSp add del ord modAnim">
        <pc:chgData name="Lia Taylor" userId="2ccad05f-5017-4e2b-87e4-bbc6d22f4e64" providerId="ADAL" clId="{F700537D-3675-41CA-A525-EB2E79DB2D9A}" dt="2018-12-10T21:32:43.163" v="4463" actId="2696"/>
        <pc:sldMkLst>
          <pc:docMk/>
          <pc:sldMk cId="3662301775" sldId="8133"/>
        </pc:sldMkLst>
        <pc:spChg chg="del">
          <ac:chgData name="Lia Taylor" userId="2ccad05f-5017-4e2b-87e4-bbc6d22f4e64" providerId="ADAL" clId="{F700537D-3675-41CA-A525-EB2E79DB2D9A}" dt="2018-12-04T23:13:20.173" v="54" actId="478"/>
          <ac:spMkLst>
            <pc:docMk/>
            <pc:sldMk cId="3662301775" sldId="8133"/>
            <ac:spMk id="37" creationId="{A5729375-DEC4-4961-B432-C80F29B692E9}"/>
          </ac:spMkLst>
        </pc:spChg>
        <pc:spChg chg="del">
          <ac:chgData name="Lia Taylor" userId="2ccad05f-5017-4e2b-87e4-bbc6d22f4e64" providerId="ADAL" clId="{F700537D-3675-41CA-A525-EB2E79DB2D9A}" dt="2018-12-04T23:13:20.173" v="54" actId="478"/>
          <ac:spMkLst>
            <pc:docMk/>
            <pc:sldMk cId="3662301775" sldId="8133"/>
            <ac:spMk id="38" creationId="{B7E94C4F-FB35-4946-BB15-E5AE315D9B09}"/>
          </ac:spMkLst>
        </pc:spChg>
        <pc:spChg chg="mod">
          <ac:chgData name="Lia Taylor" userId="2ccad05f-5017-4e2b-87e4-bbc6d22f4e64" providerId="ADAL" clId="{F700537D-3675-41CA-A525-EB2E79DB2D9A}" dt="2018-12-04T23:22:18.949" v="178" actId="20577"/>
          <ac:spMkLst>
            <pc:docMk/>
            <pc:sldMk cId="3662301775" sldId="8133"/>
            <ac:spMk id="39" creationId="{67ACED00-315A-4DDD-B655-180CEFCCC74F}"/>
          </ac:spMkLst>
        </pc:spChg>
        <pc:spChg chg="del">
          <ac:chgData name="Lia Taylor" userId="2ccad05f-5017-4e2b-87e4-bbc6d22f4e64" providerId="ADAL" clId="{F700537D-3675-41CA-A525-EB2E79DB2D9A}" dt="2018-12-04T23:13:20.173" v="54" actId="478"/>
          <ac:spMkLst>
            <pc:docMk/>
            <pc:sldMk cId="3662301775" sldId="8133"/>
            <ac:spMk id="40" creationId="{3FA6426D-C782-4F62-8986-8F0007343873}"/>
          </ac:spMkLst>
        </pc:spChg>
        <pc:spChg chg="del">
          <ac:chgData name="Lia Taylor" userId="2ccad05f-5017-4e2b-87e4-bbc6d22f4e64" providerId="ADAL" clId="{F700537D-3675-41CA-A525-EB2E79DB2D9A}" dt="2018-12-04T23:13:20.173" v="54" actId="478"/>
          <ac:spMkLst>
            <pc:docMk/>
            <pc:sldMk cId="3662301775" sldId="8133"/>
            <ac:spMk id="41" creationId="{C03C44AA-CEFE-46FB-B49B-F78648E67924}"/>
          </ac:spMkLst>
        </pc:spChg>
        <pc:spChg chg="del">
          <ac:chgData name="Lia Taylor" userId="2ccad05f-5017-4e2b-87e4-bbc6d22f4e64" providerId="ADAL" clId="{F700537D-3675-41CA-A525-EB2E79DB2D9A}" dt="2018-12-04T23:13:20.173" v="54" actId="478"/>
          <ac:spMkLst>
            <pc:docMk/>
            <pc:sldMk cId="3662301775" sldId="8133"/>
            <ac:spMk id="42" creationId="{145E2835-B558-4722-8A4D-70BDB4DEE7AE}"/>
          </ac:spMkLst>
        </pc:spChg>
        <pc:spChg chg="del">
          <ac:chgData name="Lia Taylor" userId="2ccad05f-5017-4e2b-87e4-bbc6d22f4e64" providerId="ADAL" clId="{F700537D-3675-41CA-A525-EB2E79DB2D9A}" dt="2018-12-04T23:13:20.173" v="54" actId="478"/>
          <ac:spMkLst>
            <pc:docMk/>
            <pc:sldMk cId="3662301775" sldId="8133"/>
            <ac:spMk id="43" creationId="{CFB14155-B869-4775-A10C-F06CBEFDBBA3}"/>
          </ac:spMkLst>
        </pc:spChg>
        <pc:spChg chg="del">
          <ac:chgData name="Lia Taylor" userId="2ccad05f-5017-4e2b-87e4-bbc6d22f4e64" providerId="ADAL" clId="{F700537D-3675-41CA-A525-EB2E79DB2D9A}" dt="2018-12-04T23:13:20.173" v="54" actId="478"/>
          <ac:spMkLst>
            <pc:docMk/>
            <pc:sldMk cId="3662301775" sldId="8133"/>
            <ac:spMk id="44" creationId="{93013CA2-FD88-4D4B-B0F9-8EF6A416BECA}"/>
          </ac:spMkLst>
        </pc:spChg>
        <pc:spChg chg="del">
          <ac:chgData name="Lia Taylor" userId="2ccad05f-5017-4e2b-87e4-bbc6d22f4e64" providerId="ADAL" clId="{F700537D-3675-41CA-A525-EB2E79DB2D9A}" dt="2018-12-04T23:13:20.173" v="54" actId="478"/>
          <ac:spMkLst>
            <pc:docMk/>
            <pc:sldMk cId="3662301775" sldId="8133"/>
            <ac:spMk id="78" creationId="{CBE54102-70F6-42BD-86FC-4D8E52C2DFAC}"/>
          </ac:spMkLst>
        </pc:spChg>
        <pc:spChg chg="del">
          <ac:chgData name="Lia Taylor" userId="2ccad05f-5017-4e2b-87e4-bbc6d22f4e64" providerId="ADAL" clId="{F700537D-3675-41CA-A525-EB2E79DB2D9A}" dt="2018-12-04T23:13:20.173" v="54" actId="478"/>
          <ac:spMkLst>
            <pc:docMk/>
            <pc:sldMk cId="3662301775" sldId="8133"/>
            <ac:spMk id="79" creationId="{2C8C9085-D6BF-4C11-9001-AF8F7B2367DA}"/>
          </ac:spMkLst>
        </pc:spChg>
        <pc:spChg chg="del">
          <ac:chgData name="Lia Taylor" userId="2ccad05f-5017-4e2b-87e4-bbc6d22f4e64" providerId="ADAL" clId="{F700537D-3675-41CA-A525-EB2E79DB2D9A}" dt="2018-12-04T23:13:20.173" v="54" actId="478"/>
          <ac:spMkLst>
            <pc:docMk/>
            <pc:sldMk cId="3662301775" sldId="8133"/>
            <ac:spMk id="88" creationId="{4879ABEE-B163-43D6-9AE7-32A93E2F056B}"/>
          </ac:spMkLst>
        </pc:spChg>
        <pc:spChg chg="del">
          <ac:chgData name="Lia Taylor" userId="2ccad05f-5017-4e2b-87e4-bbc6d22f4e64" providerId="ADAL" clId="{F700537D-3675-41CA-A525-EB2E79DB2D9A}" dt="2018-12-04T23:13:20.173" v="54" actId="478"/>
          <ac:spMkLst>
            <pc:docMk/>
            <pc:sldMk cId="3662301775" sldId="8133"/>
            <ac:spMk id="98" creationId="{94BB6C61-BF27-4C32-A977-FD9DAF4F538D}"/>
          </ac:spMkLst>
        </pc:spChg>
        <pc:spChg chg="del">
          <ac:chgData name="Lia Taylor" userId="2ccad05f-5017-4e2b-87e4-bbc6d22f4e64" providerId="ADAL" clId="{F700537D-3675-41CA-A525-EB2E79DB2D9A}" dt="2018-12-04T23:13:20.173" v="54" actId="478"/>
          <ac:spMkLst>
            <pc:docMk/>
            <pc:sldMk cId="3662301775" sldId="8133"/>
            <ac:spMk id="99" creationId="{4BF55C02-FCA1-4ADB-B1E7-0BE02F56098B}"/>
          </ac:spMkLst>
        </pc:spChg>
        <pc:spChg chg="del">
          <ac:chgData name="Lia Taylor" userId="2ccad05f-5017-4e2b-87e4-bbc6d22f4e64" providerId="ADAL" clId="{F700537D-3675-41CA-A525-EB2E79DB2D9A}" dt="2018-12-04T23:13:20.173" v="54" actId="478"/>
          <ac:spMkLst>
            <pc:docMk/>
            <pc:sldMk cId="3662301775" sldId="8133"/>
            <ac:spMk id="100" creationId="{A077B7CC-148B-4ABE-99A1-D8F1103A6767}"/>
          </ac:spMkLst>
        </pc:spChg>
        <pc:spChg chg="del">
          <ac:chgData name="Lia Taylor" userId="2ccad05f-5017-4e2b-87e4-bbc6d22f4e64" providerId="ADAL" clId="{F700537D-3675-41CA-A525-EB2E79DB2D9A}" dt="2018-12-04T23:13:20.173" v="54" actId="478"/>
          <ac:spMkLst>
            <pc:docMk/>
            <pc:sldMk cId="3662301775" sldId="8133"/>
            <ac:spMk id="101" creationId="{B14BDABD-D930-40E5-BED2-84DCD9443218}"/>
          </ac:spMkLst>
        </pc:spChg>
        <pc:spChg chg="del">
          <ac:chgData name="Lia Taylor" userId="2ccad05f-5017-4e2b-87e4-bbc6d22f4e64" providerId="ADAL" clId="{F700537D-3675-41CA-A525-EB2E79DB2D9A}" dt="2018-12-04T23:13:20.173" v="54" actId="478"/>
          <ac:spMkLst>
            <pc:docMk/>
            <pc:sldMk cId="3662301775" sldId="8133"/>
            <ac:spMk id="102" creationId="{B74BB8A9-A723-41E5-9EB4-ED52EBA2A4FF}"/>
          </ac:spMkLst>
        </pc:spChg>
        <pc:spChg chg="del">
          <ac:chgData name="Lia Taylor" userId="2ccad05f-5017-4e2b-87e4-bbc6d22f4e64" providerId="ADAL" clId="{F700537D-3675-41CA-A525-EB2E79DB2D9A}" dt="2018-12-04T23:13:20.173" v="54" actId="478"/>
          <ac:spMkLst>
            <pc:docMk/>
            <pc:sldMk cId="3662301775" sldId="8133"/>
            <ac:spMk id="103" creationId="{C30A950D-3D08-4C44-8555-EAAAB2175D43}"/>
          </ac:spMkLst>
        </pc:spChg>
        <pc:spChg chg="del">
          <ac:chgData name="Lia Taylor" userId="2ccad05f-5017-4e2b-87e4-bbc6d22f4e64" providerId="ADAL" clId="{F700537D-3675-41CA-A525-EB2E79DB2D9A}" dt="2018-12-04T23:13:20.173" v="54" actId="478"/>
          <ac:spMkLst>
            <pc:docMk/>
            <pc:sldMk cId="3662301775" sldId="8133"/>
            <ac:spMk id="104" creationId="{A209C794-E6BE-486D-BDDC-9099335A0D24}"/>
          </ac:spMkLst>
        </pc:spChg>
        <pc:spChg chg="del">
          <ac:chgData name="Lia Taylor" userId="2ccad05f-5017-4e2b-87e4-bbc6d22f4e64" providerId="ADAL" clId="{F700537D-3675-41CA-A525-EB2E79DB2D9A}" dt="2018-12-04T23:13:20.173" v="54" actId="478"/>
          <ac:spMkLst>
            <pc:docMk/>
            <pc:sldMk cId="3662301775" sldId="8133"/>
            <ac:spMk id="105" creationId="{D796EE16-7CAA-46A0-B4B7-9A7E7630666F}"/>
          </ac:spMkLst>
        </pc:spChg>
        <pc:spChg chg="del">
          <ac:chgData name="Lia Taylor" userId="2ccad05f-5017-4e2b-87e4-bbc6d22f4e64" providerId="ADAL" clId="{F700537D-3675-41CA-A525-EB2E79DB2D9A}" dt="2018-12-04T23:13:20.173" v="54" actId="478"/>
          <ac:spMkLst>
            <pc:docMk/>
            <pc:sldMk cId="3662301775" sldId="8133"/>
            <ac:spMk id="106" creationId="{04D275D8-6BB7-4313-9C1F-AF31B86156AC}"/>
          </ac:spMkLst>
        </pc:spChg>
        <pc:spChg chg="del">
          <ac:chgData name="Lia Taylor" userId="2ccad05f-5017-4e2b-87e4-bbc6d22f4e64" providerId="ADAL" clId="{F700537D-3675-41CA-A525-EB2E79DB2D9A}" dt="2018-12-04T23:13:20.173" v="54" actId="478"/>
          <ac:spMkLst>
            <pc:docMk/>
            <pc:sldMk cId="3662301775" sldId="8133"/>
            <ac:spMk id="107" creationId="{AAD260C3-C789-498B-9439-050CBDE02D07}"/>
          </ac:spMkLst>
        </pc:spChg>
        <pc:spChg chg="del">
          <ac:chgData name="Lia Taylor" userId="2ccad05f-5017-4e2b-87e4-bbc6d22f4e64" providerId="ADAL" clId="{F700537D-3675-41CA-A525-EB2E79DB2D9A}" dt="2018-12-04T23:13:20.173" v="54" actId="478"/>
          <ac:spMkLst>
            <pc:docMk/>
            <pc:sldMk cId="3662301775" sldId="8133"/>
            <ac:spMk id="108" creationId="{D28664B1-EA8D-459C-8E39-181FBEE19A1F}"/>
          </ac:spMkLst>
        </pc:spChg>
        <pc:spChg chg="del">
          <ac:chgData name="Lia Taylor" userId="2ccad05f-5017-4e2b-87e4-bbc6d22f4e64" providerId="ADAL" clId="{F700537D-3675-41CA-A525-EB2E79DB2D9A}" dt="2018-12-04T23:13:20.173" v="54" actId="478"/>
          <ac:spMkLst>
            <pc:docMk/>
            <pc:sldMk cId="3662301775" sldId="8133"/>
            <ac:spMk id="109" creationId="{86AE8F59-61FC-4126-B447-E655CBE5E80D}"/>
          </ac:spMkLst>
        </pc:spChg>
        <pc:spChg chg="del">
          <ac:chgData name="Lia Taylor" userId="2ccad05f-5017-4e2b-87e4-bbc6d22f4e64" providerId="ADAL" clId="{F700537D-3675-41CA-A525-EB2E79DB2D9A}" dt="2018-12-04T23:13:20.173" v="54" actId="478"/>
          <ac:spMkLst>
            <pc:docMk/>
            <pc:sldMk cId="3662301775" sldId="8133"/>
            <ac:spMk id="110" creationId="{6E9EC6C3-FE48-40C6-BC07-88539D039CC7}"/>
          </ac:spMkLst>
        </pc:spChg>
        <pc:spChg chg="del">
          <ac:chgData name="Lia Taylor" userId="2ccad05f-5017-4e2b-87e4-bbc6d22f4e64" providerId="ADAL" clId="{F700537D-3675-41CA-A525-EB2E79DB2D9A}" dt="2018-12-04T23:13:20.173" v="54" actId="478"/>
          <ac:spMkLst>
            <pc:docMk/>
            <pc:sldMk cId="3662301775" sldId="8133"/>
            <ac:spMk id="150" creationId="{8DF39412-A21B-4AB1-A117-0E56903B89C8}"/>
          </ac:spMkLst>
        </pc:spChg>
        <pc:spChg chg="del">
          <ac:chgData name="Lia Taylor" userId="2ccad05f-5017-4e2b-87e4-bbc6d22f4e64" providerId="ADAL" clId="{F700537D-3675-41CA-A525-EB2E79DB2D9A}" dt="2018-12-04T23:13:20.173" v="54" actId="478"/>
          <ac:spMkLst>
            <pc:docMk/>
            <pc:sldMk cId="3662301775" sldId="8133"/>
            <ac:spMk id="151" creationId="{71745038-E413-400E-867C-27AA38A85A2A}"/>
          </ac:spMkLst>
        </pc:spChg>
        <pc:spChg chg="del">
          <ac:chgData name="Lia Taylor" userId="2ccad05f-5017-4e2b-87e4-bbc6d22f4e64" providerId="ADAL" clId="{F700537D-3675-41CA-A525-EB2E79DB2D9A}" dt="2018-12-04T23:13:20.173" v="54" actId="478"/>
          <ac:spMkLst>
            <pc:docMk/>
            <pc:sldMk cId="3662301775" sldId="8133"/>
            <ac:spMk id="152" creationId="{A9D3805E-6059-4559-A33B-659C0001206D}"/>
          </ac:spMkLst>
        </pc:spChg>
        <pc:spChg chg="del">
          <ac:chgData name="Lia Taylor" userId="2ccad05f-5017-4e2b-87e4-bbc6d22f4e64" providerId="ADAL" clId="{F700537D-3675-41CA-A525-EB2E79DB2D9A}" dt="2018-12-04T23:13:20.173" v="54" actId="478"/>
          <ac:spMkLst>
            <pc:docMk/>
            <pc:sldMk cId="3662301775" sldId="8133"/>
            <ac:spMk id="153" creationId="{E6742750-81A9-4DCF-A3A5-2237D3D49CFF}"/>
          </ac:spMkLst>
        </pc:spChg>
        <pc:spChg chg="del">
          <ac:chgData name="Lia Taylor" userId="2ccad05f-5017-4e2b-87e4-bbc6d22f4e64" providerId="ADAL" clId="{F700537D-3675-41CA-A525-EB2E79DB2D9A}" dt="2018-12-04T23:13:20.173" v="54" actId="478"/>
          <ac:spMkLst>
            <pc:docMk/>
            <pc:sldMk cId="3662301775" sldId="8133"/>
            <ac:spMk id="154" creationId="{04640627-727E-4B90-A467-62AE3C934550}"/>
          </ac:spMkLst>
        </pc:spChg>
        <pc:spChg chg="del">
          <ac:chgData name="Lia Taylor" userId="2ccad05f-5017-4e2b-87e4-bbc6d22f4e64" providerId="ADAL" clId="{F700537D-3675-41CA-A525-EB2E79DB2D9A}" dt="2018-12-04T23:13:20.173" v="54" actId="478"/>
          <ac:spMkLst>
            <pc:docMk/>
            <pc:sldMk cId="3662301775" sldId="8133"/>
            <ac:spMk id="155" creationId="{141987AE-1665-40DF-8CFD-012D0EB98CE2}"/>
          </ac:spMkLst>
        </pc:spChg>
        <pc:spChg chg="del">
          <ac:chgData name="Lia Taylor" userId="2ccad05f-5017-4e2b-87e4-bbc6d22f4e64" providerId="ADAL" clId="{F700537D-3675-41CA-A525-EB2E79DB2D9A}" dt="2018-12-04T23:13:20.173" v="54" actId="478"/>
          <ac:spMkLst>
            <pc:docMk/>
            <pc:sldMk cId="3662301775" sldId="8133"/>
            <ac:spMk id="156" creationId="{840C364E-47B6-4064-B0CA-7F4C78BCAAB3}"/>
          </ac:spMkLst>
        </pc:spChg>
        <pc:spChg chg="del">
          <ac:chgData name="Lia Taylor" userId="2ccad05f-5017-4e2b-87e4-bbc6d22f4e64" providerId="ADAL" clId="{F700537D-3675-41CA-A525-EB2E79DB2D9A}" dt="2018-12-04T23:13:20.173" v="54" actId="478"/>
          <ac:spMkLst>
            <pc:docMk/>
            <pc:sldMk cId="3662301775" sldId="8133"/>
            <ac:spMk id="157" creationId="{676DEF3D-3507-4114-848F-AF320A79F345}"/>
          </ac:spMkLst>
        </pc:spChg>
        <pc:spChg chg="del">
          <ac:chgData name="Lia Taylor" userId="2ccad05f-5017-4e2b-87e4-bbc6d22f4e64" providerId="ADAL" clId="{F700537D-3675-41CA-A525-EB2E79DB2D9A}" dt="2018-12-04T23:13:20.173" v="54" actId="478"/>
          <ac:spMkLst>
            <pc:docMk/>
            <pc:sldMk cId="3662301775" sldId="8133"/>
            <ac:spMk id="158" creationId="{3486131A-32F5-43E3-A7A5-5D1D1D75F7D9}"/>
          </ac:spMkLst>
        </pc:spChg>
        <pc:spChg chg="del">
          <ac:chgData name="Lia Taylor" userId="2ccad05f-5017-4e2b-87e4-bbc6d22f4e64" providerId="ADAL" clId="{F700537D-3675-41CA-A525-EB2E79DB2D9A}" dt="2018-12-04T23:13:20.173" v="54" actId="478"/>
          <ac:spMkLst>
            <pc:docMk/>
            <pc:sldMk cId="3662301775" sldId="8133"/>
            <ac:spMk id="179" creationId="{20BBCEE8-33F5-4857-86B7-BA036CDB9802}"/>
          </ac:spMkLst>
        </pc:spChg>
        <pc:spChg chg="add">
          <ac:chgData name="Lia Taylor" userId="2ccad05f-5017-4e2b-87e4-bbc6d22f4e64" providerId="ADAL" clId="{F700537D-3675-41CA-A525-EB2E79DB2D9A}" dt="2018-12-04T23:13:32.045" v="56"/>
          <ac:spMkLst>
            <pc:docMk/>
            <pc:sldMk cId="3662301775" sldId="8133"/>
            <ac:spMk id="187" creationId="{CE4D90E0-AFC8-44D0-B6DD-9E804477A257}"/>
          </ac:spMkLst>
        </pc:spChg>
        <pc:spChg chg="add">
          <ac:chgData name="Lia Taylor" userId="2ccad05f-5017-4e2b-87e4-bbc6d22f4e64" providerId="ADAL" clId="{F700537D-3675-41CA-A525-EB2E79DB2D9A}" dt="2018-12-04T23:13:32.045" v="56"/>
          <ac:spMkLst>
            <pc:docMk/>
            <pc:sldMk cId="3662301775" sldId="8133"/>
            <ac:spMk id="188" creationId="{63FAEA9E-3B45-4FCB-9BD0-3A31D245F869}"/>
          </ac:spMkLst>
        </pc:spChg>
        <pc:spChg chg="add">
          <ac:chgData name="Lia Taylor" userId="2ccad05f-5017-4e2b-87e4-bbc6d22f4e64" providerId="ADAL" clId="{F700537D-3675-41CA-A525-EB2E79DB2D9A}" dt="2018-12-04T23:13:32.045" v="56"/>
          <ac:spMkLst>
            <pc:docMk/>
            <pc:sldMk cId="3662301775" sldId="8133"/>
            <ac:spMk id="189" creationId="{CF3FCBDF-0349-4739-A4BB-606E9EF41A6E}"/>
          </ac:spMkLst>
        </pc:spChg>
        <pc:spChg chg="add">
          <ac:chgData name="Lia Taylor" userId="2ccad05f-5017-4e2b-87e4-bbc6d22f4e64" providerId="ADAL" clId="{F700537D-3675-41CA-A525-EB2E79DB2D9A}" dt="2018-12-04T23:13:32.045" v="56"/>
          <ac:spMkLst>
            <pc:docMk/>
            <pc:sldMk cId="3662301775" sldId="8133"/>
            <ac:spMk id="190" creationId="{9AB343B9-9112-4619-9953-458B03BC7D02}"/>
          </ac:spMkLst>
        </pc:spChg>
        <pc:spChg chg="add">
          <ac:chgData name="Lia Taylor" userId="2ccad05f-5017-4e2b-87e4-bbc6d22f4e64" providerId="ADAL" clId="{F700537D-3675-41CA-A525-EB2E79DB2D9A}" dt="2018-12-04T23:13:32.045" v="56"/>
          <ac:spMkLst>
            <pc:docMk/>
            <pc:sldMk cId="3662301775" sldId="8133"/>
            <ac:spMk id="216" creationId="{8B1E6E65-CCD7-41B8-B9A7-4370F420FC07}"/>
          </ac:spMkLst>
        </pc:spChg>
        <pc:spChg chg="add">
          <ac:chgData name="Lia Taylor" userId="2ccad05f-5017-4e2b-87e4-bbc6d22f4e64" providerId="ADAL" clId="{F700537D-3675-41CA-A525-EB2E79DB2D9A}" dt="2018-12-04T23:13:32.045" v="56"/>
          <ac:spMkLst>
            <pc:docMk/>
            <pc:sldMk cId="3662301775" sldId="8133"/>
            <ac:spMk id="237" creationId="{4B49B36A-D8B6-43BB-AF3F-D107F9C29A1A}"/>
          </ac:spMkLst>
        </pc:spChg>
        <pc:spChg chg="add">
          <ac:chgData name="Lia Taylor" userId="2ccad05f-5017-4e2b-87e4-bbc6d22f4e64" providerId="ADAL" clId="{F700537D-3675-41CA-A525-EB2E79DB2D9A}" dt="2018-12-04T23:13:32.045" v="56"/>
          <ac:spMkLst>
            <pc:docMk/>
            <pc:sldMk cId="3662301775" sldId="8133"/>
            <ac:spMk id="238" creationId="{FE39383A-4A76-48B8-93CB-F3BD671604AF}"/>
          </ac:spMkLst>
        </pc:spChg>
        <pc:spChg chg="add">
          <ac:chgData name="Lia Taylor" userId="2ccad05f-5017-4e2b-87e4-bbc6d22f4e64" providerId="ADAL" clId="{F700537D-3675-41CA-A525-EB2E79DB2D9A}" dt="2018-12-04T23:13:32.045" v="56"/>
          <ac:spMkLst>
            <pc:docMk/>
            <pc:sldMk cId="3662301775" sldId="8133"/>
            <ac:spMk id="243" creationId="{F68D3C1F-B5C5-474F-9AD1-BFBB5834958D}"/>
          </ac:spMkLst>
        </pc:spChg>
        <pc:spChg chg="add">
          <ac:chgData name="Lia Taylor" userId="2ccad05f-5017-4e2b-87e4-bbc6d22f4e64" providerId="ADAL" clId="{F700537D-3675-41CA-A525-EB2E79DB2D9A}" dt="2018-12-04T23:13:32.045" v="56"/>
          <ac:spMkLst>
            <pc:docMk/>
            <pc:sldMk cId="3662301775" sldId="8133"/>
            <ac:spMk id="244" creationId="{299E1E1B-B906-4CF8-ADA3-D0A831692E79}"/>
          </ac:spMkLst>
        </pc:spChg>
        <pc:spChg chg="add">
          <ac:chgData name="Lia Taylor" userId="2ccad05f-5017-4e2b-87e4-bbc6d22f4e64" providerId="ADAL" clId="{F700537D-3675-41CA-A525-EB2E79DB2D9A}" dt="2018-12-04T23:13:32.045" v="56"/>
          <ac:spMkLst>
            <pc:docMk/>
            <pc:sldMk cId="3662301775" sldId="8133"/>
            <ac:spMk id="265" creationId="{19542246-1B85-4884-B224-EBCC0393D203}"/>
          </ac:spMkLst>
        </pc:spChg>
        <pc:grpChg chg="del">
          <ac:chgData name="Lia Taylor" userId="2ccad05f-5017-4e2b-87e4-bbc6d22f4e64" providerId="ADAL" clId="{F700537D-3675-41CA-A525-EB2E79DB2D9A}" dt="2018-12-04T23:13:20.173" v="54" actId="478"/>
          <ac:grpSpMkLst>
            <pc:docMk/>
            <pc:sldMk cId="3662301775" sldId="8133"/>
            <ac:grpSpMk id="45" creationId="{252E552F-8EF2-43B9-A55A-768F3D15C2B5}"/>
          </ac:grpSpMkLst>
        </pc:grpChg>
        <pc:grpChg chg="del">
          <ac:chgData name="Lia Taylor" userId="2ccad05f-5017-4e2b-87e4-bbc6d22f4e64" providerId="ADAL" clId="{F700537D-3675-41CA-A525-EB2E79DB2D9A}" dt="2018-12-04T23:13:20.173" v="54" actId="478"/>
          <ac:grpSpMkLst>
            <pc:docMk/>
            <pc:sldMk cId="3662301775" sldId="8133"/>
            <ac:grpSpMk id="80" creationId="{74A306FF-0E9D-4E50-B4AC-D69D6E14003C}"/>
          </ac:grpSpMkLst>
        </pc:grpChg>
        <pc:grpChg chg="del">
          <ac:chgData name="Lia Taylor" userId="2ccad05f-5017-4e2b-87e4-bbc6d22f4e64" providerId="ADAL" clId="{F700537D-3675-41CA-A525-EB2E79DB2D9A}" dt="2018-12-04T23:13:20.173" v="54" actId="478"/>
          <ac:grpSpMkLst>
            <pc:docMk/>
            <pc:sldMk cId="3662301775" sldId="8133"/>
            <ac:grpSpMk id="89" creationId="{45C75F1F-6165-4D94-9767-B0EC875A64A9}"/>
          </ac:grpSpMkLst>
        </pc:grpChg>
        <pc:grpChg chg="del">
          <ac:chgData name="Lia Taylor" userId="2ccad05f-5017-4e2b-87e4-bbc6d22f4e64" providerId="ADAL" clId="{F700537D-3675-41CA-A525-EB2E79DB2D9A}" dt="2018-12-04T23:13:20.173" v="54" actId="478"/>
          <ac:grpSpMkLst>
            <pc:docMk/>
            <pc:sldMk cId="3662301775" sldId="8133"/>
            <ac:grpSpMk id="111" creationId="{E765B8A9-5A65-44A0-9AC4-3D138469103C}"/>
          </ac:grpSpMkLst>
        </pc:grpChg>
        <pc:grpChg chg="del">
          <ac:chgData name="Lia Taylor" userId="2ccad05f-5017-4e2b-87e4-bbc6d22f4e64" providerId="ADAL" clId="{F700537D-3675-41CA-A525-EB2E79DB2D9A}" dt="2018-12-04T23:13:20.173" v="54" actId="478"/>
          <ac:grpSpMkLst>
            <pc:docMk/>
            <pc:sldMk cId="3662301775" sldId="8133"/>
            <ac:grpSpMk id="118" creationId="{258BDE98-793B-4822-A1E2-9CE19C1CC5D8}"/>
          </ac:grpSpMkLst>
        </pc:grpChg>
        <pc:grpChg chg="del">
          <ac:chgData name="Lia Taylor" userId="2ccad05f-5017-4e2b-87e4-bbc6d22f4e64" providerId="ADAL" clId="{F700537D-3675-41CA-A525-EB2E79DB2D9A}" dt="2018-12-04T23:13:20.173" v="54" actId="478"/>
          <ac:grpSpMkLst>
            <pc:docMk/>
            <pc:sldMk cId="3662301775" sldId="8133"/>
            <ac:grpSpMk id="124" creationId="{908CD82A-80F0-4CC9-B2C3-F70413E58676}"/>
          </ac:grpSpMkLst>
        </pc:grpChg>
        <pc:grpChg chg="del">
          <ac:chgData name="Lia Taylor" userId="2ccad05f-5017-4e2b-87e4-bbc6d22f4e64" providerId="ADAL" clId="{F700537D-3675-41CA-A525-EB2E79DB2D9A}" dt="2018-12-04T23:13:20.173" v="54" actId="478"/>
          <ac:grpSpMkLst>
            <pc:docMk/>
            <pc:sldMk cId="3662301775" sldId="8133"/>
            <ac:grpSpMk id="159" creationId="{F98762F7-B43E-4369-A392-0B900EA3358E}"/>
          </ac:grpSpMkLst>
        </pc:grpChg>
        <pc:grpChg chg="del">
          <ac:chgData name="Lia Taylor" userId="2ccad05f-5017-4e2b-87e4-bbc6d22f4e64" providerId="ADAL" clId="{F700537D-3675-41CA-A525-EB2E79DB2D9A}" dt="2018-12-04T23:13:20.173" v="54" actId="478"/>
          <ac:grpSpMkLst>
            <pc:docMk/>
            <pc:sldMk cId="3662301775" sldId="8133"/>
            <ac:grpSpMk id="165" creationId="{0468DB48-6AE3-4998-AEF2-D015A4209742}"/>
          </ac:grpSpMkLst>
        </pc:grpChg>
        <pc:grpChg chg="del">
          <ac:chgData name="Lia Taylor" userId="2ccad05f-5017-4e2b-87e4-bbc6d22f4e64" providerId="ADAL" clId="{F700537D-3675-41CA-A525-EB2E79DB2D9A}" dt="2018-12-04T23:13:20.173" v="54" actId="478"/>
          <ac:grpSpMkLst>
            <pc:docMk/>
            <pc:sldMk cId="3662301775" sldId="8133"/>
            <ac:grpSpMk id="181" creationId="{82F59F9A-295A-4F60-A5F7-9D97E35FFBFF}"/>
          </ac:grpSpMkLst>
        </pc:grpChg>
        <pc:grpChg chg="add">
          <ac:chgData name="Lia Taylor" userId="2ccad05f-5017-4e2b-87e4-bbc6d22f4e64" providerId="ADAL" clId="{F700537D-3675-41CA-A525-EB2E79DB2D9A}" dt="2018-12-04T23:13:32.045" v="56"/>
          <ac:grpSpMkLst>
            <pc:docMk/>
            <pc:sldMk cId="3662301775" sldId="8133"/>
            <ac:grpSpMk id="194" creationId="{23976186-A535-439A-999D-B04BCFDB6E99}"/>
          </ac:grpSpMkLst>
        </pc:grpChg>
        <pc:grpChg chg="add">
          <ac:chgData name="Lia Taylor" userId="2ccad05f-5017-4e2b-87e4-bbc6d22f4e64" providerId="ADAL" clId="{F700537D-3675-41CA-A525-EB2E79DB2D9A}" dt="2018-12-04T23:13:32.045" v="56"/>
          <ac:grpSpMkLst>
            <pc:docMk/>
            <pc:sldMk cId="3662301775" sldId="8133"/>
            <ac:grpSpMk id="197" creationId="{A27FFE33-EF7B-4E55-9B85-5C98A8BF5CE4}"/>
          </ac:grpSpMkLst>
        </pc:grpChg>
        <pc:grpChg chg="add">
          <ac:chgData name="Lia Taylor" userId="2ccad05f-5017-4e2b-87e4-bbc6d22f4e64" providerId="ADAL" clId="{F700537D-3675-41CA-A525-EB2E79DB2D9A}" dt="2018-12-04T23:13:32.045" v="56"/>
          <ac:grpSpMkLst>
            <pc:docMk/>
            <pc:sldMk cId="3662301775" sldId="8133"/>
            <ac:grpSpMk id="217" creationId="{70DAE11A-D7E9-4F3F-8D7C-C8B5BA9F3CE9}"/>
          </ac:grpSpMkLst>
        </pc:grpChg>
        <pc:grpChg chg="add">
          <ac:chgData name="Lia Taylor" userId="2ccad05f-5017-4e2b-87e4-bbc6d22f4e64" providerId="ADAL" clId="{F700537D-3675-41CA-A525-EB2E79DB2D9A}" dt="2018-12-04T23:13:32.045" v="56"/>
          <ac:grpSpMkLst>
            <pc:docMk/>
            <pc:sldMk cId="3662301775" sldId="8133"/>
            <ac:grpSpMk id="234" creationId="{0B806783-60DC-4BC0-8450-DFB83F2AF90C}"/>
          </ac:grpSpMkLst>
        </pc:grpChg>
        <pc:grpChg chg="add">
          <ac:chgData name="Lia Taylor" userId="2ccad05f-5017-4e2b-87e4-bbc6d22f4e64" providerId="ADAL" clId="{F700537D-3675-41CA-A525-EB2E79DB2D9A}" dt="2018-12-04T23:13:32.045" v="56"/>
          <ac:grpSpMkLst>
            <pc:docMk/>
            <pc:sldMk cId="3662301775" sldId="8133"/>
            <ac:grpSpMk id="239" creationId="{8AC1403A-6974-4E39-903F-E50124E1586B}"/>
          </ac:grpSpMkLst>
        </pc:grpChg>
        <pc:grpChg chg="add">
          <ac:chgData name="Lia Taylor" userId="2ccad05f-5017-4e2b-87e4-bbc6d22f4e64" providerId="ADAL" clId="{F700537D-3675-41CA-A525-EB2E79DB2D9A}" dt="2018-12-04T23:13:32.045" v="56"/>
          <ac:grpSpMkLst>
            <pc:docMk/>
            <pc:sldMk cId="3662301775" sldId="8133"/>
            <ac:grpSpMk id="246" creationId="{B92F8D42-692C-4E03-ABE0-0D29E066A2D0}"/>
          </ac:grpSpMkLst>
        </pc:grpChg>
        <pc:grpChg chg="add">
          <ac:chgData name="Lia Taylor" userId="2ccad05f-5017-4e2b-87e4-bbc6d22f4e64" providerId="ADAL" clId="{F700537D-3675-41CA-A525-EB2E79DB2D9A}" dt="2018-12-04T23:13:32.045" v="56"/>
          <ac:grpSpMkLst>
            <pc:docMk/>
            <pc:sldMk cId="3662301775" sldId="8133"/>
            <ac:grpSpMk id="266" creationId="{269E5E06-74B4-4C61-8AEA-7EC69DDA8EBE}"/>
          </ac:grpSpMkLst>
        </pc:grpChg>
        <pc:picChg chg="del">
          <ac:chgData name="Lia Taylor" userId="2ccad05f-5017-4e2b-87e4-bbc6d22f4e64" providerId="ADAL" clId="{F700537D-3675-41CA-A525-EB2E79DB2D9A}" dt="2018-12-04T23:13:20.173" v="54" actId="478"/>
          <ac:picMkLst>
            <pc:docMk/>
            <pc:sldMk cId="3662301775" sldId="8133"/>
            <ac:picMk id="116" creationId="{1D6EDBCC-3237-497D-9762-43DD704BE458}"/>
          </ac:picMkLst>
        </pc:picChg>
        <pc:picChg chg="del">
          <ac:chgData name="Lia Taylor" userId="2ccad05f-5017-4e2b-87e4-bbc6d22f4e64" providerId="ADAL" clId="{F700537D-3675-41CA-A525-EB2E79DB2D9A}" dt="2018-12-04T23:13:20.173" v="54" actId="478"/>
          <ac:picMkLst>
            <pc:docMk/>
            <pc:sldMk cId="3662301775" sldId="8133"/>
            <ac:picMk id="117" creationId="{3033DFB2-33BA-4273-9933-38414065A77E}"/>
          </ac:picMkLst>
        </pc:picChg>
        <pc:picChg chg="del">
          <ac:chgData name="Lia Taylor" userId="2ccad05f-5017-4e2b-87e4-bbc6d22f4e64" providerId="ADAL" clId="{F700537D-3675-41CA-A525-EB2E79DB2D9A}" dt="2018-12-04T23:13:20.173" v="54" actId="478"/>
          <ac:picMkLst>
            <pc:docMk/>
            <pc:sldMk cId="3662301775" sldId="8133"/>
            <ac:picMk id="180" creationId="{ABD0BAC7-6F5F-4C7F-922A-99466845D8F1}"/>
          </ac:picMkLst>
        </pc:picChg>
        <pc:picChg chg="del">
          <ac:chgData name="Lia Taylor" userId="2ccad05f-5017-4e2b-87e4-bbc6d22f4e64" providerId="ADAL" clId="{F700537D-3675-41CA-A525-EB2E79DB2D9A}" dt="2018-12-04T23:13:20.173" v="54" actId="478"/>
          <ac:picMkLst>
            <pc:docMk/>
            <pc:sldMk cId="3662301775" sldId="8133"/>
            <ac:picMk id="13314" creationId="{D05DCF5D-78DE-4BC4-8934-6FFB368F01D1}"/>
          </ac:picMkLst>
        </pc:picChg>
        <pc:picChg chg="del">
          <ac:chgData name="Lia Taylor" userId="2ccad05f-5017-4e2b-87e4-bbc6d22f4e64" providerId="ADAL" clId="{F700537D-3675-41CA-A525-EB2E79DB2D9A}" dt="2018-12-04T23:13:20.173" v="54" actId="478"/>
          <ac:picMkLst>
            <pc:docMk/>
            <pc:sldMk cId="3662301775" sldId="8133"/>
            <ac:picMk id="13316" creationId="{362E3C40-7569-43DB-AD4D-80DCEC3B2E3D}"/>
          </ac:picMkLst>
        </pc:picChg>
        <pc:cxnChg chg="mod">
          <ac:chgData name="Lia Taylor" userId="2ccad05f-5017-4e2b-87e4-bbc6d22f4e64" providerId="ADAL" clId="{F700537D-3675-41CA-A525-EB2E79DB2D9A}" dt="2018-12-04T23:13:20.173" v="54" actId="478"/>
          <ac:cxnSpMkLst>
            <pc:docMk/>
            <pc:sldMk cId="3662301775" sldId="8133"/>
            <ac:cxnSpMk id="138" creationId="{782440A0-8C34-40F0-9F90-6F29B539F55D}"/>
          </ac:cxnSpMkLst>
        </pc:cxnChg>
        <pc:cxnChg chg="mod">
          <ac:chgData name="Lia Taylor" userId="2ccad05f-5017-4e2b-87e4-bbc6d22f4e64" providerId="ADAL" clId="{F700537D-3675-41CA-A525-EB2E79DB2D9A}" dt="2018-12-04T23:13:20.173" v="54" actId="478"/>
          <ac:cxnSpMkLst>
            <pc:docMk/>
            <pc:sldMk cId="3662301775" sldId="8133"/>
            <ac:cxnSpMk id="139" creationId="{18716A53-745A-4FE6-8FB0-952858C4118F}"/>
          </ac:cxnSpMkLst>
        </pc:cxnChg>
        <pc:cxnChg chg="mod">
          <ac:chgData name="Lia Taylor" userId="2ccad05f-5017-4e2b-87e4-bbc6d22f4e64" providerId="ADAL" clId="{F700537D-3675-41CA-A525-EB2E79DB2D9A}" dt="2018-12-04T23:13:20.173" v="54" actId="478"/>
          <ac:cxnSpMkLst>
            <pc:docMk/>
            <pc:sldMk cId="3662301775" sldId="8133"/>
            <ac:cxnSpMk id="140" creationId="{50622603-19FA-415E-9F88-290FF54CC20D}"/>
          </ac:cxnSpMkLst>
        </pc:cxnChg>
        <pc:cxnChg chg="mod">
          <ac:chgData name="Lia Taylor" userId="2ccad05f-5017-4e2b-87e4-bbc6d22f4e64" providerId="ADAL" clId="{F700537D-3675-41CA-A525-EB2E79DB2D9A}" dt="2018-12-04T23:13:20.173" v="54" actId="478"/>
          <ac:cxnSpMkLst>
            <pc:docMk/>
            <pc:sldMk cId="3662301775" sldId="8133"/>
            <ac:cxnSpMk id="141" creationId="{F6E9FB21-2A9E-4BD6-BE4C-258017059FBC}"/>
          </ac:cxnSpMkLst>
        </pc:cxnChg>
        <pc:cxnChg chg="mod">
          <ac:chgData name="Lia Taylor" userId="2ccad05f-5017-4e2b-87e4-bbc6d22f4e64" providerId="ADAL" clId="{F700537D-3675-41CA-A525-EB2E79DB2D9A}" dt="2018-12-04T23:13:20.173" v="54" actId="478"/>
          <ac:cxnSpMkLst>
            <pc:docMk/>
            <pc:sldMk cId="3662301775" sldId="8133"/>
            <ac:cxnSpMk id="142" creationId="{2B150DEF-08F4-4EAE-B0E6-D3AE98D5B0A1}"/>
          </ac:cxnSpMkLst>
        </pc:cxnChg>
        <pc:cxnChg chg="mod">
          <ac:chgData name="Lia Taylor" userId="2ccad05f-5017-4e2b-87e4-bbc6d22f4e64" providerId="ADAL" clId="{F700537D-3675-41CA-A525-EB2E79DB2D9A}" dt="2018-12-04T23:13:20.173" v="54" actId="478"/>
          <ac:cxnSpMkLst>
            <pc:docMk/>
            <pc:sldMk cId="3662301775" sldId="8133"/>
            <ac:cxnSpMk id="143" creationId="{FAE4F990-741E-4009-9421-D2158551193C}"/>
          </ac:cxnSpMkLst>
        </pc:cxnChg>
        <pc:cxnChg chg="mod">
          <ac:chgData name="Lia Taylor" userId="2ccad05f-5017-4e2b-87e4-bbc6d22f4e64" providerId="ADAL" clId="{F700537D-3675-41CA-A525-EB2E79DB2D9A}" dt="2018-12-04T23:13:20.173" v="54" actId="478"/>
          <ac:cxnSpMkLst>
            <pc:docMk/>
            <pc:sldMk cId="3662301775" sldId="8133"/>
            <ac:cxnSpMk id="144" creationId="{19EADA73-62CF-4A68-9D95-7F4341C8EB9D}"/>
          </ac:cxnSpMkLst>
        </pc:cxnChg>
        <pc:cxnChg chg="mod">
          <ac:chgData name="Lia Taylor" userId="2ccad05f-5017-4e2b-87e4-bbc6d22f4e64" providerId="ADAL" clId="{F700537D-3675-41CA-A525-EB2E79DB2D9A}" dt="2018-12-04T23:13:20.173" v="54" actId="478"/>
          <ac:cxnSpMkLst>
            <pc:docMk/>
            <pc:sldMk cId="3662301775" sldId="8133"/>
            <ac:cxnSpMk id="145" creationId="{BB07F6C6-568C-4D10-A176-0234FE5F7229}"/>
          </ac:cxnSpMkLst>
        </pc:cxnChg>
        <pc:cxnChg chg="mod">
          <ac:chgData name="Lia Taylor" userId="2ccad05f-5017-4e2b-87e4-bbc6d22f4e64" providerId="ADAL" clId="{F700537D-3675-41CA-A525-EB2E79DB2D9A}" dt="2018-12-04T23:13:20.173" v="54" actId="478"/>
          <ac:cxnSpMkLst>
            <pc:docMk/>
            <pc:sldMk cId="3662301775" sldId="8133"/>
            <ac:cxnSpMk id="146" creationId="{7F09AD54-4027-41D9-A1B4-7C3CB31DEB6B}"/>
          </ac:cxnSpMkLst>
        </pc:cxnChg>
        <pc:cxnChg chg="mod">
          <ac:chgData name="Lia Taylor" userId="2ccad05f-5017-4e2b-87e4-bbc6d22f4e64" providerId="ADAL" clId="{F700537D-3675-41CA-A525-EB2E79DB2D9A}" dt="2018-12-04T23:13:20.173" v="54" actId="478"/>
          <ac:cxnSpMkLst>
            <pc:docMk/>
            <pc:sldMk cId="3662301775" sldId="8133"/>
            <ac:cxnSpMk id="147" creationId="{01710632-CD7B-4A90-8F96-A8556B8CF8F2}"/>
          </ac:cxnSpMkLst>
        </pc:cxnChg>
        <pc:cxnChg chg="mod">
          <ac:chgData name="Lia Taylor" userId="2ccad05f-5017-4e2b-87e4-bbc6d22f4e64" providerId="ADAL" clId="{F700537D-3675-41CA-A525-EB2E79DB2D9A}" dt="2018-12-04T23:13:20.173" v="54" actId="478"/>
          <ac:cxnSpMkLst>
            <pc:docMk/>
            <pc:sldMk cId="3662301775" sldId="8133"/>
            <ac:cxnSpMk id="148" creationId="{42B29BEF-3DBE-49C5-94A0-C3B1DBE5C570}"/>
          </ac:cxnSpMkLst>
        </pc:cxnChg>
        <pc:cxnChg chg="mod">
          <ac:chgData name="Lia Taylor" userId="2ccad05f-5017-4e2b-87e4-bbc6d22f4e64" providerId="ADAL" clId="{F700537D-3675-41CA-A525-EB2E79DB2D9A}" dt="2018-12-04T23:13:20.173" v="54" actId="478"/>
          <ac:cxnSpMkLst>
            <pc:docMk/>
            <pc:sldMk cId="3662301775" sldId="8133"/>
            <ac:cxnSpMk id="149" creationId="{130B36F3-1131-4040-BD1B-43A1A0E59C0B}"/>
          </ac:cxnSpMkLst>
        </pc:cxnChg>
        <pc:cxnChg chg="add">
          <ac:chgData name="Lia Taylor" userId="2ccad05f-5017-4e2b-87e4-bbc6d22f4e64" providerId="ADAL" clId="{F700537D-3675-41CA-A525-EB2E79DB2D9A}" dt="2018-12-04T23:13:32.045" v="56"/>
          <ac:cxnSpMkLst>
            <pc:docMk/>
            <pc:sldMk cId="3662301775" sldId="8133"/>
            <ac:cxnSpMk id="191" creationId="{C5FD5DDF-C98B-487C-B4E9-B322F333FF4A}"/>
          </ac:cxnSpMkLst>
        </pc:cxnChg>
        <pc:cxnChg chg="add">
          <ac:chgData name="Lia Taylor" userId="2ccad05f-5017-4e2b-87e4-bbc6d22f4e64" providerId="ADAL" clId="{F700537D-3675-41CA-A525-EB2E79DB2D9A}" dt="2018-12-04T23:13:32.045" v="56"/>
          <ac:cxnSpMkLst>
            <pc:docMk/>
            <pc:sldMk cId="3662301775" sldId="8133"/>
            <ac:cxnSpMk id="192" creationId="{077F6623-7090-463D-8EC4-3D9DA38501AD}"/>
          </ac:cxnSpMkLst>
        </pc:cxnChg>
        <pc:cxnChg chg="add">
          <ac:chgData name="Lia Taylor" userId="2ccad05f-5017-4e2b-87e4-bbc6d22f4e64" providerId="ADAL" clId="{F700537D-3675-41CA-A525-EB2E79DB2D9A}" dt="2018-12-04T23:13:32.045" v="56"/>
          <ac:cxnSpMkLst>
            <pc:docMk/>
            <pc:sldMk cId="3662301775" sldId="8133"/>
            <ac:cxnSpMk id="193" creationId="{2F556EBF-CE1F-4985-BDC3-A033A7C3C7EB}"/>
          </ac:cxnSpMkLst>
        </pc:cxnChg>
        <pc:cxnChg chg="add">
          <ac:chgData name="Lia Taylor" userId="2ccad05f-5017-4e2b-87e4-bbc6d22f4e64" providerId="ADAL" clId="{F700537D-3675-41CA-A525-EB2E79DB2D9A}" dt="2018-12-04T23:13:32.045" v="56"/>
          <ac:cxnSpMkLst>
            <pc:docMk/>
            <pc:sldMk cId="3662301775" sldId="8133"/>
            <ac:cxnSpMk id="245" creationId="{347ABDF8-1A4F-44C5-844E-83B8F4156957}"/>
          </ac:cxnSpMkLst>
        </pc:cxnChg>
        <pc:cxnChg chg="add">
          <ac:chgData name="Lia Taylor" userId="2ccad05f-5017-4e2b-87e4-bbc6d22f4e64" providerId="ADAL" clId="{F700537D-3675-41CA-A525-EB2E79DB2D9A}" dt="2018-12-04T23:13:32.045" v="56"/>
          <ac:cxnSpMkLst>
            <pc:docMk/>
            <pc:sldMk cId="3662301775" sldId="8133"/>
            <ac:cxnSpMk id="272" creationId="{5B7291C0-47DA-4154-8EC3-98BCA6A71B4D}"/>
          </ac:cxnSpMkLst>
        </pc:cxnChg>
      </pc:sldChg>
      <pc:sldChg chg="add del">
        <pc:chgData name="Lia Taylor" userId="2ccad05f-5017-4e2b-87e4-bbc6d22f4e64" providerId="ADAL" clId="{F700537D-3675-41CA-A525-EB2E79DB2D9A}" dt="2018-12-04T23:13:35.094" v="57" actId="2696"/>
        <pc:sldMkLst>
          <pc:docMk/>
          <pc:sldMk cId="4029001403" sldId="8134"/>
        </pc:sldMkLst>
      </pc:sldChg>
      <pc:sldChg chg="addSp delSp modSp ord">
        <pc:chgData name="Lia Taylor" userId="2ccad05f-5017-4e2b-87e4-bbc6d22f4e64" providerId="ADAL" clId="{F700537D-3675-41CA-A525-EB2E79DB2D9A}" dt="2018-12-09T19:06:47.461" v="3941"/>
        <pc:sldMkLst>
          <pc:docMk/>
          <pc:sldMk cId="4030070806" sldId="8134"/>
        </pc:sldMkLst>
        <pc:spChg chg="del mod">
          <ac:chgData name="Lia Taylor" userId="2ccad05f-5017-4e2b-87e4-bbc6d22f4e64" providerId="ADAL" clId="{F700537D-3675-41CA-A525-EB2E79DB2D9A}" dt="2018-12-09T19:05:46.469" v="3933" actId="478"/>
          <ac:spMkLst>
            <pc:docMk/>
            <pc:sldMk cId="4030070806" sldId="8134"/>
            <ac:spMk id="2" creationId="{A7EBC83C-5B10-4E8C-B235-B55E6C8148D0}"/>
          </ac:spMkLst>
        </pc:spChg>
        <pc:spChg chg="mod">
          <ac:chgData name="Lia Taylor" userId="2ccad05f-5017-4e2b-87e4-bbc6d22f4e64" providerId="ADAL" clId="{F700537D-3675-41CA-A525-EB2E79DB2D9A}" dt="2018-12-09T19:02:57.847" v="3882" actId="1076"/>
          <ac:spMkLst>
            <pc:docMk/>
            <pc:sldMk cId="4030070806" sldId="8134"/>
            <ac:spMk id="3" creationId="{421AA1E6-87F8-48DE-A8D4-21CA71C4115E}"/>
          </ac:spMkLst>
        </pc:spChg>
        <pc:spChg chg="add mod">
          <ac:chgData name="Lia Taylor" userId="2ccad05f-5017-4e2b-87e4-bbc6d22f4e64" providerId="ADAL" clId="{F700537D-3675-41CA-A525-EB2E79DB2D9A}" dt="2018-12-09T19:05:44.649" v="3932" actId="14100"/>
          <ac:spMkLst>
            <pc:docMk/>
            <pc:sldMk cId="4030070806" sldId="8134"/>
            <ac:spMk id="5" creationId="{6B672E3B-755B-4C49-9F6C-336C071A6410}"/>
          </ac:spMkLst>
        </pc:spChg>
        <pc:spChg chg="add del mod">
          <ac:chgData name="Lia Taylor" userId="2ccad05f-5017-4e2b-87e4-bbc6d22f4e64" providerId="ADAL" clId="{F700537D-3675-41CA-A525-EB2E79DB2D9A}" dt="2018-12-09T19:05:48.637" v="3934" actId="478"/>
          <ac:spMkLst>
            <pc:docMk/>
            <pc:sldMk cId="4030070806" sldId="8134"/>
            <ac:spMk id="6" creationId="{20BE546C-E67B-4CAC-8721-2255DFCDAC3F}"/>
          </ac:spMkLst>
        </pc:spChg>
        <pc:picChg chg="mod">
          <ac:chgData name="Lia Taylor" userId="2ccad05f-5017-4e2b-87e4-bbc6d22f4e64" providerId="ADAL" clId="{F700537D-3675-41CA-A525-EB2E79DB2D9A}" dt="2018-12-09T19:05:57.909" v="3935" actId="1076"/>
          <ac:picMkLst>
            <pc:docMk/>
            <pc:sldMk cId="4030070806" sldId="8134"/>
            <ac:picMk id="1026" creationId="{B8C50486-BA72-44B7-917D-BD2C094A7989}"/>
          </ac:picMkLst>
        </pc:picChg>
      </pc:sldChg>
      <pc:sldChg chg="del">
        <pc:chgData name="Lia Taylor" userId="2ccad05f-5017-4e2b-87e4-bbc6d22f4e64" providerId="ADAL" clId="{F700537D-3675-41CA-A525-EB2E79DB2D9A}" dt="2018-12-07T22:40:03.333" v="3255" actId="2696"/>
        <pc:sldMkLst>
          <pc:docMk/>
          <pc:sldMk cId="818712834" sldId="8135"/>
        </pc:sldMkLst>
      </pc:sldChg>
      <pc:sldChg chg="delSp modSp del ord">
        <pc:chgData name="Lia Taylor" userId="2ccad05f-5017-4e2b-87e4-bbc6d22f4e64" providerId="ADAL" clId="{F700537D-3675-41CA-A525-EB2E79DB2D9A}" dt="2018-12-10T21:32:49.629" v="4471" actId="2696"/>
        <pc:sldMkLst>
          <pc:docMk/>
          <pc:sldMk cId="496740884" sldId="8136"/>
        </pc:sldMkLst>
        <pc:spChg chg="del mod">
          <ac:chgData name="Lia Taylor" userId="2ccad05f-5017-4e2b-87e4-bbc6d22f4e64" providerId="ADAL" clId="{F700537D-3675-41CA-A525-EB2E79DB2D9A}" dt="2018-12-05T17:47:35.552" v="335" actId="478"/>
          <ac:spMkLst>
            <pc:docMk/>
            <pc:sldMk cId="496740884" sldId="8136"/>
            <ac:spMk id="90" creationId="{254CFB61-59A9-4174-AB78-D8374AFD6101}"/>
          </ac:spMkLst>
        </pc:spChg>
      </pc:sldChg>
      <pc:sldChg chg="add del">
        <pc:chgData name="Lia Taylor" userId="2ccad05f-5017-4e2b-87e4-bbc6d22f4e64" providerId="ADAL" clId="{F700537D-3675-41CA-A525-EB2E79DB2D9A}" dt="2018-12-10T21:32:43.216" v="4464" actId="2696"/>
        <pc:sldMkLst>
          <pc:docMk/>
          <pc:sldMk cId="1080329532" sldId="8137"/>
        </pc:sldMkLst>
      </pc:sldChg>
      <pc:sldChg chg="modSp del">
        <pc:chgData name="Lia Taylor" userId="2ccad05f-5017-4e2b-87e4-bbc6d22f4e64" providerId="ADAL" clId="{F700537D-3675-41CA-A525-EB2E79DB2D9A}" dt="2018-12-05T18:57:14.059" v="1011" actId="2696"/>
        <pc:sldMkLst>
          <pc:docMk/>
          <pc:sldMk cId="1840508204" sldId="8137"/>
        </pc:sldMkLst>
        <pc:spChg chg="mod">
          <ac:chgData name="Lia Taylor" userId="2ccad05f-5017-4e2b-87e4-bbc6d22f4e64" providerId="ADAL" clId="{F700537D-3675-41CA-A525-EB2E79DB2D9A}" dt="2018-12-05T18:34:40.913" v="805" actId="113"/>
          <ac:spMkLst>
            <pc:docMk/>
            <pc:sldMk cId="1840508204" sldId="8137"/>
            <ac:spMk id="5" creationId="{00000000-0000-0000-0000-000000000000}"/>
          </ac:spMkLst>
        </pc:spChg>
        <pc:spChg chg="mod">
          <ac:chgData name="Lia Taylor" userId="2ccad05f-5017-4e2b-87e4-bbc6d22f4e64" providerId="ADAL" clId="{F700537D-3675-41CA-A525-EB2E79DB2D9A}" dt="2018-12-05T18:28:14.341" v="703" actId="207"/>
          <ac:spMkLst>
            <pc:docMk/>
            <pc:sldMk cId="1840508204" sldId="8137"/>
            <ac:spMk id="12" creationId="{F7FFF5F5-12B3-4056-9516-8C06313C82B9}"/>
          </ac:spMkLst>
        </pc:spChg>
        <pc:spChg chg="mod">
          <ac:chgData name="Lia Taylor" userId="2ccad05f-5017-4e2b-87e4-bbc6d22f4e64" providerId="ADAL" clId="{F700537D-3675-41CA-A525-EB2E79DB2D9A}" dt="2018-12-05T18:28:31.667" v="714" actId="20577"/>
          <ac:spMkLst>
            <pc:docMk/>
            <pc:sldMk cId="1840508204" sldId="8137"/>
            <ac:spMk id="13" creationId="{2D9CA072-6CC0-4ADA-952F-ADB552DFA888}"/>
          </ac:spMkLst>
        </pc:spChg>
        <pc:spChg chg="mod">
          <ac:chgData name="Lia Taylor" userId="2ccad05f-5017-4e2b-87e4-bbc6d22f4e64" providerId="ADAL" clId="{F700537D-3675-41CA-A525-EB2E79DB2D9A}" dt="2018-12-05T18:30:36.066" v="775" actId="12"/>
          <ac:spMkLst>
            <pc:docMk/>
            <pc:sldMk cId="1840508204" sldId="8137"/>
            <ac:spMk id="15" creationId="{80C62074-1FB0-462B-AAD2-D1D07D5C5AFC}"/>
          </ac:spMkLst>
        </pc:spChg>
      </pc:sldChg>
      <pc:sldChg chg="addSp delSp modSp ord modAnim">
        <pc:chgData name="Lia Taylor" userId="2ccad05f-5017-4e2b-87e4-bbc6d22f4e64" providerId="ADAL" clId="{F700537D-3675-41CA-A525-EB2E79DB2D9A}" dt="2018-12-12T17:47:32.725" v="6467" actId="478"/>
        <pc:sldMkLst>
          <pc:docMk/>
          <pc:sldMk cId="2548039390" sldId="8138"/>
        </pc:sldMkLst>
        <pc:spChg chg="add del mod">
          <ac:chgData name="Lia Taylor" userId="2ccad05f-5017-4e2b-87e4-bbc6d22f4e64" providerId="ADAL" clId="{F700537D-3675-41CA-A525-EB2E79DB2D9A}" dt="2018-12-11T22:35:33.119" v="5896" actId="113"/>
          <ac:spMkLst>
            <pc:docMk/>
            <pc:sldMk cId="2548039390" sldId="8138"/>
            <ac:spMk id="2" creationId="{BFCE8D4F-9831-4C46-99AB-37F637107CB5}"/>
          </ac:spMkLst>
        </pc:spChg>
        <pc:spChg chg="del mod">
          <ac:chgData name="Lia Taylor" userId="2ccad05f-5017-4e2b-87e4-bbc6d22f4e64" providerId="ADAL" clId="{F700537D-3675-41CA-A525-EB2E79DB2D9A}" dt="2018-12-06T19:42:43.330" v="1249" actId="478"/>
          <ac:spMkLst>
            <pc:docMk/>
            <pc:sldMk cId="2548039390" sldId="8138"/>
            <ac:spMk id="3" creationId="{334946FB-6054-4F0E-A2E6-4990B28A9D2B}"/>
          </ac:spMkLst>
        </pc:spChg>
        <pc:spChg chg="del mod">
          <ac:chgData name="Lia Taylor" userId="2ccad05f-5017-4e2b-87e4-bbc6d22f4e64" providerId="ADAL" clId="{F700537D-3675-41CA-A525-EB2E79DB2D9A}" dt="2018-12-12T17:47:32.725" v="6467" actId="478"/>
          <ac:spMkLst>
            <pc:docMk/>
            <pc:sldMk cId="2548039390" sldId="8138"/>
            <ac:spMk id="3" creationId="{902BA845-E302-45AB-A778-791B920DEABB}"/>
          </ac:spMkLst>
        </pc:spChg>
        <pc:spChg chg="add del">
          <ac:chgData name="Lia Taylor" userId="2ccad05f-5017-4e2b-87e4-bbc6d22f4e64" providerId="ADAL" clId="{F700537D-3675-41CA-A525-EB2E79DB2D9A}" dt="2018-12-09T18:37:52.329" v="3408" actId="478"/>
          <ac:spMkLst>
            <pc:docMk/>
            <pc:sldMk cId="2548039390" sldId="8138"/>
            <ac:spMk id="4" creationId="{4B376BE5-EA3E-41E5-8994-FBFD6CAF5F0B}"/>
          </ac:spMkLst>
        </pc:spChg>
        <pc:spChg chg="add del">
          <ac:chgData name="Lia Taylor" userId="2ccad05f-5017-4e2b-87e4-bbc6d22f4e64" providerId="ADAL" clId="{F700537D-3675-41CA-A525-EB2E79DB2D9A}" dt="2018-12-06T19:42:48.791" v="1253"/>
          <ac:spMkLst>
            <pc:docMk/>
            <pc:sldMk cId="2548039390" sldId="8138"/>
            <ac:spMk id="6" creationId="{92EC18B2-FEDE-48DC-89B5-5B06404F9B6C}"/>
          </ac:spMkLst>
        </pc:spChg>
        <pc:spChg chg="add del">
          <ac:chgData name="Lia Taylor" userId="2ccad05f-5017-4e2b-87e4-bbc6d22f4e64" providerId="ADAL" clId="{F700537D-3675-41CA-A525-EB2E79DB2D9A}" dt="2018-12-06T19:42:48.791" v="1253"/>
          <ac:spMkLst>
            <pc:docMk/>
            <pc:sldMk cId="2548039390" sldId="8138"/>
            <ac:spMk id="7" creationId="{8C96371E-CE0A-46A2-9A87-F2F5EBE5432C}"/>
          </ac:spMkLst>
        </pc:spChg>
        <pc:spChg chg="add del">
          <ac:chgData name="Lia Taylor" userId="2ccad05f-5017-4e2b-87e4-bbc6d22f4e64" providerId="ADAL" clId="{F700537D-3675-41CA-A525-EB2E79DB2D9A}" dt="2018-12-06T19:42:48.791" v="1253"/>
          <ac:spMkLst>
            <pc:docMk/>
            <pc:sldMk cId="2548039390" sldId="8138"/>
            <ac:spMk id="9" creationId="{1B449863-344C-4381-8EFA-E6161C071A5C}"/>
          </ac:spMkLst>
        </pc:spChg>
        <pc:spChg chg="add del">
          <ac:chgData name="Lia Taylor" userId="2ccad05f-5017-4e2b-87e4-bbc6d22f4e64" providerId="ADAL" clId="{F700537D-3675-41CA-A525-EB2E79DB2D9A}" dt="2018-12-06T19:42:48.791" v="1253"/>
          <ac:spMkLst>
            <pc:docMk/>
            <pc:sldMk cId="2548039390" sldId="8138"/>
            <ac:spMk id="12" creationId="{77C99705-2FC6-4B0F-B9AD-FC8F447160EF}"/>
          </ac:spMkLst>
        </pc:spChg>
        <pc:spChg chg="add mod">
          <ac:chgData name="Lia Taylor" userId="2ccad05f-5017-4e2b-87e4-bbc6d22f4e64" providerId="ADAL" clId="{F700537D-3675-41CA-A525-EB2E79DB2D9A}" dt="2018-12-11T22:25:47.167" v="5737" actId="20577"/>
          <ac:spMkLst>
            <pc:docMk/>
            <pc:sldMk cId="2548039390" sldId="8138"/>
            <ac:spMk id="14" creationId="{746733BB-6B11-4931-A00E-B98DD048F433}"/>
          </ac:spMkLst>
        </pc:spChg>
        <pc:spChg chg="add del mod">
          <ac:chgData name="Lia Taylor" userId="2ccad05f-5017-4e2b-87e4-bbc6d22f4e64" providerId="ADAL" clId="{F700537D-3675-41CA-A525-EB2E79DB2D9A}" dt="2018-12-07T21:48:46.327" v="1783" actId="478"/>
          <ac:spMkLst>
            <pc:docMk/>
            <pc:sldMk cId="2548039390" sldId="8138"/>
            <ac:spMk id="15" creationId="{7D361BB8-8FA7-4558-96C6-E15011CB460E}"/>
          </ac:spMkLst>
        </pc:spChg>
        <pc:spChg chg="add mod">
          <ac:chgData name="Lia Taylor" userId="2ccad05f-5017-4e2b-87e4-bbc6d22f4e64" providerId="ADAL" clId="{F700537D-3675-41CA-A525-EB2E79DB2D9A}" dt="2018-12-11T22:26:38.016" v="5797" actId="20577"/>
          <ac:spMkLst>
            <pc:docMk/>
            <pc:sldMk cId="2548039390" sldId="8138"/>
            <ac:spMk id="17" creationId="{5EACED2B-33F5-4AE9-AB89-60710E8BF078}"/>
          </ac:spMkLst>
        </pc:spChg>
        <pc:spChg chg="add mod">
          <ac:chgData name="Lia Taylor" userId="2ccad05f-5017-4e2b-87e4-bbc6d22f4e64" providerId="ADAL" clId="{F700537D-3675-41CA-A525-EB2E79DB2D9A}" dt="2018-12-11T22:26:44.666" v="5801" actId="20577"/>
          <ac:spMkLst>
            <pc:docMk/>
            <pc:sldMk cId="2548039390" sldId="8138"/>
            <ac:spMk id="20" creationId="{8BF87056-8895-46FE-9A86-E51AC315AC90}"/>
          </ac:spMkLst>
        </pc:spChg>
        <pc:spChg chg="add del">
          <ac:chgData name="Lia Taylor" userId="2ccad05f-5017-4e2b-87e4-bbc6d22f4e64" providerId="ADAL" clId="{F700537D-3675-41CA-A525-EB2E79DB2D9A}" dt="2018-12-06T19:45:35.180" v="1275"/>
          <ac:spMkLst>
            <pc:docMk/>
            <pc:sldMk cId="2548039390" sldId="8138"/>
            <ac:spMk id="21" creationId="{5C723668-006C-4250-A5B6-6BC139D4F11B}"/>
          </ac:spMkLst>
        </pc:spChg>
        <pc:spChg chg="add del mod">
          <ac:chgData name="Lia Taylor" userId="2ccad05f-5017-4e2b-87e4-bbc6d22f4e64" providerId="ADAL" clId="{F700537D-3675-41CA-A525-EB2E79DB2D9A}" dt="2018-12-06T19:48:28.591" v="1332"/>
          <ac:spMkLst>
            <pc:docMk/>
            <pc:sldMk cId="2548039390" sldId="8138"/>
            <ac:spMk id="22" creationId="{756FDBF0-3163-48C9-9CB5-54785A62296C}"/>
          </ac:spMkLst>
        </pc:spChg>
        <pc:spChg chg="add del mod">
          <ac:chgData name="Lia Taylor" userId="2ccad05f-5017-4e2b-87e4-bbc6d22f4e64" providerId="ADAL" clId="{F700537D-3675-41CA-A525-EB2E79DB2D9A}" dt="2018-12-06T19:48:27.958" v="1330" actId="478"/>
          <ac:spMkLst>
            <pc:docMk/>
            <pc:sldMk cId="2548039390" sldId="8138"/>
            <ac:spMk id="24" creationId="{77C2A150-B642-4DF4-9AF8-9C5918DE2CBC}"/>
          </ac:spMkLst>
        </pc:spChg>
        <pc:spChg chg="add del mod">
          <ac:chgData name="Lia Taylor" userId="2ccad05f-5017-4e2b-87e4-bbc6d22f4e64" providerId="ADAL" clId="{F700537D-3675-41CA-A525-EB2E79DB2D9A}" dt="2018-12-06T19:48:26.108" v="1326"/>
          <ac:spMkLst>
            <pc:docMk/>
            <pc:sldMk cId="2548039390" sldId="8138"/>
            <ac:spMk id="25" creationId="{0E7F2C80-9205-4A3E-87B0-38F047384E73}"/>
          </ac:spMkLst>
        </pc:spChg>
        <pc:spChg chg="add mod">
          <ac:chgData name="Lia Taylor" userId="2ccad05f-5017-4e2b-87e4-bbc6d22f4e64" providerId="ADAL" clId="{F700537D-3675-41CA-A525-EB2E79DB2D9A}" dt="2018-12-07T21:49:01.081" v="1784" actId="1076"/>
          <ac:spMkLst>
            <pc:docMk/>
            <pc:sldMk cId="2548039390" sldId="8138"/>
            <ac:spMk id="26" creationId="{AE146CF1-D4A1-4F1B-805B-D0CCD71DC55C}"/>
          </ac:spMkLst>
        </pc:spChg>
        <pc:graphicFrameChg chg="add del">
          <ac:chgData name="Lia Taylor" userId="2ccad05f-5017-4e2b-87e4-bbc6d22f4e64" providerId="ADAL" clId="{F700537D-3675-41CA-A525-EB2E79DB2D9A}" dt="2018-12-06T19:42:48.791" v="1253"/>
          <ac:graphicFrameMkLst>
            <pc:docMk/>
            <pc:sldMk cId="2548039390" sldId="8138"/>
            <ac:graphicFrameMk id="5" creationId="{6CDB267E-2B33-41C4-A731-984A00877D8E}"/>
          </ac:graphicFrameMkLst>
        </pc:graphicFrameChg>
        <pc:graphicFrameChg chg="add del">
          <ac:chgData name="Lia Taylor" userId="2ccad05f-5017-4e2b-87e4-bbc6d22f4e64" providerId="ADAL" clId="{F700537D-3675-41CA-A525-EB2E79DB2D9A}" dt="2018-12-06T19:42:48.791" v="1253"/>
          <ac:graphicFrameMkLst>
            <pc:docMk/>
            <pc:sldMk cId="2548039390" sldId="8138"/>
            <ac:graphicFrameMk id="8" creationId="{50600248-8C64-4C6D-8E9B-98EC6214BEA0}"/>
          </ac:graphicFrameMkLst>
        </pc:graphicFrameChg>
        <pc:graphicFrameChg chg="add del">
          <ac:chgData name="Lia Taylor" userId="2ccad05f-5017-4e2b-87e4-bbc6d22f4e64" providerId="ADAL" clId="{F700537D-3675-41CA-A525-EB2E79DB2D9A}" dt="2018-12-06T19:42:48.791" v="1253"/>
          <ac:graphicFrameMkLst>
            <pc:docMk/>
            <pc:sldMk cId="2548039390" sldId="8138"/>
            <ac:graphicFrameMk id="10" creationId="{A32FCF21-BD22-4A5C-9098-B8C15F422494}"/>
          </ac:graphicFrameMkLst>
        </pc:graphicFrameChg>
        <pc:graphicFrameChg chg="add del">
          <ac:chgData name="Lia Taylor" userId="2ccad05f-5017-4e2b-87e4-bbc6d22f4e64" providerId="ADAL" clId="{F700537D-3675-41CA-A525-EB2E79DB2D9A}" dt="2018-12-06T19:42:48.791" v="1253"/>
          <ac:graphicFrameMkLst>
            <pc:docMk/>
            <pc:sldMk cId="2548039390" sldId="8138"/>
            <ac:graphicFrameMk id="11" creationId="{F663BD58-C149-4FA8-8BE9-ED30A4F0C4E5}"/>
          </ac:graphicFrameMkLst>
        </pc:graphicFrameChg>
        <pc:graphicFrameChg chg="add mod modGraphic">
          <ac:chgData name="Lia Taylor" userId="2ccad05f-5017-4e2b-87e4-bbc6d22f4e64" providerId="ADAL" clId="{F700537D-3675-41CA-A525-EB2E79DB2D9A}" dt="2018-12-11T22:27:39.350" v="5814" actId="20577"/>
          <ac:graphicFrameMkLst>
            <pc:docMk/>
            <pc:sldMk cId="2548039390" sldId="8138"/>
            <ac:graphicFrameMk id="13" creationId="{C0020E4D-D77C-46DA-ACFE-36C81995D9F2}"/>
          </ac:graphicFrameMkLst>
        </pc:graphicFrameChg>
        <pc:graphicFrameChg chg="add mod modGraphic">
          <ac:chgData name="Lia Taylor" userId="2ccad05f-5017-4e2b-87e4-bbc6d22f4e64" providerId="ADAL" clId="{F700537D-3675-41CA-A525-EB2E79DB2D9A}" dt="2018-12-06T19:48:25.761" v="1325" actId="1076"/>
          <ac:graphicFrameMkLst>
            <pc:docMk/>
            <pc:sldMk cId="2548039390" sldId="8138"/>
            <ac:graphicFrameMk id="16" creationId="{6D67CD07-4B3F-4B45-BE44-638E731BCC35}"/>
          </ac:graphicFrameMkLst>
        </pc:graphicFrameChg>
        <pc:graphicFrameChg chg="add mod modGraphic">
          <ac:chgData name="Lia Taylor" userId="2ccad05f-5017-4e2b-87e4-bbc6d22f4e64" providerId="ADAL" clId="{F700537D-3675-41CA-A525-EB2E79DB2D9A}" dt="2018-12-07T20:33:06.117" v="1717" actId="255"/>
          <ac:graphicFrameMkLst>
            <pc:docMk/>
            <pc:sldMk cId="2548039390" sldId="8138"/>
            <ac:graphicFrameMk id="18" creationId="{3CB292CB-0425-4E3B-B13F-66D141E109D9}"/>
          </ac:graphicFrameMkLst>
        </pc:graphicFrameChg>
        <pc:graphicFrameChg chg="add mod modGraphic">
          <ac:chgData name="Lia Taylor" userId="2ccad05f-5017-4e2b-87e4-bbc6d22f4e64" providerId="ADAL" clId="{F700537D-3675-41CA-A525-EB2E79DB2D9A}" dt="2018-12-07T22:58:27.692" v="3343" actId="1076"/>
          <ac:graphicFrameMkLst>
            <pc:docMk/>
            <pc:sldMk cId="2548039390" sldId="8138"/>
            <ac:graphicFrameMk id="19" creationId="{77879072-C858-4076-B24D-05EB039B7B30}"/>
          </ac:graphicFrameMkLst>
        </pc:graphicFrameChg>
      </pc:sldChg>
      <pc:sldChg chg="add del">
        <pc:chgData name="Lia Taylor" userId="2ccad05f-5017-4e2b-87e4-bbc6d22f4e64" providerId="ADAL" clId="{F700537D-3675-41CA-A525-EB2E79DB2D9A}" dt="2018-12-05T17:48:44.377" v="337"/>
        <pc:sldMkLst>
          <pc:docMk/>
          <pc:sldMk cId="358311560" sldId="8139"/>
        </pc:sldMkLst>
      </pc:sldChg>
      <pc:sldChg chg="addSp delSp modSp add mod setBg">
        <pc:chgData name="Lia Taylor" userId="2ccad05f-5017-4e2b-87e4-bbc6d22f4e64" providerId="ADAL" clId="{F700537D-3675-41CA-A525-EB2E79DB2D9A}" dt="2018-12-09T19:12:55.038" v="4092" actId="26606"/>
        <pc:sldMkLst>
          <pc:docMk/>
          <pc:sldMk cId="3253870213" sldId="8139"/>
        </pc:sldMkLst>
        <pc:spChg chg="mod">
          <ac:chgData name="Lia Taylor" userId="2ccad05f-5017-4e2b-87e4-bbc6d22f4e64" providerId="ADAL" clId="{F700537D-3675-41CA-A525-EB2E79DB2D9A}" dt="2018-12-09T19:12:55.038" v="4092" actId="26606"/>
          <ac:spMkLst>
            <pc:docMk/>
            <pc:sldMk cId="3253870213" sldId="8139"/>
            <ac:spMk id="2" creationId="{A9C67AE9-1733-4285-B569-33A68F7FB594}"/>
          </ac:spMkLst>
        </pc:spChg>
        <pc:spChg chg="add del">
          <ac:chgData name="Lia Taylor" userId="2ccad05f-5017-4e2b-87e4-bbc6d22f4e64" providerId="ADAL" clId="{F700537D-3675-41CA-A525-EB2E79DB2D9A}" dt="2018-12-09T19:12:55.022" v="4091" actId="26606"/>
          <ac:spMkLst>
            <pc:docMk/>
            <pc:sldMk cId="3253870213" sldId="8139"/>
            <ac:spMk id="7" creationId="{C66F2F30-5DC0-44A0-BFA6-E12F46ED16DA}"/>
          </ac:spMkLst>
        </pc:spChg>
        <pc:spChg chg="add del">
          <ac:chgData name="Lia Taylor" userId="2ccad05f-5017-4e2b-87e4-bbc6d22f4e64" providerId="ADAL" clId="{F700537D-3675-41CA-A525-EB2E79DB2D9A}" dt="2018-12-09T19:12:55.022" v="4091" actId="26606"/>
          <ac:spMkLst>
            <pc:docMk/>
            <pc:sldMk cId="3253870213" sldId="8139"/>
            <ac:spMk id="9" creationId="{85872F57-7F42-4F97-8391-DDC8D0054C03}"/>
          </ac:spMkLst>
        </pc:spChg>
        <pc:spChg chg="add del">
          <ac:chgData name="Lia Taylor" userId="2ccad05f-5017-4e2b-87e4-bbc6d22f4e64" providerId="ADAL" clId="{F700537D-3675-41CA-A525-EB2E79DB2D9A}" dt="2018-12-09T19:12:55.022" v="4091" actId="26606"/>
          <ac:spMkLst>
            <pc:docMk/>
            <pc:sldMk cId="3253870213" sldId="8139"/>
            <ac:spMk id="11" creationId="{04DC2037-48A0-4F22-B9D4-8EAEBC780AB4}"/>
          </ac:spMkLst>
        </pc:spChg>
        <pc:spChg chg="add del">
          <ac:chgData name="Lia Taylor" userId="2ccad05f-5017-4e2b-87e4-bbc6d22f4e64" providerId="ADAL" clId="{F700537D-3675-41CA-A525-EB2E79DB2D9A}" dt="2018-12-09T19:12:55.022" v="4091" actId="26606"/>
          <ac:spMkLst>
            <pc:docMk/>
            <pc:sldMk cId="3253870213" sldId="8139"/>
            <ac:spMk id="13" creationId="{0006CBFD-ADA0-43D1-9332-9C34CA1C76ED}"/>
          </ac:spMkLst>
        </pc:spChg>
        <pc:spChg chg="add del">
          <ac:chgData name="Lia Taylor" userId="2ccad05f-5017-4e2b-87e4-bbc6d22f4e64" providerId="ADAL" clId="{F700537D-3675-41CA-A525-EB2E79DB2D9A}" dt="2018-12-09T19:12:55.022" v="4091" actId="26606"/>
          <ac:spMkLst>
            <pc:docMk/>
            <pc:sldMk cId="3253870213" sldId="8139"/>
            <ac:spMk id="15" creationId="{2B931666-F28F-45F3-A074-66D2272D580B}"/>
          </ac:spMkLst>
        </pc:spChg>
        <pc:spChg chg="add">
          <ac:chgData name="Lia Taylor" userId="2ccad05f-5017-4e2b-87e4-bbc6d22f4e64" providerId="ADAL" clId="{F700537D-3675-41CA-A525-EB2E79DB2D9A}" dt="2018-12-09T19:12:55.038" v="4092" actId="26606"/>
          <ac:spMkLst>
            <pc:docMk/>
            <pc:sldMk cId="3253870213" sldId="8139"/>
            <ac:spMk id="17" creationId="{23207CC6-EAA1-4BFF-A48A-DECAD8972717}"/>
          </ac:spMkLst>
        </pc:spChg>
        <pc:spChg chg="add">
          <ac:chgData name="Lia Taylor" userId="2ccad05f-5017-4e2b-87e4-bbc6d22f4e64" providerId="ADAL" clId="{F700537D-3675-41CA-A525-EB2E79DB2D9A}" dt="2018-12-09T19:12:55.038" v="4092" actId="26606"/>
          <ac:spMkLst>
            <pc:docMk/>
            <pc:sldMk cId="3253870213" sldId="8139"/>
            <ac:spMk id="18" creationId="{B234A3DD-923D-4166-8B19-7DD589908C68}"/>
          </ac:spMkLst>
        </pc:spChg>
        <pc:spChg chg="add">
          <ac:chgData name="Lia Taylor" userId="2ccad05f-5017-4e2b-87e4-bbc6d22f4e64" providerId="ADAL" clId="{F700537D-3675-41CA-A525-EB2E79DB2D9A}" dt="2018-12-09T19:12:55.038" v="4092" actId="26606"/>
          <ac:spMkLst>
            <pc:docMk/>
            <pc:sldMk cId="3253870213" sldId="8139"/>
            <ac:spMk id="19" creationId="{F6ACA5AC-3C5D-4994-B40F-FC8349E4D6F4}"/>
          </ac:spMkLst>
        </pc:spChg>
      </pc:sldChg>
      <pc:sldChg chg="addSp delSp modSp add ord">
        <pc:chgData name="Lia Taylor" userId="2ccad05f-5017-4e2b-87e4-bbc6d22f4e64" providerId="ADAL" clId="{F700537D-3675-41CA-A525-EB2E79DB2D9A}" dt="2018-12-09T19:16:50.929" v="4110" actId="207"/>
        <pc:sldMkLst>
          <pc:docMk/>
          <pc:sldMk cId="610670078" sldId="8140"/>
        </pc:sldMkLst>
        <pc:spChg chg="del">
          <ac:chgData name="Lia Taylor" userId="2ccad05f-5017-4e2b-87e4-bbc6d22f4e64" providerId="ADAL" clId="{F700537D-3675-41CA-A525-EB2E79DB2D9A}" dt="2018-12-05T18:43:26.189" v="847" actId="478"/>
          <ac:spMkLst>
            <pc:docMk/>
            <pc:sldMk cId="610670078" sldId="8140"/>
            <ac:spMk id="2" creationId="{EF56340A-D5EF-48F1-BAF4-1381E88C6DCF}"/>
          </ac:spMkLst>
        </pc:spChg>
        <pc:spChg chg="add del mod">
          <ac:chgData name="Lia Taylor" userId="2ccad05f-5017-4e2b-87e4-bbc6d22f4e64" providerId="ADAL" clId="{F700537D-3675-41CA-A525-EB2E79DB2D9A}" dt="2018-12-05T18:43:29.417" v="848" actId="478"/>
          <ac:spMkLst>
            <pc:docMk/>
            <pc:sldMk cId="610670078" sldId="8140"/>
            <ac:spMk id="4" creationId="{C3F9D429-3F0B-468A-A740-457572F9AAEB}"/>
          </ac:spMkLst>
        </pc:spChg>
        <pc:spChg chg="add del">
          <ac:chgData name="Lia Taylor" userId="2ccad05f-5017-4e2b-87e4-bbc6d22f4e64" providerId="ADAL" clId="{F700537D-3675-41CA-A525-EB2E79DB2D9A}" dt="2018-12-09T18:47:08.321" v="3497" actId="478"/>
          <ac:spMkLst>
            <pc:docMk/>
            <pc:sldMk cId="610670078" sldId="8140"/>
            <ac:spMk id="6" creationId="{0ACC9211-8892-4F62-A6DE-7F6A8F5AC189}"/>
          </ac:spMkLst>
        </pc:spChg>
        <pc:spChg chg="mod">
          <ac:chgData name="Lia Taylor" userId="2ccad05f-5017-4e2b-87e4-bbc6d22f4e64" providerId="ADAL" clId="{F700537D-3675-41CA-A525-EB2E79DB2D9A}" dt="2018-12-09T19:16:50.929" v="4110" actId="207"/>
          <ac:spMkLst>
            <pc:docMk/>
            <pc:sldMk cId="610670078" sldId="8140"/>
            <ac:spMk id="7" creationId="{40023DCA-FFE3-4ED5-8BFB-F3468C904437}"/>
          </ac:spMkLst>
        </pc:spChg>
        <pc:spChg chg="add mod">
          <ac:chgData name="Lia Taylor" userId="2ccad05f-5017-4e2b-87e4-bbc6d22f4e64" providerId="ADAL" clId="{F700537D-3675-41CA-A525-EB2E79DB2D9A}" dt="2018-12-06T22:59:05.808" v="1675" actId="20577"/>
          <ac:spMkLst>
            <pc:docMk/>
            <pc:sldMk cId="610670078" sldId="8140"/>
            <ac:spMk id="8" creationId="{983CAB09-8B21-437E-BC10-16A14C3FAA05}"/>
          </ac:spMkLst>
        </pc:spChg>
        <pc:spChg chg="add del mod">
          <ac:chgData name="Lia Taylor" userId="2ccad05f-5017-4e2b-87e4-bbc6d22f4e64" providerId="ADAL" clId="{F700537D-3675-41CA-A525-EB2E79DB2D9A}" dt="2018-12-05T18:46:12.862" v="863" actId="478"/>
          <ac:spMkLst>
            <pc:docMk/>
            <pc:sldMk cId="610670078" sldId="8140"/>
            <ac:spMk id="9" creationId="{1BDF15B5-5188-44B7-88E3-B9786A656738}"/>
          </ac:spMkLst>
        </pc:spChg>
        <pc:spChg chg="add del mod">
          <ac:chgData name="Lia Taylor" userId="2ccad05f-5017-4e2b-87e4-bbc6d22f4e64" providerId="ADAL" clId="{F700537D-3675-41CA-A525-EB2E79DB2D9A}" dt="2018-12-05T18:46:34.640" v="867" actId="478"/>
          <ac:spMkLst>
            <pc:docMk/>
            <pc:sldMk cId="610670078" sldId="8140"/>
            <ac:spMk id="10" creationId="{E4C68E14-E5D9-4231-B239-77FEC5DEE22E}"/>
          </ac:spMkLst>
        </pc:spChg>
        <pc:spChg chg="add del">
          <ac:chgData name="Lia Taylor" userId="2ccad05f-5017-4e2b-87e4-bbc6d22f4e64" providerId="ADAL" clId="{F700537D-3675-41CA-A525-EB2E79DB2D9A}" dt="2018-12-05T18:46:23.402" v="865" actId="478"/>
          <ac:spMkLst>
            <pc:docMk/>
            <pc:sldMk cId="610670078" sldId="8140"/>
            <ac:spMk id="11" creationId="{A312DF83-502D-42AE-A342-C304EA752D26}"/>
          </ac:spMkLst>
        </pc:spChg>
        <pc:spChg chg="add mod">
          <ac:chgData name="Lia Taylor" userId="2ccad05f-5017-4e2b-87e4-bbc6d22f4e64" providerId="ADAL" clId="{F700537D-3675-41CA-A525-EB2E79DB2D9A}" dt="2018-12-06T23:00:53.507" v="1706" actId="6549"/>
          <ac:spMkLst>
            <pc:docMk/>
            <pc:sldMk cId="610670078" sldId="8140"/>
            <ac:spMk id="12" creationId="{5CCCB3BB-B471-41C5-B75E-E96C3A984935}"/>
          </ac:spMkLst>
        </pc:spChg>
      </pc:sldChg>
      <pc:sldChg chg="add del">
        <pc:chgData name="Lia Taylor" userId="2ccad05f-5017-4e2b-87e4-bbc6d22f4e64" providerId="ADAL" clId="{F700537D-3675-41CA-A525-EB2E79DB2D9A}" dt="2018-12-07T21:49:18.508" v="1785" actId="2696"/>
        <pc:sldMkLst>
          <pc:docMk/>
          <pc:sldMk cId="1663593909" sldId="8141"/>
        </pc:sldMkLst>
      </pc:sldChg>
      <pc:sldChg chg="add del">
        <pc:chgData name="Lia Taylor" userId="2ccad05f-5017-4e2b-87e4-bbc6d22f4e64" providerId="ADAL" clId="{F700537D-3675-41CA-A525-EB2E79DB2D9A}" dt="2018-12-10T21:32:43.604" v="4470" actId="2696"/>
        <pc:sldMkLst>
          <pc:docMk/>
          <pc:sldMk cId="2933327061" sldId="8141"/>
        </pc:sldMkLst>
      </pc:sldChg>
      <pc:sldChg chg="add del">
        <pc:chgData name="Lia Taylor" userId="2ccad05f-5017-4e2b-87e4-bbc6d22f4e64" providerId="ADAL" clId="{F700537D-3675-41CA-A525-EB2E79DB2D9A}" dt="2018-12-07T21:49:29.820" v="1788"/>
        <pc:sldMkLst>
          <pc:docMk/>
          <pc:sldMk cId="4050082321" sldId="8141"/>
        </pc:sldMkLst>
      </pc:sldChg>
      <pc:sldChg chg="add del">
        <pc:chgData name="Lia Taylor" userId="2ccad05f-5017-4e2b-87e4-bbc6d22f4e64" providerId="ADAL" clId="{F700537D-3675-41CA-A525-EB2E79DB2D9A}" dt="2018-12-07T21:49:29.820" v="1788"/>
        <pc:sldMkLst>
          <pc:docMk/>
          <pc:sldMk cId="2082035221" sldId="8142"/>
        </pc:sldMkLst>
      </pc:sldChg>
      <pc:sldChg chg="add del">
        <pc:chgData name="Lia Taylor" userId="2ccad05f-5017-4e2b-87e4-bbc6d22f4e64" providerId="ADAL" clId="{F700537D-3675-41CA-A525-EB2E79DB2D9A}" dt="2018-12-10T21:32:43.538" v="4469" actId="2696"/>
        <pc:sldMkLst>
          <pc:docMk/>
          <pc:sldMk cId="2511765867" sldId="8142"/>
        </pc:sldMkLst>
      </pc:sldChg>
      <pc:sldChg chg="modSp add del">
        <pc:chgData name="Lia Taylor" userId="2ccad05f-5017-4e2b-87e4-bbc6d22f4e64" providerId="ADAL" clId="{F700537D-3675-41CA-A525-EB2E79DB2D9A}" dt="2018-12-07T21:49:18.522" v="1786" actId="2696"/>
        <pc:sldMkLst>
          <pc:docMk/>
          <pc:sldMk cId="3578398147" sldId="8142"/>
        </pc:sldMkLst>
        <pc:spChg chg="mod">
          <ac:chgData name="Lia Taylor" userId="2ccad05f-5017-4e2b-87e4-bbc6d22f4e64" providerId="ADAL" clId="{F700537D-3675-41CA-A525-EB2E79DB2D9A}" dt="2018-12-05T19:57:11.124" v="1237" actId="20577"/>
          <ac:spMkLst>
            <pc:docMk/>
            <pc:sldMk cId="3578398147" sldId="8142"/>
            <ac:spMk id="2" creationId="{BFCE8D4F-9831-4C46-99AB-37F637107CB5}"/>
          </ac:spMkLst>
        </pc:spChg>
      </pc:sldChg>
      <pc:sldChg chg="addSp delSp modSp ord">
        <pc:chgData name="Lia Taylor" userId="2ccad05f-5017-4e2b-87e4-bbc6d22f4e64" providerId="ADAL" clId="{F700537D-3675-41CA-A525-EB2E79DB2D9A}" dt="2018-12-11T22:19:26.900" v="5700" actId="478"/>
        <pc:sldMkLst>
          <pc:docMk/>
          <pc:sldMk cId="357016989" sldId="8143"/>
        </pc:sldMkLst>
        <pc:spChg chg="mod">
          <ac:chgData name="Lia Taylor" userId="2ccad05f-5017-4e2b-87e4-bbc6d22f4e64" providerId="ADAL" clId="{F700537D-3675-41CA-A525-EB2E79DB2D9A}" dt="2018-12-11T20:59:47.778" v="5266" actId="1076"/>
          <ac:spMkLst>
            <pc:docMk/>
            <pc:sldMk cId="357016989" sldId="8143"/>
            <ac:spMk id="2" creationId="{E0E88D62-7960-49C7-9805-BC53373172AE}"/>
          </ac:spMkLst>
        </pc:spChg>
        <pc:spChg chg="del">
          <ac:chgData name="Lia Taylor" userId="2ccad05f-5017-4e2b-87e4-bbc6d22f4e64" providerId="ADAL" clId="{F700537D-3675-41CA-A525-EB2E79DB2D9A}" dt="2018-12-11T22:19:26.900" v="5700" actId="478"/>
          <ac:spMkLst>
            <pc:docMk/>
            <pc:sldMk cId="357016989" sldId="8143"/>
            <ac:spMk id="3" creationId="{F5D23726-19AD-49AE-A984-778DD1319A9D}"/>
          </ac:spMkLst>
        </pc:spChg>
        <pc:spChg chg="add mod">
          <ac:chgData name="Lia Taylor" userId="2ccad05f-5017-4e2b-87e4-bbc6d22f4e64" providerId="ADAL" clId="{F700537D-3675-41CA-A525-EB2E79DB2D9A}" dt="2018-12-11T20:59:44.101" v="5265" actId="1076"/>
          <ac:spMkLst>
            <pc:docMk/>
            <pc:sldMk cId="357016989" sldId="8143"/>
            <ac:spMk id="4" creationId="{1A9B76CA-CBE9-457F-BB09-7713F124642A}"/>
          </ac:spMkLst>
        </pc:spChg>
        <pc:spChg chg="del">
          <ac:chgData name="Lia Taylor" userId="2ccad05f-5017-4e2b-87e4-bbc6d22f4e64" providerId="ADAL" clId="{F700537D-3675-41CA-A525-EB2E79DB2D9A}" dt="2018-12-07T22:40:35.745" v="3262" actId="478"/>
          <ac:spMkLst>
            <pc:docMk/>
            <pc:sldMk cId="357016989" sldId="8143"/>
            <ac:spMk id="20" creationId="{25168491-EBDB-460E-9E00-B8FF24F976D8}"/>
          </ac:spMkLst>
        </pc:spChg>
        <pc:spChg chg="del">
          <ac:chgData name="Lia Taylor" userId="2ccad05f-5017-4e2b-87e4-bbc6d22f4e64" providerId="ADAL" clId="{F700537D-3675-41CA-A525-EB2E79DB2D9A}" dt="2018-12-09T18:56:10.387" v="3606" actId="478"/>
          <ac:spMkLst>
            <pc:docMk/>
            <pc:sldMk cId="357016989" sldId="8143"/>
            <ac:spMk id="21" creationId="{F09C18E5-D9D6-4368-ABD1-35FAB323DC07}"/>
          </ac:spMkLst>
        </pc:spChg>
        <pc:spChg chg="add mod">
          <ac:chgData name="Lia Taylor" userId="2ccad05f-5017-4e2b-87e4-bbc6d22f4e64" providerId="ADAL" clId="{F700537D-3675-41CA-A525-EB2E79DB2D9A}" dt="2018-12-09T19:03:22.206" v="3884" actId="113"/>
          <ac:spMkLst>
            <pc:docMk/>
            <pc:sldMk cId="357016989" sldId="8143"/>
            <ac:spMk id="22" creationId="{5C969F52-4586-4651-ADAD-86DAE4A7B103}"/>
          </ac:spMkLst>
        </pc:spChg>
      </pc:sldChg>
      <pc:sldChg chg="addSp delSp modSp delCm">
        <pc:chgData name="Lia Taylor" userId="2ccad05f-5017-4e2b-87e4-bbc6d22f4e64" providerId="ADAL" clId="{F700537D-3675-41CA-A525-EB2E79DB2D9A}" dt="2018-12-13T20:11:59.915" v="6728" actId="1592"/>
        <pc:sldMkLst>
          <pc:docMk/>
          <pc:sldMk cId="3635774934" sldId="8144"/>
        </pc:sldMkLst>
        <pc:spChg chg="del">
          <ac:chgData name="Lia Taylor" userId="2ccad05f-5017-4e2b-87e4-bbc6d22f4e64" providerId="ADAL" clId="{F700537D-3675-41CA-A525-EB2E79DB2D9A}" dt="2018-12-07T22:43:54" v="3298" actId="478"/>
          <ac:spMkLst>
            <pc:docMk/>
            <pc:sldMk cId="3635774934" sldId="8144"/>
            <ac:spMk id="39" creationId="{67ACED00-315A-4DDD-B655-180CEFCCC74F}"/>
          </ac:spMkLst>
        </pc:spChg>
        <pc:spChg chg="add mod">
          <ac:chgData name="Lia Taylor" userId="2ccad05f-5017-4e2b-87e4-bbc6d22f4e64" providerId="ADAL" clId="{F700537D-3675-41CA-A525-EB2E79DB2D9A}" dt="2018-12-09T19:03:35.184" v="3886" actId="113"/>
          <ac:spMkLst>
            <pc:docMk/>
            <pc:sldMk cId="3635774934" sldId="8144"/>
            <ac:spMk id="56" creationId="{2D8A7621-D809-451F-BEF3-998872E089DC}"/>
          </ac:spMkLst>
        </pc:spChg>
        <pc:spChg chg="add del">
          <ac:chgData name="Lia Taylor" userId="2ccad05f-5017-4e2b-87e4-bbc6d22f4e64" providerId="ADAL" clId="{F700537D-3675-41CA-A525-EB2E79DB2D9A}" dt="2018-12-09T18:45:24.053" v="3475" actId="478"/>
          <ac:spMkLst>
            <pc:docMk/>
            <pc:sldMk cId="3635774934" sldId="8144"/>
            <ac:spMk id="57" creationId="{E336F2F4-081E-48DB-B6E8-19A3351BA365}"/>
          </ac:spMkLst>
        </pc:spChg>
        <pc:spChg chg="mod">
          <ac:chgData name="Lia Taylor" userId="2ccad05f-5017-4e2b-87e4-bbc6d22f4e64" providerId="ADAL" clId="{F700537D-3675-41CA-A525-EB2E79DB2D9A}" dt="2018-12-13T20:11:56.602" v="6727" actId="20577"/>
          <ac:spMkLst>
            <pc:docMk/>
            <pc:sldMk cId="3635774934" sldId="8144"/>
            <ac:spMk id="195" creationId="{79224A56-C3C8-4A40-B996-633B1EE60DD3}"/>
          </ac:spMkLst>
        </pc:spChg>
        <pc:spChg chg="mod">
          <ac:chgData name="Lia Taylor" userId="2ccad05f-5017-4e2b-87e4-bbc6d22f4e64" providerId="ADAL" clId="{F700537D-3675-41CA-A525-EB2E79DB2D9A}" dt="2018-12-09T18:55:04.673" v="3573" actId="208"/>
          <ac:spMkLst>
            <pc:docMk/>
            <pc:sldMk cId="3635774934" sldId="8144"/>
            <ac:spMk id="196" creationId="{210A9091-9286-4CF6-9EF4-A6B600261113}"/>
          </ac:spMkLst>
        </pc:spChg>
        <pc:spChg chg="mod">
          <ac:chgData name="Lia Taylor" userId="2ccad05f-5017-4e2b-87e4-bbc6d22f4e64" providerId="ADAL" clId="{F700537D-3675-41CA-A525-EB2E79DB2D9A}" dt="2018-12-09T18:54:52.624" v="3572" actId="208"/>
          <ac:spMkLst>
            <pc:docMk/>
            <pc:sldMk cId="3635774934" sldId="8144"/>
            <ac:spMk id="235" creationId="{1A0893ED-66F9-4A30-884D-2811E9083B21}"/>
          </ac:spMkLst>
        </pc:spChg>
        <pc:spChg chg="mod">
          <ac:chgData name="Lia Taylor" userId="2ccad05f-5017-4e2b-87e4-bbc6d22f4e64" providerId="ADAL" clId="{F700537D-3675-41CA-A525-EB2E79DB2D9A}" dt="2018-12-09T18:54:32.927" v="3571" actId="20577"/>
          <ac:spMkLst>
            <pc:docMk/>
            <pc:sldMk cId="3635774934" sldId="8144"/>
            <ac:spMk id="236" creationId="{472ADACA-5118-410C-A877-13FE7F565B1D}"/>
          </ac:spMkLst>
        </pc:spChg>
        <pc:grpChg chg="mod">
          <ac:chgData name="Lia Taylor" userId="2ccad05f-5017-4e2b-87e4-bbc6d22f4e64" providerId="ADAL" clId="{F700537D-3675-41CA-A525-EB2E79DB2D9A}" dt="2018-12-09T18:55:12.359" v="3574" actId="207"/>
          <ac:grpSpMkLst>
            <pc:docMk/>
            <pc:sldMk cId="3635774934" sldId="8144"/>
            <ac:grpSpMk id="194" creationId="{23976186-A535-439A-999D-B04BCFDB6E99}"/>
          </ac:grpSpMkLst>
        </pc:grpChg>
        <pc:grpChg chg="mod">
          <ac:chgData name="Lia Taylor" userId="2ccad05f-5017-4e2b-87e4-bbc6d22f4e64" providerId="ADAL" clId="{F700537D-3675-41CA-A525-EB2E79DB2D9A}" dt="2018-12-09T18:54:28.529" v="3569" actId="207"/>
          <ac:grpSpMkLst>
            <pc:docMk/>
            <pc:sldMk cId="3635774934" sldId="8144"/>
            <ac:grpSpMk id="234" creationId="{0B806783-60DC-4BC0-8450-DFB83F2AF90C}"/>
          </ac:grpSpMkLst>
        </pc:grpChg>
      </pc:sldChg>
      <pc:sldChg chg="add del">
        <pc:chgData name="Lia Taylor" userId="2ccad05f-5017-4e2b-87e4-bbc6d22f4e64" providerId="ADAL" clId="{F700537D-3675-41CA-A525-EB2E79DB2D9A}" dt="2018-12-09T19:24:07.276" v="4271" actId="2696"/>
        <pc:sldMkLst>
          <pc:docMk/>
          <pc:sldMk cId="2278862104" sldId="8145"/>
        </pc:sldMkLst>
      </pc:sldChg>
      <pc:sldChg chg="addSp delSp modSp add">
        <pc:chgData name="Lia Taylor" userId="2ccad05f-5017-4e2b-87e4-bbc6d22f4e64" providerId="ADAL" clId="{F700537D-3675-41CA-A525-EB2E79DB2D9A}" dt="2018-12-09T20:00:13.700" v="4451" actId="113"/>
        <pc:sldMkLst>
          <pc:docMk/>
          <pc:sldMk cId="4290153864" sldId="8146"/>
        </pc:sldMkLst>
        <pc:spChg chg="mod">
          <ac:chgData name="Lia Taylor" userId="2ccad05f-5017-4e2b-87e4-bbc6d22f4e64" providerId="ADAL" clId="{F700537D-3675-41CA-A525-EB2E79DB2D9A}" dt="2018-12-09T20:00:13.700" v="4451" actId="113"/>
          <ac:spMkLst>
            <pc:docMk/>
            <pc:sldMk cId="4290153864" sldId="8146"/>
            <ac:spMk id="2" creationId="{B7BEF25B-8F33-4CB2-87BF-DD4CDD8FC209}"/>
          </ac:spMkLst>
        </pc:spChg>
        <pc:picChg chg="add mod">
          <ac:chgData name="Lia Taylor" userId="2ccad05f-5017-4e2b-87e4-bbc6d22f4e64" providerId="ADAL" clId="{F700537D-3675-41CA-A525-EB2E79DB2D9A}" dt="2018-12-09T19:21:23.021" v="4254" actId="1076"/>
          <ac:picMkLst>
            <pc:docMk/>
            <pc:sldMk cId="4290153864" sldId="8146"/>
            <ac:picMk id="5" creationId="{B49F1821-B933-4AAC-8E42-0EB21FBD951C}"/>
          </ac:picMkLst>
        </pc:picChg>
        <pc:picChg chg="add del mod">
          <ac:chgData name="Lia Taylor" userId="2ccad05f-5017-4e2b-87e4-bbc6d22f4e64" providerId="ADAL" clId="{F700537D-3675-41CA-A525-EB2E79DB2D9A}" dt="2018-12-09T19:22:37.376" v="4268"/>
          <ac:picMkLst>
            <pc:docMk/>
            <pc:sldMk cId="4290153864" sldId="8146"/>
            <ac:picMk id="6" creationId="{58F6DB9A-95BB-4D54-A1BB-00EBC777F808}"/>
          </ac:picMkLst>
        </pc:picChg>
        <pc:picChg chg="del">
          <ac:chgData name="Lia Taylor" userId="2ccad05f-5017-4e2b-87e4-bbc6d22f4e64" providerId="ADAL" clId="{F700537D-3675-41CA-A525-EB2E79DB2D9A}" dt="2018-12-09T19:21:09.661" v="4250" actId="478"/>
          <ac:picMkLst>
            <pc:docMk/>
            <pc:sldMk cId="4290153864" sldId="8146"/>
            <ac:picMk id="1026" creationId="{0FB70DFA-F1C3-4ADB-BA7B-BC1FD49E0F60}"/>
          </ac:picMkLst>
        </pc:picChg>
      </pc:sldChg>
      <pc:sldChg chg="addSp delSp modSp add delCm">
        <pc:chgData name="Lia Taylor" userId="2ccad05f-5017-4e2b-87e4-bbc6d22f4e64" providerId="ADAL" clId="{F700537D-3675-41CA-A525-EB2E79DB2D9A}" dt="2018-12-13T22:32:17.210" v="6791" actId="1592"/>
        <pc:sldMkLst>
          <pc:docMk/>
          <pc:sldMk cId="3604590298" sldId="8147"/>
        </pc:sldMkLst>
        <pc:spChg chg="mod">
          <ac:chgData name="Lia Taylor" userId="2ccad05f-5017-4e2b-87e4-bbc6d22f4e64" providerId="ADAL" clId="{F700537D-3675-41CA-A525-EB2E79DB2D9A}" dt="2018-12-13T20:07:56.233" v="6697" actId="20577"/>
          <ac:spMkLst>
            <pc:docMk/>
            <pc:sldMk cId="3604590298" sldId="8147"/>
            <ac:spMk id="2" creationId="{B7BEF25B-8F33-4CB2-87BF-DD4CDD8FC209}"/>
          </ac:spMkLst>
        </pc:spChg>
        <pc:picChg chg="add mod">
          <ac:chgData name="Lia Taylor" userId="2ccad05f-5017-4e2b-87e4-bbc6d22f4e64" providerId="ADAL" clId="{F700537D-3675-41CA-A525-EB2E79DB2D9A}" dt="2018-12-09T19:26:06.159" v="4285" actId="14100"/>
          <ac:picMkLst>
            <pc:docMk/>
            <pc:sldMk cId="3604590298" sldId="8147"/>
            <ac:picMk id="5" creationId="{142E65E2-BA32-4CF5-9146-9160FA88DC8D}"/>
          </ac:picMkLst>
        </pc:picChg>
        <pc:picChg chg="del">
          <ac:chgData name="Lia Taylor" userId="2ccad05f-5017-4e2b-87e4-bbc6d22f4e64" providerId="ADAL" clId="{F700537D-3675-41CA-A525-EB2E79DB2D9A}" dt="2018-12-09T19:24:12.311" v="4272" actId="478"/>
          <ac:picMkLst>
            <pc:docMk/>
            <pc:sldMk cId="3604590298" sldId="8147"/>
            <ac:picMk id="5" creationId="{B49F1821-B933-4AAC-8E42-0EB21FBD951C}"/>
          </ac:picMkLst>
        </pc:picChg>
        <pc:picChg chg="add del mod">
          <ac:chgData name="Lia Taylor" userId="2ccad05f-5017-4e2b-87e4-bbc6d22f4e64" providerId="ADAL" clId="{F700537D-3675-41CA-A525-EB2E79DB2D9A}" dt="2018-12-09T19:25:54.236" v="4283" actId="478"/>
          <ac:picMkLst>
            <pc:docMk/>
            <pc:sldMk cId="3604590298" sldId="8147"/>
            <ac:picMk id="6" creationId="{BD3AF5A2-63D1-4053-A8B1-65D2FB8B503B}"/>
          </ac:picMkLst>
        </pc:picChg>
      </pc:sldChg>
      <pc:sldChg chg="addSp delSp modSp add delCm">
        <pc:chgData name="Lia Taylor" userId="2ccad05f-5017-4e2b-87e4-bbc6d22f4e64" providerId="ADAL" clId="{F700537D-3675-41CA-A525-EB2E79DB2D9A}" dt="2018-12-13T22:32:17.204" v="6790" actId="1592"/>
        <pc:sldMkLst>
          <pc:docMk/>
          <pc:sldMk cId="2397821929" sldId="8148"/>
        </pc:sldMkLst>
        <pc:spChg chg="mod">
          <ac:chgData name="Lia Taylor" userId="2ccad05f-5017-4e2b-87e4-bbc6d22f4e64" providerId="ADAL" clId="{F700537D-3675-41CA-A525-EB2E79DB2D9A}" dt="2018-12-13T20:10:28.983" v="6718" actId="20577"/>
          <ac:spMkLst>
            <pc:docMk/>
            <pc:sldMk cId="2397821929" sldId="8148"/>
            <ac:spMk id="2" creationId="{B7BEF25B-8F33-4CB2-87BF-DD4CDD8FC209}"/>
          </ac:spMkLst>
        </pc:spChg>
        <pc:picChg chg="del">
          <ac:chgData name="Lia Taylor" userId="2ccad05f-5017-4e2b-87e4-bbc6d22f4e64" providerId="ADAL" clId="{F700537D-3675-41CA-A525-EB2E79DB2D9A}" dt="2018-12-09T19:27:01.555" v="4308" actId="478"/>
          <ac:picMkLst>
            <pc:docMk/>
            <pc:sldMk cId="2397821929" sldId="8148"/>
            <ac:picMk id="5" creationId="{B49F1821-B933-4AAC-8E42-0EB21FBD951C}"/>
          </ac:picMkLst>
        </pc:picChg>
        <pc:picChg chg="add mod">
          <ac:chgData name="Lia Taylor" userId="2ccad05f-5017-4e2b-87e4-bbc6d22f4e64" providerId="ADAL" clId="{F700537D-3675-41CA-A525-EB2E79DB2D9A}" dt="2018-12-09T19:27:10.294" v="4311" actId="1076"/>
          <ac:picMkLst>
            <pc:docMk/>
            <pc:sldMk cId="2397821929" sldId="8148"/>
            <ac:picMk id="6" creationId="{A62A24FA-1A7B-4F4A-A672-35A7C1B526FF}"/>
          </ac:picMkLst>
        </pc:picChg>
      </pc:sldChg>
      <pc:sldChg chg="addSp delSp modSp">
        <pc:chgData name="Lia Taylor" userId="2ccad05f-5017-4e2b-87e4-bbc6d22f4e64" providerId="ADAL" clId="{F700537D-3675-41CA-A525-EB2E79DB2D9A}" dt="2018-12-12T03:41:20.720" v="6418" actId="403"/>
        <pc:sldMkLst>
          <pc:docMk/>
          <pc:sldMk cId="1214537133" sldId="8150"/>
        </pc:sldMkLst>
        <pc:spChg chg="del">
          <ac:chgData name="Lia Taylor" userId="2ccad05f-5017-4e2b-87e4-bbc6d22f4e64" providerId="ADAL" clId="{F700537D-3675-41CA-A525-EB2E79DB2D9A}" dt="2018-12-11T22:32:16.806" v="5870" actId="478"/>
          <ac:spMkLst>
            <pc:docMk/>
            <pc:sldMk cId="1214537133" sldId="8150"/>
            <ac:spMk id="2" creationId="{48E207A8-FAB7-4AB7-99C5-F585186800CF}"/>
          </ac:spMkLst>
        </pc:spChg>
        <pc:spChg chg="add del mod">
          <ac:chgData name="Lia Taylor" userId="2ccad05f-5017-4e2b-87e4-bbc6d22f4e64" providerId="ADAL" clId="{F700537D-3675-41CA-A525-EB2E79DB2D9A}" dt="2018-12-11T22:32:18.364" v="5871" actId="478"/>
          <ac:spMkLst>
            <pc:docMk/>
            <pc:sldMk cId="1214537133" sldId="8150"/>
            <ac:spMk id="4" creationId="{7445BA2F-9623-41A5-83A1-59341F3D89E8}"/>
          </ac:spMkLst>
        </pc:spChg>
        <pc:spChg chg="mod">
          <ac:chgData name="Lia Taylor" userId="2ccad05f-5017-4e2b-87e4-bbc6d22f4e64" providerId="ADAL" clId="{F700537D-3675-41CA-A525-EB2E79DB2D9A}" dt="2018-12-12T03:41:10.256" v="6415"/>
          <ac:spMkLst>
            <pc:docMk/>
            <pc:sldMk cId="1214537133" sldId="8150"/>
            <ac:spMk id="8" creationId="{D80A8C82-7FB5-4500-A7CF-D522289183CF}"/>
          </ac:spMkLst>
        </pc:spChg>
        <pc:spChg chg="mod">
          <ac:chgData name="Lia Taylor" userId="2ccad05f-5017-4e2b-87e4-bbc6d22f4e64" providerId="ADAL" clId="{F700537D-3675-41CA-A525-EB2E79DB2D9A}" dt="2018-12-12T03:41:20.720" v="6418" actId="403"/>
          <ac:spMkLst>
            <pc:docMk/>
            <pc:sldMk cId="1214537133" sldId="8150"/>
            <ac:spMk id="9" creationId="{BF3D46F8-8C86-404A-B033-B6FAD1A9B432}"/>
          </ac:spMkLst>
        </pc:spChg>
        <pc:spChg chg="mod">
          <ac:chgData name="Lia Taylor" userId="2ccad05f-5017-4e2b-87e4-bbc6d22f4e64" providerId="ADAL" clId="{F700537D-3675-41CA-A525-EB2E79DB2D9A}" dt="2018-12-11T22:34:36.148" v="5886" actId="403"/>
          <ac:spMkLst>
            <pc:docMk/>
            <pc:sldMk cId="1214537133" sldId="8150"/>
            <ac:spMk id="10" creationId="{42EA7D76-8687-45F3-AA8E-8E9147BA12C7}"/>
          </ac:spMkLst>
        </pc:spChg>
        <pc:spChg chg="add mod">
          <ac:chgData name="Lia Taylor" userId="2ccad05f-5017-4e2b-87e4-bbc6d22f4e64" providerId="ADAL" clId="{F700537D-3675-41CA-A525-EB2E79DB2D9A}" dt="2018-12-11T22:35:37.180" v="5897" actId="113"/>
          <ac:spMkLst>
            <pc:docMk/>
            <pc:sldMk cId="1214537133" sldId="8150"/>
            <ac:spMk id="12" creationId="{5CB033A5-2E3A-4627-93DD-52F03B2613BC}"/>
          </ac:spMkLst>
        </pc:spChg>
        <pc:grpChg chg="del">
          <ac:chgData name="Lia Taylor" userId="2ccad05f-5017-4e2b-87e4-bbc6d22f4e64" providerId="ADAL" clId="{F700537D-3675-41CA-A525-EB2E79DB2D9A}" dt="2018-12-11T22:37:00.153" v="5926" actId="478"/>
          <ac:grpSpMkLst>
            <pc:docMk/>
            <pc:sldMk cId="1214537133" sldId="8150"/>
            <ac:grpSpMk id="13" creationId="{FE8F0CF5-87FF-4535-BEE2-73B2B0C888CE}"/>
          </ac:grpSpMkLst>
        </pc:grpChg>
        <pc:picChg chg="add mod modCrop">
          <ac:chgData name="Lia Taylor" userId="2ccad05f-5017-4e2b-87e4-bbc6d22f4e64" providerId="ADAL" clId="{F700537D-3675-41CA-A525-EB2E79DB2D9A}" dt="2018-12-12T03:31:43.152" v="6247" actId="1076"/>
          <ac:picMkLst>
            <pc:docMk/>
            <pc:sldMk cId="1214537133" sldId="8150"/>
            <ac:picMk id="5" creationId="{9FE6B100-5475-4986-92CE-F2FEC9EDBE2D}"/>
          </ac:picMkLst>
        </pc:picChg>
      </pc:sldChg>
      <pc:sldChg chg="delSp modSp add del">
        <pc:chgData name="Lia Taylor" userId="2ccad05f-5017-4e2b-87e4-bbc6d22f4e64" providerId="ADAL" clId="{F700537D-3675-41CA-A525-EB2E79DB2D9A}" dt="2018-12-12T17:47:50.941" v="6474" actId="2696"/>
        <pc:sldMkLst>
          <pc:docMk/>
          <pc:sldMk cId="2949448066" sldId="8282"/>
        </pc:sldMkLst>
        <pc:spChg chg="del">
          <ac:chgData name="Lia Taylor" userId="2ccad05f-5017-4e2b-87e4-bbc6d22f4e64" providerId="ADAL" clId="{F700537D-3675-41CA-A525-EB2E79DB2D9A}" dt="2018-12-10T22:52:57.799" v="5115"/>
          <ac:spMkLst>
            <pc:docMk/>
            <pc:sldMk cId="2949448066" sldId="8282"/>
            <ac:spMk id="3" creationId="{00000000-0000-0000-0000-000000000000}"/>
          </ac:spMkLst>
        </pc:spChg>
        <pc:spChg chg="mod">
          <ac:chgData name="Lia Taylor" userId="2ccad05f-5017-4e2b-87e4-bbc6d22f4e64" providerId="ADAL" clId="{F700537D-3675-41CA-A525-EB2E79DB2D9A}" dt="2018-12-10T22:48:40.177" v="4966" actId="6549"/>
          <ac:spMkLst>
            <pc:docMk/>
            <pc:sldMk cId="2949448066" sldId="8282"/>
            <ac:spMk id="4" creationId="{CD34C2C3-438D-45A9-BB85-838E2E5E5F89}"/>
          </ac:spMkLst>
        </pc:spChg>
        <pc:spChg chg="mod">
          <ac:chgData name="Lia Taylor" userId="2ccad05f-5017-4e2b-87e4-bbc6d22f4e64" providerId="ADAL" clId="{F700537D-3675-41CA-A525-EB2E79DB2D9A}" dt="2018-12-10T22:52:53.349" v="5114" actId="20577"/>
          <ac:spMkLst>
            <pc:docMk/>
            <pc:sldMk cId="2949448066" sldId="8282"/>
            <ac:spMk id="31" creationId="{EC659989-625E-4A0A-9F55-06FFEFF48E99}"/>
          </ac:spMkLst>
        </pc:spChg>
        <pc:spChg chg="mod">
          <ac:chgData name="Lia Taylor" userId="2ccad05f-5017-4e2b-87e4-bbc6d22f4e64" providerId="ADAL" clId="{F700537D-3675-41CA-A525-EB2E79DB2D9A}" dt="2018-12-10T22:52:44.949" v="5113" actId="20577"/>
          <ac:spMkLst>
            <pc:docMk/>
            <pc:sldMk cId="2949448066" sldId="8282"/>
            <ac:spMk id="35" creationId="{F7D39B15-924C-4E95-8C05-1D3E1F46F514}"/>
          </ac:spMkLst>
        </pc:spChg>
        <pc:spChg chg="mod">
          <ac:chgData name="Lia Taylor" userId="2ccad05f-5017-4e2b-87e4-bbc6d22f4e64" providerId="ADAL" clId="{F700537D-3675-41CA-A525-EB2E79DB2D9A}" dt="2018-12-10T22:52:17.760" v="5073" actId="14100"/>
          <ac:spMkLst>
            <pc:docMk/>
            <pc:sldMk cId="2949448066" sldId="8282"/>
            <ac:spMk id="38" creationId="{9D20F245-FB23-4892-AAF2-B25FCD6B59C5}"/>
          </ac:spMkLst>
        </pc:spChg>
        <pc:spChg chg="mod">
          <ac:chgData name="Lia Taylor" userId="2ccad05f-5017-4e2b-87e4-bbc6d22f4e64" providerId="ADAL" clId="{F700537D-3675-41CA-A525-EB2E79DB2D9A}" dt="2018-12-10T22:51:10.749" v="4987" actId="20577"/>
          <ac:spMkLst>
            <pc:docMk/>
            <pc:sldMk cId="2949448066" sldId="8282"/>
            <ac:spMk id="42" creationId="{5ED99ACA-6F32-404D-9FD3-854EB48FC604}"/>
          </ac:spMkLst>
        </pc:spChg>
        <pc:spChg chg="mod">
          <ac:chgData name="Lia Taylor" userId="2ccad05f-5017-4e2b-87e4-bbc6d22f4e64" providerId="ADAL" clId="{F700537D-3675-41CA-A525-EB2E79DB2D9A}" dt="2018-12-10T22:51:31.516" v="5011" actId="20577"/>
          <ac:spMkLst>
            <pc:docMk/>
            <pc:sldMk cId="2949448066" sldId="8282"/>
            <ac:spMk id="46" creationId="{9CB8062F-AFDF-4A1F-9826-0800CB50067F}"/>
          </ac:spMkLst>
        </pc:spChg>
      </pc:sldChg>
      <pc:sldChg chg="add del">
        <pc:chgData name="Lia Taylor" userId="2ccad05f-5017-4e2b-87e4-bbc6d22f4e64" providerId="ADAL" clId="{F700537D-3675-41CA-A525-EB2E79DB2D9A}" dt="2018-12-12T17:47:50.630" v="6472" actId="2696"/>
        <pc:sldMkLst>
          <pc:docMk/>
          <pc:sldMk cId="369640055" sldId="8284"/>
        </pc:sldMkLst>
      </pc:sldChg>
      <pc:sldChg chg="del">
        <pc:chgData name="Lia Taylor" userId="2ccad05f-5017-4e2b-87e4-bbc6d22f4e64" providerId="ADAL" clId="{F700537D-3675-41CA-A525-EB2E79DB2D9A}" dt="2018-12-11T19:10:06.718" v="5116" actId="2696"/>
        <pc:sldMkLst>
          <pc:docMk/>
          <pc:sldMk cId="1401978099" sldId="8284"/>
        </pc:sldMkLst>
      </pc:sldChg>
      <pc:sldChg chg="addSp delSp modSp">
        <pc:chgData name="Lia Taylor" userId="2ccad05f-5017-4e2b-87e4-bbc6d22f4e64" providerId="ADAL" clId="{F700537D-3675-41CA-A525-EB2E79DB2D9A}" dt="2018-12-12T03:44:30.171" v="6466" actId="20577"/>
        <pc:sldMkLst>
          <pc:docMk/>
          <pc:sldMk cId="411881949" sldId="8285"/>
        </pc:sldMkLst>
        <pc:spChg chg="del">
          <ac:chgData name="Lia Taylor" userId="2ccad05f-5017-4e2b-87e4-bbc6d22f4e64" providerId="ADAL" clId="{F700537D-3675-41CA-A525-EB2E79DB2D9A}" dt="2018-12-11T22:33:04.888" v="5875" actId="478"/>
          <ac:spMkLst>
            <pc:docMk/>
            <pc:sldMk cId="411881949" sldId="8285"/>
            <ac:spMk id="2" creationId="{48E207A8-FAB7-4AB7-99C5-F585186800CF}"/>
          </ac:spMkLst>
        </pc:spChg>
        <pc:spChg chg="add del mod">
          <ac:chgData name="Lia Taylor" userId="2ccad05f-5017-4e2b-87e4-bbc6d22f4e64" providerId="ADAL" clId="{F700537D-3675-41CA-A525-EB2E79DB2D9A}" dt="2018-12-11T22:33:07.930" v="5876" actId="478"/>
          <ac:spMkLst>
            <pc:docMk/>
            <pc:sldMk cId="411881949" sldId="8285"/>
            <ac:spMk id="4" creationId="{83B8FA07-5870-4E3F-9539-C8AD3645C1D4}"/>
          </ac:spMkLst>
        </pc:spChg>
        <pc:spChg chg="mod">
          <ac:chgData name="Lia Taylor" userId="2ccad05f-5017-4e2b-87e4-bbc6d22f4e64" providerId="ADAL" clId="{F700537D-3675-41CA-A525-EB2E79DB2D9A}" dt="2018-12-12T03:44:30.171" v="6466" actId="20577"/>
          <ac:spMkLst>
            <pc:docMk/>
            <pc:sldMk cId="411881949" sldId="8285"/>
            <ac:spMk id="8" creationId="{D80A8C82-7FB5-4500-A7CF-D522289183CF}"/>
          </ac:spMkLst>
        </pc:spChg>
        <pc:spChg chg="mod">
          <ac:chgData name="Lia Taylor" userId="2ccad05f-5017-4e2b-87e4-bbc6d22f4e64" providerId="ADAL" clId="{F700537D-3675-41CA-A525-EB2E79DB2D9A}" dt="2018-12-12T03:43:35.271" v="6454" actId="113"/>
          <ac:spMkLst>
            <pc:docMk/>
            <pc:sldMk cId="411881949" sldId="8285"/>
            <ac:spMk id="9" creationId="{BF3D46F8-8C86-404A-B033-B6FAD1A9B432}"/>
          </ac:spMkLst>
        </pc:spChg>
        <pc:spChg chg="mod">
          <ac:chgData name="Lia Taylor" userId="2ccad05f-5017-4e2b-87e4-bbc6d22f4e64" providerId="ADAL" clId="{F700537D-3675-41CA-A525-EB2E79DB2D9A}" dt="2018-12-11T22:34:41.025" v="5887" actId="403"/>
          <ac:spMkLst>
            <pc:docMk/>
            <pc:sldMk cId="411881949" sldId="8285"/>
            <ac:spMk id="10" creationId="{42EA7D76-8687-45F3-AA8E-8E9147BA12C7}"/>
          </ac:spMkLst>
        </pc:spChg>
        <pc:spChg chg="add mod">
          <ac:chgData name="Lia Taylor" userId="2ccad05f-5017-4e2b-87e4-bbc6d22f4e64" providerId="ADAL" clId="{F700537D-3675-41CA-A525-EB2E79DB2D9A}" dt="2018-12-11T22:35:42.323" v="5898" actId="113"/>
          <ac:spMkLst>
            <pc:docMk/>
            <pc:sldMk cId="411881949" sldId="8285"/>
            <ac:spMk id="12" creationId="{C68CE6E5-9738-4B57-9567-0545B0EC830F}"/>
          </ac:spMkLst>
        </pc:spChg>
        <pc:grpChg chg="del">
          <ac:chgData name="Lia Taylor" userId="2ccad05f-5017-4e2b-87e4-bbc6d22f4e64" providerId="ADAL" clId="{F700537D-3675-41CA-A525-EB2E79DB2D9A}" dt="2018-12-11T22:36:52.933" v="5925" actId="478"/>
          <ac:grpSpMkLst>
            <pc:docMk/>
            <pc:sldMk cId="411881949" sldId="8285"/>
            <ac:grpSpMk id="13" creationId="{FE8F0CF5-87FF-4535-BEE2-73B2B0C888CE}"/>
          </ac:grpSpMkLst>
        </pc:grpChg>
        <pc:picChg chg="add mod">
          <ac:chgData name="Lia Taylor" userId="2ccad05f-5017-4e2b-87e4-bbc6d22f4e64" providerId="ADAL" clId="{F700537D-3675-41CA-A525-EB2E79DB2D9A}" dt="2018-12-12T03:42:59.956" v="6421" actId="1076"/>
          <ac:picMkLst>
            <pc:docMk/>
            <pc:sldMk cId="411881949" sldId="8285"/>
            <ac:picMk id="5" creationId="{F76FA46D-F0ED-489E-9C47-0D19139AA373}"/>
          </ac:picMkLst>
        </pc:picChg>
      </pc:sldChg>
      <pc:sldChg chg="del ord">
        <pc:chgData name="Lia Taylor" userId="2ccad05f-5017-4e2b-87e4-bbc6d22f4e64" providerId="ADAL" clId="{F700537D-3675-41CA-A525-EB2E79DB2D9A}" dt="2018-12-13T22:28:29.708" v="6732" actId="2696"/>
        <pc:sldMkLst>
          <pc:docMk/>
          <pc:sldMk cId="2806137602" sldId="8286"/>
        </pc:sldMkLst>
      </pc:sldChg>
      <pc:sldChg chg="addSp delSp modSp">
        <pc:chgData name="Lia Taylor" userId="2ccad05f-5017-4e2b-87e4-bbc6d22f4e64" providerId="ADAL" clId="{F700537D-3675-41CA-A525-EB2E79DB2D9A}" dt="2018-12-13T22:31:21.876" v="6779" actId="113"/>
        <pc:sldMkLst>
          <pc:docMk/>
          <pc:sldMk cId="701168643" sldId="8287"/>
        </pc:sldMkLst>
        <pc:spChg chg="del">
          <ac:chgData name="Lia Taylor" userId="2ccad05f-5017-4e2b-87e4-bbc6d22f4e64" providerId="ADAL" clId="{F700537D-3675-41CA-A525-EB2E79DB2D9A}" dt="2018-12-11T22:16:42.289" v="5605" actId="478"/>
          <ac:spMkLst>
            <pc:docMk/>
            <pc:sldMk cId="701168643" sldId="8287"/>
            <ac:spMk id="3" creationId="{5A69E429-F458-47AA-99D2-848EB58DD9D6}"/>
          </ac:spMkLst>
        </pc:spChg>
        <pc:spChg chg="del">
          <ac:chgData name="Lia Taylor" userId="2ccad05f-5017-4e2b-87e4-bbc6d22f4e64" providerId="ADAL" clId="{F700537D-3675-41CA-A525-EB2E79DB2D9A}" dt="2018-12-11T22:16:14.182" v="5568" actId="478"/>
          <ac:spMkLst>
            <pc:docMk/>
            <pc:sldMk cId="701168643" sldId="8287"/>
            <ac:spMk id="39" creationId="{2BBA87E5-1FC6-46AF-92B4-684C969D658C}"/>
          </ac:spMkLst>
        </pc:spChg>
        <pc:spChg chg="del">
          <ac:chgData name="Lia Taylor" userId="2ccad05f-5017-4e2b-87e4-bbc6d22f4e64" providerId="ADAL" clId="{F700537D-3675-41CA-A525-EB2E79DB2D9A}" dt="2018-12-11T22:16:36.332" v="5604" actId="478"/>
          <ac:spMkLst>
            <pc:docMk/>
            <pc:sldMk cId="701168643" sldId="8287"/>
            <ac:spMk id="40" creationId="{469D8807-8463-469D-8372-57AD1C0D3E88}"/>
          </ac:spMkLst>
        </pc:spChg>
        <pc:spChg chg="add mod">
          <ac:chgData name="Lia Taylor" userId="2ccad05f-5017-4e2b-87e4-bbc6d22f4e64" providerId="ADAL" clId="{F700537D-3675-41CA-A525-EB2E79DB2D9A}" dt="2018-12-11T23:24:53.898" v="5966" actId="20577"/>
          <ac:spMkLst>
            <pc:docMk/>
            <pc:sldMk cId="701168643" sldId="8287"/>
            <ac:spMk id="41" creationId="{57CD342B-D0F9-4515-A960-65A7CB27FDBF}"/>
          </ac:spMkLst>
        </pc:spChg>
        <pc:spChg chg="mod">
          <ac:chgData name="Lia Taylor" userId="2ccad05f-5017-4e2b-87e4-bbc6d22f4e64" providerId="ADAL" clId="{F700537D-3675-41CA-A525-EB2E79DB2D9A}" dt="2018-12-13T22:31:21.876" v="6779" actId="113"/>
          <ac:spMkLst>
            <pc:docMk/>
            <pc:sldMk cId="701168643" sldId="8287"/>
            <ac:spMk id="47" creationId="{42DB5A8B-F6A7-4CCE-BE64-C9C094C51BA9}"/>
          </ac:spMkLst>
        </pc:spChg>
      </pc:sldChg>
      <pc:sldChg chg="delSp modSp">
        <pc:chgData name="Lia Taylor" userId="2ccad05f-5017-4e2b-87e4-bbc6d22f4e64" providerId="ADAL" clId="{F700537D-3675-41CA-A525-EB2E79DB2D9A}" dt="2018-12-13T22:31:34.315" v="6781" actId="113"/>
        <pc:sldMkLst>
          <pc:docMk/>
          <pc:sldMk cId="76486188" sldId="8288"/>
        </pc:sldMkLst>
        <pc:spChg chg="mod">
          <ac:chgData name="Lia Taylor" userId="2ccad05f-5017-4e2b-87e4-bbc6d22f4e64" providerId="ADAL" clId="{F700537D-3675-41CA-A525-EB2E79DB2D9A}" dt="2018-12-11T22:07:15.781" v="5406" actId="1076"/>
          <ac:spMkLst>
            <pc:docMk/>
            <pc:sldMk cId="76486188" sldId="8288"/>
            <ac:spMk id="5" creationId="{AA22A0B7-2C15-46B5-AE86-48B4D5B27978}"/>
          </ac:spMkLst>
        </pc:spChg>
        <pc:spChg chg="mod">
          <ac:chgData name="Lia Taylor" userId="2ccad05f-5017-4e2b-87e4-bbc6d22f4e64" providerId="ADAL" clId="{F700537D-3675-41CA-A525-EB2E79DB2D9A}" dt="2018-12-11T22:07:15.781" v="5406" actId="1076"/>
          <ac:spMkLst>
            <pc:docMk/>
            <pc:sldMk cId="76486188" sldId="8288"/>
            <ac:spMk id="64" creationId="{E2440757-8E28-4581-AF54-FC0CE0FEE0A0}"/>
          </ac:spMkLst>
        </pc:spChg>
        <pc:spChg chg="mod">
          <ac:chgData name="Lia Taylor" userId="2ccad05f-5017-4e2b-87e4-bbc6d22f4e64" providerId="ADAL" clId="{F700537D-3675-41CA-A525-EB2E79DB2D9A}" dt="2018-12-11T22:07:15.781" v="5406" actId="1076"/>
          <ac:spMkLst>
            <pc:docMk/>
            <pc:sldMk cId="76486188" sldId="8288"/>
            <ac:spMk id="66" creationId="{F947E75F-4CD5-4679-AD07-A53B64C1B9A2}"/>
          </ac:spMkLst>
        </pc:spChg>
        <pc:spChg chg="mod">
          <ac:chgData name="Lia Taylor" userId="2ccad05f-5017-4e2b-87e4-bbc6d22f4e64" providerId="ADAL" clId="{F700537D-3675-41CA-A525-EB2E79DB2D9A}" dt="2018-12-11T22:07:15.781" v="5406" actId="1076"/>
          <ac:spMkLst>
            <pc:docMk/>
            <pc:sldMk cId="76486188" sldId="8288"/>
            <ac:spMk id="68" creationId="{71CA6BD3-275D-43E9-AA9D-A2A5071C07C1}"/>
          </ac:spMkLst>
        </pc:spChg>
        <pc:spChg chg="mod">
          <ac:chgData name="Lia Taylor" userId="2ccad05f-5017-4e2b-87e4-bbc6d22f4e64" providerId="ADAL" clId="{F700537D-3675-41CA-A525-EB2E79DB2D9A}" dt="2018-12-11T22:07:15.781" v="5406" actId="1076"/>
          <ac:spMkLst>
            <pc:docMk/>
            <pc:sldMk cId="76486188" sldId="8288"/>
            <ac:spMk id="76" creationId="{20401B6A-37EF-437B-A16A-FB5DD4604D5D}"/>
          </ac:spMkLst>
        </pc:spChg>
        <pc:spChg chg="del">
          <ac:chgData name="Lia Taylor" userId="2ccad05f-5017-4e2b-87e4-bbc6d22f4e64" providerId="ADAL" clId="{F700537D-3675-41CA-A525-EB2E79DB2D9A}" dt="2018-12-11T22:07:05.697" v="5405" actId="478"/>
          <ac:spMkLst>
            <pc:docMk/>
            <pc:sldMk cId="76486188" sldId="8288"/>
            <ac:spMk id="87" creationId="{90522928-43BB-4096-BFB3-6AEE50ACB34E}"/>
          </ac:spMkLst>
        </pc:spChg>
        <pc:spChg chg="mod">
          <ac:chgData name="Lia Taylor" userId="2ccad05f-5017-4e2b-87e4-bbc6d22f4e64" providerId="ADAL" clId="{F700537D-3675-41CA-A525-EB2E79DB2D9A}" dt="2018-12-11T22:07:15.781" v="5406" actId="1076"/>
          <ac:spMkLst>
            <pc:docMk/>
            <pc:sldMk cId="76486188" sldId="8288"/>
            <ac:spMk id="89" creationId="{31BB8666-2FE8-4BEB-8F85-AAAAA76715C7}"/>
          </ac:spMkLst>
        </pc:spChg>
        <pc:spChg chg="mod">
          <ac:chgData name="Lia Taylor" userId="2ccad05f-5017-4e2b-87e4-bbc6d22f4e64" providerId="ADAL" clId="{F700537D-3675-41CA-A525-EB2E79DB2D9A}" dt="2018-12-11T22:07:15.781" v="5406" actId="1076"/>
          <ac:spMkLst>
            <pc:docMk/>
            <pc:sldMk cId="76486188" sldId="8288"/>
            <ac:spMk id="90" creationId="{72FAD1CA-EE31-4603-ACDE-3293859B5E7E}"/>
          </ac:spMkLst>
        </pc:spChg>
        <pc:spChg chg="mod">
          <ac:chgData name="Lia Taylor" userId="2ccad05f-5017-4e2b-87e4-bbc6d22f4e64" providerId="ADAL" clId="{F700537D-3675-41CA-A525-EB2E79DB2D9A}" dt="2018-12-11T22:07:15.781" v="5406" actId="1076"/>
          <ac:spMkLst>
            <pc:docMk/>
            <pc:sldMk cId="76486188" sldId="8288"/>
            <ac:spMk id="91" creationId="{7CC4FACC-DD01-4C82-88DC-C2AE5F5878FA}"/>
          </ac:spMkLst>
        </pc:spChg>
        <pc:spChg chg="del">
          <ac:chgData name="Lia Taylor" userId="2ccad05f-5017-4e2b-87e4-bbc6d22f4e64" providerId="ADAL" clId="{F700537D-3675-41CA-A525-EB2E79DB2D9A}" dt="2018-12-11T22:06:30.364" v="5398" actId="478"/>
          <ac:spMkLst>
            <pc:docMk/>
            <pc:sldMk cId="76486188" sldId="8288"/>
            <ac:spMk id="93" creationId="{A392150F-1F98-4098-BDFB-F48CDA5309F7}"/>
          </ac:spMkLst>
        </pc:spChg>
        <pc:spChg chg="mod">
          <ac:chgData name="Lia Taylor" userId="2ccad05f-5017-4e2b-87e4-bbc6d22f4e64" providerId="ADAL" clId="{F700537D-3675-41CA-A525-EB2E79DB2D9A}" dt="2018-12-11T22:07:15.781" v="5406" actId="1076"/>
          <ac:spMkLst>
            <pc:docMk/>
            <pc:sldMk cId="76486188" sldId="8288"/>
            <ac:spMk id="99" creationId="{22502B6A-A7B0-4621-A248-9E4F15DD0533}"/>
          </ac:spMkLst>
        </pc:spChg>
        <pc:spChg chg="mod">
          <ac:chgData name="Lia Taylor" userId="2ccad05f-5017-4e2b-87e4-bbc6d22f4e64" providerId="ADAL" clId="{F700537D-3675-41CA-A525-EB2E79DB2D9A}" dt="2018-12-11T22:07:15.781" v="5406" actId="1076"/>
          <ac:spMkLst>
            <pc:docMk/>
            <pc:sldMk cId="76486188" sldId="8288"/>
            <ac:spMk id="100" creationId="{E5A77D43-54C1-4AAD-899B-976F46B90C8E}"/>
          </ac:spMkLst>
        </pc:spChg>
        <pc:spChg chg="mod">
          <ac:chgData name="Lia Taylor" userId="2ccad05f-5017-4e2b-87e4-bbc6d22f4e64" providerId="ADAL" clId="{F700537D-3675-41CA-A525-EB2E79DB2D9A}" dt="2018-12-11T22:07:15.781" v="5406" actId="1076"/>
          <ac:spMkLst>
            <pc:docMk/>
            <pc:sldMk cId="76486188" sldId="8288"/>
            <ac:spMk id="101" creationId="{079E97B0-68C3-4C54-94D8-32DDB4A5FC5A}"/>
          </ac:spMkLst>
        </pc:spChg>
        <pc:spChg chg="mod">
          <ac:chgData name="Lia Taylor" userId="2ccad05f-5017-4e2b-87e4-bbc6d22f4e64" providerId="ADAL" clId="{F700537D-3675-41CA-A525-EB2E79DB2D9A}" dt="2018-12-11T22:07:15.781" v="5406" actId="1076"/>
          <ac:spMkLst>
            <pc:docMk/>
            <pc:sldMk cId="76486188" sldId="8288"/>
            <ac:spMk id="116" creationId="{1C3C23FD-4961-49AC-9DDE-1277F37D282C}"/>
          </ac:spMkLst>
        </pc:spChg>
        <pc:spChg chg="mod">
          <ac:chgData name="Lia Taylor" userId="2ccad05f-5017-4e2b-87e4-bbc6d22f4e64" providerId="ADAL" clId="{F700537D-3675-41CA-A525-EB2E79DB2D9A}" dt="2018-12-13T22:31:34.315" v="6781" actId="113"/>
          <ac:spMkLst>
            <pc:docMk/>
            <pc:sldMk cId="76486188" sldId="8288"/>
            <ac:spMk id="117" creationId="{FC7FEADE-2005-4DBA-8F2F-03A66DA0A4A2}"/>
          </ac:spMkLst>
        </pc:spChg>
        <pc:spChg chg="mod">
          <ac:chgData name="Lia Taylor" userId="2ccad05f-5017-4e2b-87e4-bbc6d22f4e64" providerId="ADAL" clId="{F700537D-3675-41CA-A525-EB2E79DB2D9A}" dt="2018-12-11T22:07:15.781" v="5406" actId="1076"/>
          <ac:spMkLst>
            <pc:docMk/>
            <pc:sldMk cId="76486188" sldId="8288"/>
            <ac:spMk id="120" creationId="{A7196E14-18F7-44AD-BA2D-54956083C6B5}"/>
          </ac:spMkLst>
        </pc:spChg>
        <pc:spChg chg="mod">
          <ac:chgData name="Lia Taylor" userId="2ccad05f-5017-4e2b-87e4-bbc6d22f4e64" providerId="ADAL" clId="{F700537D-3675-41CA-A525-EB2E79DB2D9A}" dt="2018-12-11T22:07:15.781" v="5406" actId="1076"/>
          <ac:spMkLst>
            <pc:docMk/>
            <pc:sldMk cId="76486188" sldId="8288"/>
            <ac:spMk id="121" creationId="{B8C40BD9-4D1A-4924-A3C6-3A6E6035D6D6}"/>
          </ac:spMkLst>
        </pc:spChg>
        <pc:spChg chg="mod">
          <ac:chgData name="Lia Taylor" userId="2ccad05f-5017-4e2b-87e4-bbc6d22f4e64" providerId="ADAL" clId="{F700537D-3675-41CA-A525-EB2E79DB2D9A}" dt="2018-12-11T22:07:15.781" v="5406" actId="1076"/>
          <ac:spMkLst>
            <pc:docMk/>
            <pc:sldMk cId="76486188" sldId="8288"/>
            <ac:spMk id="122" creationId="{FAF0E99C-BDD6-4519-80EF-F052D4321048}"/>
          </ac:spMkLst>
        </pc:spChg>
        <pc:spChg chg="mod">
          <ac:chgData name="Lia Taylor" userId="2ccad05f-5017-4e2b-87e4-bbc6d22f4e64" providerId="ADAL" clId="{F700537D-3675-41CA-A525-EB2E79DB2D9A}" dt="2018-12-11T22:07:15.781" v="5406" actId="1076"/>
          <ac:spMkLst>
            <pc:docMk/>
            <pc:sldMk cId="76486188" sldId="8288"/>
            <ac:spMk id="123" creationId="{47B978FA-F592-42F3-BF7A-60D6D265F7E0}"/>
          </ac:spMkLst>
        </pc:spChg>
        <pc:spChg chg="mod">
          <ac:chgData name="Lia Taylor" userId="2ccad05f-5017-4e2b-87e4-bbc6d22f4e64" providerId="ADAL" clId="{F700537D-3675-41CA-A525-EB2E79DB2D9A}" dt="2018-12-11T22:07:15.781" v="5406" actId="1076"/>
          <ac:spMkLst>
            <pc:docMk/>
            <pc:sldMk cId="76486188" sldId="8288"/>
            <ac:spMk id="124" creationId="{2827C86D-91A3-4A79-8C7C-7C3142680401}"/>
          </ac:spMkLst>
        </pc:spChg>
        <pc:spChg chg="mod">
          <ac:chgData name="Lia Taylor" userId="2ccad05f-5017-4e2b-87e4-bbc6d22f4e64" providerId="ADAL" clId="{F700537D-3675-41CA-A525-EB2E79DB2D9A}" dt="2018-12-11T22:07:19.268" v="5414" actId="20577"/>
          <ac:spMkLst>
            <pc:docMk/>
            <pc:sldMk cId="76486188" sldId="8288"/>
            <ac:spMk id="126" creationId="{C3A4F5AB-B01B-48D5-83DF-56A2AFD6B846}"/>
          </ac:spMkLst>
        </pc:spChg>
        <pc:spChg chg="mod">
          <ac:chgData name="Lia Taylor" userId="2ccad05f-5017-4e2b-87e4-bbc6d22f4e64" providerId="ADAL" clId="{F700537D-3675-41CA-A525-EB2E79DB2D9A}" dt="2018-12-11T22:07:15.781" v="5406" actId="1076"/>
          <ac:spMkLst>
            <pc:docMk/>
            <pc:sldMk cId="76486188" sldId="8288"/>
            <ac:spMk id="137" creationId="{2C3CE09D-EC89-4E69-9C11-6211C9BBE573}"/>
          </ac:spMkLst>
        </pc:spChg>
        <pc:spChg chg="mod">
          <ac:chgData name="Lia Taylor" userId="2ccad05f-5017-4e2b-87e4-bbc6d22f4e64" providerId="ADAL" clId="{F700537D-3675-41CA-A525-EB2E79DB2D9A}" dt="2018-12-11T22:07:15.781" v="5406" actId="1076"/>
          <ac:spMkLst>
            <pc:docMk/>
            <pc:sldMk cId="76486188" sldId="8288"/>
            <ac:spMk id="138" creationId="{F7E61273-6D24-4748-A06B-2BE76A79ECBF}"/>
          </ac:spMkLst>
        </pc:spChg>
        <pc:spChg chg="mod">
          <ac:chgData name="Lia Taylor" userId="2ccad05f-5017-4e2b-87e4-bbc6d22f4e64" providerId="ADAL" clId="{F700537D-3675-41CA-A525-EB2E79DB2D9A}" dt="2018-12-11T22:07:15.781" v="5406" actId="1076"/>
          <ac:spMkLst>
            <pc:docMk/>
            <pc:sldMk cId="76486188" sldId="8288"/>
            <ac:spMk id="139" creationId="{F45F84E5-FD89-4306-8569-644971C247C6}"/>
          </ac:spMkLst>
        </pc:spChg>
        <pc:spChg chg="mod">
          <ac:chgData name="Lia Taylor" userId="2ccad05f-5017-4e2b-87e4-bbc6d22f4e64" providerId="ADAL" clId="{F700537D-3675-41CA-A525-EB2E79DB2D9A}" dt="2018-12-11T22:07:15.781" v="5406" actId="1076"/>
          <ac:spMkLst>
            <pc:docMk/>
            <pc:sldMk cId="76486188" sldId="8288"/>
            <ac:spMk id="140" creationId="{78C9D5D5-400E-480D-B174-1BE30925D3D1}"/>
          </ac:spMkLst>
        </pc:spChg>
        <pc:spChg chg="mod">
          <ac:chgData name="Lia Taylor" userId="2ccad05f-5017-4e2b-87e4-bbc6d22f4e64" providerId="ADAL" clId="{F700537D-3675-41CA-A525-EB2E79DB2D9A}" dt="2018-12-11T22:07:15.781" v="5406" actId="1076"/>
          <ac:spMkLst>
            <pc:docMk/>
            <pc:sldMk cId="76486188" sldId="8288"/>
            <ac:spMk id="141" creationId="{FB586A50-CCAC-4A8E-9BB3-860FD1C39700}"/>
          </ac:spMkLst>
        </pc:spChg>
        <pc:spChg chg="mod">
          <ac:chgData name="Lia Taylor" userId="2ccad05f-5017-4e2b-87e4-bbc6d22f4e64" providerId="ADAL" clId="{F700537D-3675-41CA-A525-EB2E79DB2D9A}" dt="2018-12-11T22:07:15.781" v="5406" actId="1076"/>
          <ac:spMkLst>
            <pc:docMk/>
            <pc:sldMk cId="76486188" sldId="8288"/>
            <ac:spMk id="142" creationId="{4A5D5D7D-0D62-47CB-B82A-F8A7A537133D}"/>
          </ac:spMkLst>
        </pc:spChg>
        <pc:grpChg chg="mod">
          <ac:chgData name="Lia Taylor" userId="2ccad05f-5017-4e2b-87e4-bbc6d22f4e64" providerId="ADAL" clId="{F700537D-3675-41CA-A525-EB2E79DB2D9A}" dt="2018-12-11T22:07:15.781" v="5406" actId="1076"/>
          <ac:grpSpMkLst>
            <pc:docMk/>
            <pc:sldMk cId="76486188" sldId="8288"/>
            <ac:grpSpMk id="3" creationId="{96CB6DB1-4DDF-4EEB-B537-2C9ED51AF1D8}"/>
          </ac:grpSpMkLst>
        </pc:grpChg>
        <pc:grpChg chg="mod">
          <ac:chgData name="Lia Taylor" userId="2ccad05f-5017-4e2b-87e4-bbc6d22f4e64" providerId="ADAL" clId="{F700537D-3675-41CA-A525-EB2E79DB2D9A}" dt="2018-12-11T22:07:15.781" v="5406" actId="1076"/>
          <ac:grpSpMkLst>
            <pc:docMk/>
            <pc:sldMk cId="76486188" sldId="8288"/>
            <ac:grpSpMk id="79" creationId="{482CD4B1-C160-4904-9FFB-1412B7B24F4B}"/>
          </ac:grpSpMkLst>
        </pc:grpChg>
        <pc:grpChg chg="mod">
          <ac:chgData name="Lia Taylor" userId="2ccad05f-5017-4e2b-87e4-bbc6d22f4e64" providerId="ADAL" clId="{F700537D-3675-41CA-A525-EB2E79DB2D9A}" dt="2018-12-11T22:07:15.781" v="5406" actId="1076"/>
          <ac:grpSpMkLst>
            <pc:docMk/>
            <pc:sldMk cId="76486188" sldId="8288"/>
            <ac:grpSpMk id="96" creationId="{2235E2CF-2B42-4F80-8AF4-6F4B3800D639}"/>
          </ac:grpSpMkLst>
        </pc:grpChg>
        <pc:grpChg chg="mod">
          <ac:chgData name="Lia Taylor" userId="2ccad05f-5017-4e2b-87e4-bbc6d22f4e64" providerId="ADAL" clId="{F700537D-3675-41CA-A525-EB2E79DB2D9A}" dt="2018-12-11T22:07:15.781" v="5406" actId="1076"/>
          <ac:grpSpMkLst>
            <pc:docMk/>
            <pc:sldMk cId="76486188" sldId="8288"/>
            <ac:grpSpMk id="102" creationId="{1E32154A-D75A-4A5E-ABA6-ABC3D7861F7B}"/>
          </ac:grpSpMkLst>
        </pc:grpChg>
        <pc:grpChg chg="mod">
          <ac:chgData name="Lia Taylor" userId="2ccad05f-5017-4e2b-87e4-bbc6d22f4e64" providerId="ADAL" clId="{F700537D-3675-41CA-A525-EB2E79DB2D9A}" dt="2018-12-11T22:07:15.781" v="5406" actId="1076"/>
          <ac:grpSpMkLst>
            <pc:docMk/>
            <pc:sldMk cId="76486188" sldId="8288"/>
            <ac:grpSpMk id="105" creationId="{ED1FDDA5-36CE-4FA4-BCB9-2E8BF847F523}"/>
          </ac:grpSpMkLst>
        </pc:grpChg>
        <pc:grpChg chg="mod">
          <ac:chgData name="Lia Taylor" userId="2ccad05f-5017-4e2b-87e4-bbc6d22f4e64" providerId="ADAL" clId="{F700537D-3675-41CA-A525-EB2E79DB2D9A}" dt="2018-12-11T22:07:15.781" v="5406" actId="1076"/>
          <ac:grpSpMkLst>
            <pc:docMk/>
            <pc:sldMk cId="76486188" sldId="8288"/>
            <ac:grpSpMk id="109" creationId="{8CC19325-3C8D-4BAC-A669-D43810874882}"/>
          </ac:grpSpMkLst>
        </pc:grpChg>
        <pc:grpChg chg="mod">
          <ac:chgData name="Lia Taylor" userId="2ccad05f-5017-4e2b-87e4-bbc6d22f4e64" providerId="ADAL" clId="{F700537D-3675-41CA-A525-EB2E79DB2D9A}" dt="2018-12-11T22:07:15.781" v="5406" actId="1076"/>
          <ac:grpSpMkLst>
            <pc:docMk/>
            <pc:sldMk cId="76486188" sldId="8288"/>
            <ac:grpSpMk id="149" creationId="{1FA3E931-E467-481B-9BD5-BE8262BA502E}"/>
          </ac:grpSpMkLst>
        </pc:grpChg>
        <pc:grpChg chg="mod">
          <ac:chgData name="Lia Taylor" userId="2ccad05f-5017-4e2b-87e4-bbc6d22f4e64" providerId="ADAL" clId="{F700537D-3675-41CA-A525-EB2E79DB2D9A}" dt="2018-12-11T22:07:15.781" v="5406" actId="1076"/>
          <ac:grpSpMkLst>
            <pc:docMk/>
            <pc:sldMk cId="76486188" sldId="8288"/>
            <ac:grpSpMk id="158" creationId="{77238AA8-AB25-4699-9124-30BA3735CBB7}"/>
          </ac:grpSpMkLst>
        </pc:grpChg>
        <pc:grpChg chg="mod">
          <ac:chgData name="Lia Taylor" userId="2ccad05f-5017-4e2b-87e4-bbc6d22f4e64" providerId="ADAL" clId="{F700537D-3675-41CA-A525-EB2E79DB2D9A}" dt="2018-12-11T22:07:15.781" v="5406" actId="1076"/>
          <ac:grpSpMkLst>
            <pc:docMk/>
            <pc:sldMk cId="76486188" sldId="8288"/>
            <ac:grpSpMk id="161" creationId="{0CC6A9C4-F800-413D-8F83-B9714806AFD8}"/>
          </ac:grpSpMkLst>
        </pc:grpChg>
        <pc:grpChg chg="mod">
          <ac:chgData name="Lia Taylor" userId="2ccad05f-5017-4e2b-87e4-bbc6d22f4e64" providerId="ADAL" clId="{F700537D-3675-41CA-A525-EB2E79DB2D9A}" dt="2018-12-11T22:07:15.781" v="5406" actId="1076"/>
          <ac:grpSpMkLst>
            <pc:docMk/>
            <pc:sldMk cId="76486188" sldId="8288"/>
            <ac:grpSpMk id="165" creationId="{688D12D8-7CBA-423C-8031-36268CBD0F8B}"/>
          </ac:grpSpMkLst>
        </pc:grpChg>
        <pc:cxnChg chg="mod">
          <ac:chgData name="Lia Taylor" userId="2ccad05f-5017-4e2b-87e4-bbc6d22f4e64" providerId="ADAL" clId="{F700537D-3675-41CA-A525-EB2E79DB2D9A}" dt="2018-12-11T22:07:15.781" v="5406" actId="1076"/>
          <ac:cxnSpMkLst>
            <pc:docMk/>
            <pc:sldMk cId="76486188" sldId="8288"/>
            <ac:cxnSpMk id="63" creationId="{07F91532-CA1C-4FE0-845C-1FA4640D8E4A}"/>
          </ac:cxnSpMkLst>
        </pc:cxnChg>
        <pc:cxnChg chg="mod">
          <ac:chgData name="Lia Taylor" userId="2ccad05f-5017-4e2b-87e4-bbc6d22f4e64" providerId="ADAL" clId="{F700537D-3675-41CA-A525-EB2E79DB2D9A}" dt="2018-12-11T22:07:15.781" v="5406" actId="1076"/>
          <ac:cxnSpMkLst>
            <pc:docMk/>
            <pc:sldMk cId="76486188" sldId="8288"/>
            <ac:cxnSpMk id="65" creationId="{7B1BA4D0-DE7B-411B-8772-BAD368B5CC76}"/>
          </ac:cxnSpMkLst>
        </pc:cxnChg>
        <pc:cxnChg chg="mod">
          <ac:chgData name="Lia Taylor" userId="2ccad05f-5017-4e2b-87e4-bbc6d22f4e64" providerId="ADAL" clId="{F700537D-3675-41CA-A525-EB2E79DB2D9A}" dt="2018-12-11T22:07:15.781" v="5406" actId="1076"/>
          <ac:cxnSpMkLst>
            <pc:docMk/>
            <pc:sldMk cId="76486188" sldId="8288"/>
            <ac:cxnSpMk id="67" creationId="{A37639FD-B83F-4BD4-81BF-775627572889}"/>
          </ac:cxnSpMkLst>
        </pc:cxnChg>
        <pc:cxnChg chg="mod">
          <ac:chgData name="Lia Taylor" userId="2ccad05f-5017-4e2b-87e4-bbc6d22f4e64" providerId="ADAL" clId="{F700537D-3675-41CA-A525-EB2E79DB2D9A}" dt="2018-12-11T22:07:15.781" v="5406" actId="1076"/>
          <ac:cxnSpMkLst>
            <pc:docMk/>
            <pc:sldMk cId="76486188" sldId="8288"/>
            <ac:cxnSpMk id="92" creationId="{30B4BECD-62D4-43F4-AA0D-B20416BE8642}"/>
          </ac:cxnSpMkLst>
        </pc:cxnChg>
        <pc:cxnChg chg="mod">
          <ac:chgData name="Lia Taylor" userId="2ccad05f-5017-4e2b-87e4-bbc6d22f4e64" providerId="ADAL" clId="{F700537D-3675-41CA-A525-EB2E79DB2D9A}" dt="2018-12-11T22:07:15.781" v="5406" actId="1076"/>
          <ac:cxnSpMkLst>
            <pc:docMk/>
            <pc:sldMk cId="76486188" sldId="8288"/>
            <ac:cxnSpMk id="94" creationId="{7BED7369-0EF2-4CC3-BFB5-85D8C7F64D47}"/>
          </ac:cxnSpMkLst>
        </pc:cxnChg>
        <pc:cxnChg chg="mod">
          <ac:chgData name="Lia Taylor" userId="2ccad05f-5017-4e2b-87e4-bbc6d22f4e64" providerId="ADAL" clId="{F700537D-3675-41CA-A525-EB2E79DB2D9A}" dt="2018-12-11T22:07:15.781" v="5406" actId="1076"/>
          <ac:cxnSpMkLst>
            <pc:docMk/>
            <pc:sldMk cId="76486188" sldId="8288"/>
            <ac:cxnSpMk id="114" creationId="{577E518F-822D-44E9-A06C-FC74F8FC9CDC}"/>
          </ac:cxnSpMkLst>
        </pc:cxnChg>
      </pc:sldChg>
      <pc:sldChg chg="addSp delSp modSp">
        <pc:chgData name="Lia Taylor" userId="2ccad05f-5017-4e2b-87e4-bbc6d22f4e64" providerId="ADAL" clId="{F700537D-3675-41CA-A525-EB2E79DB2D9A}" dt="2018-12-11T23:29:08.507" v="6176" actId="113"/>
        <pc:sldMkLst>
          <pc:docMk/>
          <pc:sldMk cId="3801494397" sldId="8289"/>
        </pc:sldMkLst>
        <pc:spChg chg="del">
          <ac:chgData name="Lia Taylor" userId="2ccad05f-5017-4e2b-87e4-bbc6d22f4e64" providerId="ADAL" clId="{F700537D-3675-41CA-A525-EB2E79DB2D9A}" dt="2018-12-11T21:59:30.863" v="5301" actId="478"/>
          <ac:spMkLst>
            <pc:docMk/>
            <pc:sldMk cId="3801494397" sldId="8289"/>
            <ac:spMk id="50" creationId="{40CB5054-9971-4771-BDCF-382BB855B8F4}"/>
          </ac:spMkLst>
        </pc:spChg>
        <pc:spChg chg="mod">
          <ac:chgData name="Lia Taylor" userId="2ccad05f-5017-4e2b-87e4-bbc6d22f4e64" providerId="ADAL" clId="{F700537D-3675-41CA-A525-EB2E79DB2D9A}" dt="2018-12-11T22:03:58.781" v="5387" actId="1076"/>
          <ac:spMkLst>
            <pc:docMk/>
            <pc:sldMk cId="3801494397" sldId="8289"/>
            <ac:spMk id="60" creationId="{A6ECE84E-1480-4C6A-B304-1B41808ED282}"/>
          </ac:spMkLst>
        </pc:spChg>
        <pc:spChg chg="mod">
          <ac:chgData name="Lia Taylor" userId="2ccad05f-5017-4e2b-87e4-bbc6d22f4e64" providerId="ADAL" clId="{F700537D-3675-41CA-A525-EB2E79DB2D9A}" dt="2018-12-11T22:03:58.781" v="5387" actId="1076"/>
          <ac:spMkLst>
            <pc:docMk/>
            <pc:sldMk cId="3801494397" sldId="8289"/>
            <ac:spMk id="61" creationId="{4666497F-2655-4487-9236-04CA72DC4E0F}"/>
          </ac:spMkLst>
        </pc:spChg>
        <pc:spChg chg="mod">
          <ac:chgData name="Lia Taylor" userId="2ccad05f-5017-4e2b-87e4-bbc6d22f4e64" providerId="ADAL" clId="{F700537D-3675-41CA-A525-EB2E79DB2D9A}" dt="2018-12-11T22:03:58.781" v="5387" actId="1076"/>
          <ac:spMkLst>
            <pc:docMk/>
            <pc:sldMk cId="3801494397" sldId="8289"/>
            <ac:spMk id="62" creationId="{A355334C-AF90-41D8-A40A-B1263CC92912}"/>
          </ac:spMkLst>
        </pc:spChg>
        <pc:spChg chg="mod">
          <ac:chgData name="Lia Taylor" userId="2ccad05f-5017-4e2b-87e4-bbc6d22f4e64" providerId="ADAL" clId="{F700537D-3675-41CA-A525-EB2E79DB2D9A}" dt="2018-12-11T22:03:58.781" v="5387" actId="1076"/>
          <ac:spMkLst>
            <pc:docMk/>
            <pc:sldMk cId="3801494397" sldId="8289"/>
            <ac:spMk id="63" creationId="{1F3EEF6D-FBCC-45CA-BF85-473CD69AC202}"/>
          </ac:spMkLst>
        </pc:spChg>
        <pc:spChg chg="mod">
          <ac:chgData name="Lia Taylor" userId="2ccad05f-5017-4e2b-87e4-bbc6d22f4e64" providerId="ADAL" clId="{F700537D-3675-41CA-A525-EB2E79DB2D9A}" dt="2018-12-11T22:03:58.781" v="5387" actId="1076"/>
          <ac:spMkLst>
            <pc:docMk/>
            <pc:sldMk cId="3801494397" sldId="8289"/>
            <ac:spMk id="64" creationId="{EE471911-842B-458F-833B-4029879F8353}"/>
          </ac:spMkLst>
        </pc:spChg>
        <pc:spChg chg="mod">
          <ac:chgData name="Lia Taylor" userId="2ccad05f-5017-4e2b-87e4-bbc6d22f4e64" providerId="ADAL" clId="{F700537D-3675-41CA-A525-EB2E79DB2D9A}" dt="2018-12-11T22:03:58.781" v="5387" actId="1076"/>
          <ac:spMkLst>
            <pc:docMk/>
            <pc:sldMk cId="3801494397" sldId="8289"/>
            <ac:spMk id="65" creationId="{2D46BBDC-2C92-462C-8E4D-227866246225}"/>
          </ac:spMkLst>
        </pc:spChg>
        <pc:spChg chg="mod">
          <ac:chgData name="Lia Taylor" userId="2ccad05f-5017-4e2b-87e4-bbc6d22f4e64" providerId="ADAL" clId="{F700537D-3675-41CA-A525-EB2E79DB2D9A}" dt="2018-12-11T22:03:58.781" v="5387" actId="1076"/>
          <ac:spMkLst>
            <pc:docMk/>
            <pc:sldMk cId="3801494397" sldId="8289"/>
            <ac:spMk id="66" creationId="{63E85F5A-BF89-41F0-9C97-6B14DE5F0AF5}"/>
          </ac:spMkLst>
        </pc:spChg>
        <pc:spChg chg="mod">
          <ac:chgData name="Lia Taylor" userId="2ccad05f-5017-4e2b-87e4-bbc6d22f4e64" providerId="ADAL" clId="{F700537D-3675-41CA-A525-EB2E79DB2D9A}" dt="2018-12-11T22:03:58.781" v="5387" actId="1076"/>
          <ac:spMkLst>
            <pc:docMk/>
            <pc:sldMk cId="3801494397" sldId="8289"/>
            <ac:spMk id="67" creationId="{A69025D0-14CE-4D51-B6AD-BCDD2099B686}"/>
          </ac:spMkLst>
        </pc:spChg>
        <pc:spChg chg="mod">
          <ac:chgData name="Lia Taylor" userId="2ccad05f-5017-4e2b-87e4-bbc6d22f4e64" providerId="ADAL" clId="{F700537D-3675-41CA-A525-EB2E79DB2D9A}" dt="2018-12-11T22:03:58.781" v="5387" actId="1076"/>
          <ac:spMkLst>
            <pc:docMk/>
            <pc:sldMk cId="3801494397" sldId="8289"/>
            <ac:spMk id="68" creationId="{AEBA10DB-0054-4A50-A319-977EB3182CAC}"/>
          </ac:spMkLst>
        </pc:spChg>
        <pc:spChg chg="mod">
          <ac:chgData name="Lia Taylor" userId="2ccad05f-5017-4e2b-87e4-bbc6d22f4e64" providerId="ADAL" clId="{F700537D-3675-41CA-A525-EB2E79DB2D9A}" dt="2018-12-11T22:03:58.781" v="5387" actId="1076"/>
          <ac:spMkLst>
            <pc:docMk/>
            <pc:sldMk cId="3801494397" sldId="8289"/>
            <ac:spMk id="69" creationId="{497F3552-9E64-44C4-A0EC-B7F7BAF03773}"/>
          </ac:spMkLst>
        </pc:spChg>
        <pc:spChg chg="mod">
          <ac:chgData name="Lia Taylor" userId="2ccad05f-5017-4e2b-87e4-bbc6d22f4e64" providerId="ADAL" clId="{F700537D-3675-41CA-A525-EB2E79DB2D9A}" dt="2018-12-11T22:03:58.781" v="5387" actId="1076"/>
          <ac:spMkLst>
            <pc:docMk/>
            <pc:sldMk cId="3801494397" sldId="8289"/>
            <ac:spMk id="79" creationId="{31751157-80F4-40BA-A879-145B2F14F966}"/>
          </ac:spMkLst>
        </pc:spChg>
        <pc:spChg chg="mod">
          <ac:chgData name="Lia Taylor" userId="2ccad05f-5017-4e2b-87e4-bbc6d22f4e64" providerId="ADAL" clId="{F700537D-3675-41CA-A525-EB2E79DB2D9A}" dt="2018-12-11T22:03:58.781" v="5387" actId="1076"/>
          <ac:spMkLst>
            <pc:docMk/>
            <pc:sldMk cId="3801494397" sldId="8289"/>
            <ac:spMk id="80" creationId="{F24F5709-273C-4C7B-9322-8DE41374781B}"/>
          </ac:spMkLst>
        </pc:spChg>
        <pc:spChg chg="mod">
          <ac:chgData name="Lia Taylor" userId="2ccad05f-5017-4e2b-87e4-bbc6d22f4e64" providerId="ADAL" clId="{F700537D-3675-41CA-A525-EB2E79DB2D9A}" dt="2018-12-11T22:03:58.781" v="5387" actId="1076"/>
          <ac:spMkLst>
            <pc:docMk/>
            <pc:sldMk cId="3801494397" sldId="8289"/>
            <ac:spMk id="90" creationId="{4E7C443D-1B34-45C3-81E3-90EBB3715FB6}"/>
          </ac:spMkLst>
        </pc:spChg>
        <pc:spChg chg="mod">
          <ac:chgData name="Lia Taylor" userId="2ccad05f-5017-4e2b-87e4-bbc6d22f4e64" providerId="ADAL" clId="{F700537D-3675-41CA-A525-EB2E79DB2D9A}" dt="2018-12-11T22:01:37.081" v="5355" actId="1076"/>
          <ac:spMkLst>
            <pc:docMk/>
            <pc:sldMk cId="3801494397" sldId="8289"/>
            <ac:spMk id="91" creationId="{C9E093F2-11C1-4CA3-AA58-3C15083AE704}"/>
          </ac:spMkLst>
        </pc:spChg>
        <pc:spChg chg="add del mod">
          <ac:chgData name="Lia Taylor" userId="2ccad05f-5017-4e2b-87e4-bbc6d22f4e64" providerId="ADAL" clId="{F700537D-3675-41CA-A525-EB2E79DB2D9A}" dt="2018-12-11T22:05:47.764" v="5395" actId="1076"/>
          <ac:spMkLst>
            <pc:docMk/>
            <pc:sldMk cId="3801494397" sldId="8289"/>
            <ac:spMk id="92" creationId="{20C2E6E0-12E4-4B10-954C-CB9AFFC019CD}"/>
          </ac:spMkLst>
        </pc:spChg>
        <pc:spChg chg="mod">
          <ac:chgData name="Lia Taylor" userId="2ccad05f-5017-4e2b-87e4-bbc6d22f4e64" providerId="ADAL" clId="{F700537D-3675-41CA-A525-EB2E79DB2D9A}" dt="2018-12-11T22:03:58.781" v="5387" actId="1076"/>
          <ac:spMkLst>
            <pc:docMk/>
            <pc:sldMk cId="3801494397" sldId="8289"/>
            <ac:spMk id="106" creationId="{54DF214B-7709-48B0-92AA-8B8ACA4C8849}"/>
          </ac:spMkLst>
        </pc:spChg>
        <pc:spChg chg="mod">
          <ac:chgData name="Lia Taylor" userId="2ccad05f-5017-4e2b-87e4-bbc6d22f4e64" providerId="ADAL" clId="{F700537D-3675-41CA-A525-EB2E79DB2D9A}" dt="2018-12-11T22:03:58.781" v="5387" actId="1076"/>
          <ac:spMkLst>
            <pc:docMk/>
            <pc:sldMk cId="3801494397" sldId="8289"/>
            <ac:spMk id="107" creationId="{D0DA26C2-75EE-4428-8360-A0061363D9A5}"/>
          </ac:spMkLst>
        </pc:spChg>
        <pc:spChg chg="mod">
          <ac:chgData name="Lia Taylor" userId="2ccad05f-5017-4e2b-87e4-bbc6d22f4e64" providerId="ADAL" clId="{F700537D-3675-41CA-A525-EB2E79DB2D9A}" dt="2018-12-11T23:29:08.507" v="6176" actId="113"/>
          <ac:spMkLst>
            <pc:docMk/>
            <pc:sldMk cId="3801494397" sldId="8289"/>
            <ac:spMk id="108" creationId="{119B6498-7B4C-462D-87D1-BC329647AE72}"/>
          </ac:spMkLst>
        </pc:spChg>
        <pc:spChg chg="mod">
          <ac:chgData name="Lia Taylor" userId="2ccad05f-5017-4e2b-87e4-bbc6d22f4e64" providerId="ADAL" clId="{F700537D-3675-41CA-A525-EB2E79DB2D9A}" dt="2018-12-11T22:03:58.781" v="5387" actId="1076"/>
          <ac:spMkLst>
            <pc:docMk/>
            <pc:sldMk cId="3801494397" sldId="8289"/>
            <ac:spMk id="111" creationId="{28F950B3-0E17-4918-B92A-CF8E159CC60A}"/>
          </ac:spMkLst>
        </pc:spChg>
        <pc:spChg chg="mod">
          <ac:chgData name="Lia Taylor" userId="2ccad05f-5017-4e2b-87e4-bbc6d22f4e64" providerId="ADAL" clId="{F700537D-3675-41CA-A525-EB2E79DB2D9A}" dt="2018-12-11T22:03:58.781" v="5387" actId="1076"/>
          <ac:spMkLst>
            <pc:docMk/>
            <pc:sldMk cId="3801494397" sldId="8289"/>
            <ac:spMk id="121" creationId="{DFD0BFF2-6542-4354-8344-C24FA08EDA01}"/>
          </ac:spMkLst>
        </pc:spChg>
        <pc:spChg chg="mod">
          <ac:chgData name="Lia Taylor" userId="2ccad05f-5017-4e2b-87e4-bbc6d22f4e64" providerId="ADAL" clId="{F700537D-3675-41CA-A525-EB2E79DB2D9A}" dt="2018-12-11T22:03:58.781" v="5387" actId="1076"/>
          <ac:spMkLst>
            <pc:docMk/>
            <pc:sldMk cId="3801494397" sldId="8289"/>
            <ac:spMk id="129" creationId="{7B5FD233-7F52-4151-AC4F-D26B12C20ED8}"/>
          </ac:spMkLst>
        </pc:spChg>
        <pc:spChg chg="mod">
          <ac:chgData name="Lia Taylor" userId="2ccad05f-5017-4e2b-87e4-bbc6d22f4e64" providerId="ADAL" clId="{F700537D-3675-41CA-A525-EB2E79DB2D9A}" dt="2018-12-11T22:03:58.781" v="5387" actId="1076"/>
          <ac:spMkLst>
            <pc:docMk/>
            <pc:sldMk cId="3801494397" sldId="8289"/>
            <ac:spMk id="132" creationId="{6A12D6B3-EBB4-4CE5-B887-45E02477B39B}"/>
          </ac:spMkLst>
        </pc:spChg>
        <pc:spChg chg="mod">
          <ac:chgData name="Lia Taylor" userId="2ccad05f-5017-4e2b-87e4-bbc6d22f4e64" providerId="ADAL" clId="{F700537D-3675-41CA-A525-EB2E79DB2D9A}" dt="2018-12-11T22:03:58.781" v="5387" actId="1076"/>
          <ac:spMkLst>
            <pc:docMk/>
            <pc:sldMk cId="3801494397" sldId="8289"/>
            <ac:spMk id="134" creationId="{DC4D3768-8551-4B9E-9183-69340646E379}"/>
          </ac:spMkLst>
        </pc:spChg>
        <pc:spChg chg="mod">
          <ac:chgData name="Lia Taylor" userId="2ccad05f-5017-4e2b-87e4-bbc6d22f4e64" providerId="ADAL" clId="{F700537D-3675-41CA-A525-EB2E79DB2D9A}" dt="2018-12-11T22:03:58.781" v="5387" actId="1076"/>
          <ac:spMkLst>
            <pc:docMk/>
            <pc:sldMk cId="3801494397" sldId="8289"/>
            <ac:spMk id="138" creationId="{8A5DBAAB-F74B-4CEE-B16F-939DF6438222}"/>
          </ac:spMkLst>
        </pc:spChg>
        <pc:grpChg chg="mod">
          <ac:chgData name="Lia Taylor" userId="2ccad05f-5017-4e2b-87e4-bbc6d22f4e64" providerId="ADAL" clId="{F700537D-3675-41CA-A525-EB2E79DB2D9A}" dt="2018-12-11T22:03:58.781" v="5387" actId="1076"/>
          <ac:grpSpMkLst>
            <pc:docMk/>
            <pc:sldMk cId="3801494397" sldId="8289"/>
            <ac:grpSpMk id="4" creationId="{585CDC6F-1CAB-4C84-89AD-D769379745CA}"/>
          </ac:grpSpMkLst>
        </pc:grpChg>
        <pc:grpChg chg="mod">
          <ac:chgData name="Lia Taylor" userId="2ccad05f-5017-4e2b-87e4-bbc6d22f4e64" providerId="ADAL" clId="{F700537D-3675-41CA-A525-EB2E79DB2D9A}" dt="2018-12-11T22:03:58.781" v="5387" actId="1076"/>
          <ac:grpSpMkLst>
            <pc:docMk/>
            <pc:sldMk cId="3801494397" sldId="8289"/>
            <ac:grpSpMk id="13" creationId="{6A7C506E-0290-4C82-BC48-CC52F03AC72F}"/>
          </ac:grpSpMkLst>
        </pc:grpChg>
        <pc:grpChg chg="mod">
          <ac:chgData name="Lia Taylor" userId="2ccad05f-5017-4e2b-87e4-bbc6d22f4e64" providerId="ADAL" clId="{F700537D-3675-41CA-A525-EB2E79DB2D9A}" dt="2018-12-11T22:03:58.781" v="5387" actId="1076"/>
          <ac:grpSpMkLst>
            <pc:docMk/>
            <pc:sldMk cId="3801494397" sldId="8289"/>
            <ac:grpSpMk id="94" creationId="{781FC65C-342F-4E06-8C28-6FA7AA1EE720}"/>
          </ac:grpSpMkLst>
        </pc:grpChg>
        <pc:grpChg chg="mod">
          <ac:chgData name="Lia Taylor" userId="2ccad05f-5017-4e2b-87e4-bbc6d22f4e64" providerId="ADAL" clId="{F700537D-3675-41CA-A525-EB2E79DB2D9A}" dt="2018-12-11T22:03:58.781" v="5387" actId="1076"/>
          <ac:grpSpMkLst>
            <pc:docMk/>
            <pc:sldMk cId="3801494397" sldId="8289"/>
            <ac:grpSpMk id="98" creationId="{67C8C217-28A5-4967-8782-06D6611433A5}"/>
          </ac:grpSpMkLst>
        </pc:grpChg>
        <pc:grpChg chg="mod">
          <ac:chgData name="Lia Taylor" userId="2ccad05f-5017-4e2b-87e4-bbc6d22f4e64" providerId="ADAL" clId="{F700537D-3675-41CA-A525-EB2E79DB2D9A}" dt="2018-12-11T22:03:58.781" v="5387" actId="1076"/>
          <ac:grpSpMkLst>
            <pc:docMk/>
            <pc:sldMk cId="3801494397" sldId="8289"/>
            <ac:grpSpMk id="139" creationId="{3AF8C067-F0C5-4332-AB1E-81097FF7F91D}"/>
          </ac:grpSpMkLst>
        </pc:grpChg>
        <pc:grpChg chg="mod">
          <ac:chgData name="Lia Taylor" userId="2ccad05f-5017-4e2b-87e4-bbc6d22f4e64" providerId="ADAL" clId="{F700537D-3675-41CA-A525-EB2E79DB2D9A}" dt="2018-12-11T22:03:58.781" v="5387" actId="1076"/>
          <ac:grpSpMkLst>
            <pc:docMk/>
            <pc:sldMk cId="3801494397" sldId="8289"/>
            <ac:grpSpMk id="147" creationId="{4BECDE66-0285-44E2-A1D0-DE51F8E0CCE1}"/>
          </ac:grpSpMkLst>
        </pc:grpChg>
        <pc:grpChg chg="mod">
          <ac:chgData name="Lia Taylor" userId="2ccad05f-5017-4e2b-87e4-bbc6d22f4e64" providerId="ADAL" clId="{F700537D-3675-41CA-A525-EB2E79DB2D9A}" dt="2018-12-11T22:03:58.781" v="5387" actId="1076"/>
          <ac:grpSpMkLst>
            <pc:docMk/>
            <pc:sldMk cId="3801494397" sldId="8289"/>
            <ac:grpSpMk id="154" creationId="{402DE1CD-E93E-400C-A27D-D0DAFB032428}"/>
          </ac:grpSpMkLst>
        </pc:grpChg>
        <pc:grpChg chg="mod">
          <ac:chgData name="Lia Taylor" userId="2ccad05f-5017-4e2b-87e4-bbc6d22f4e64" providerId="ADAL" clId="{F700537D-3675-41CA-A525-EB2E79DB2D9A}" dt="2018-12-11T22:03:58.781" v="5387" actId="1076"/>
          <ac:grpSpMkLst>
            <pc:docMk/>
            <pc:sldMk cId="3801494397" sldId="8289"/>
            <ac:grpSpMk id="161" creationId="{9E9945EB-6D29-469D-9388-AB7941AE7F75}"/>
          </ac:grpSpMkLst>
        </pc:grpChg>
        <pc:cxnChg chg="mod">
          <ac:chgData name="Lia Taylor" userId="2ccad05f-5017-4e2b-87e4-bbc6d22f4e64" providerId="ADAL" clId="{F700537D-3675-41CA-A525-EB2E79DB2D9A}" dt="2018-12-11T22:03:58.781" v="5387" actId="1076"/>
          <ac:cxnSpMkLst>
            <pc:docMk/>
            <pc:sldMk cId="3801494397" sldId="8289"/>
            <ac:cxnSpMk id="5" creationId="{8CC805F9-217A-4C1E-B23E-CE15E771FE06}"/>
          </ac:cxnSpMkLst>
        </pc:cxnChg>
        <pc:cxnChg chg="mod">
          <ac:chgData name="Lia Taylor" userId="2ccad05f-5017-4e2b-87e4-bbc6d22f4e64" providerId="ADAL" clId="{F700537D-3675-41CA-A525-EB2E79DB2D9A}" dt="2018-12-11T22:03:58.781" v="5387" actId="1076"/>
          <ac:cxnSpMkLst>
            <pc:docMk/>
            <pc:sldMk cId="3801494397" sldId="8289"/>
            <ac:cxnSpMk id="89" creationId="{61030A30-7FA0-463C-8C20-59E2F8756804}"/>
          </ac:cxnSpMkLst>
        </pc:cxnChg>
        <pc:cxnChg chg="mod">
          <ac:chgData name="Lia Taylor" userId="2ccad05f-5017-4e2b-87e4-bbc6d22f4e64" providerId="ADAL" clId="{F700537D-3675-41CA-A525-EB2E79DB2D9A}" dt="2018-12-11T22:03:58.781" v="5387" actId="1076"/>
          <ac:cxnSpMkLst>
            <pc:docMk/>
            <pc:sldMk cId="3801494397" sldId="8289"/>
            <ac:cxnSpMk id="103" creationId="{86634241-5E7F-4295-884A-6474B7FF17DE}"/>
          </ac:cxnSpMkLst>
        </pc:cxnChg>
        <pc:cxnChg chg="mod">
          <ac:chgData name="Lia Taylor" userId="2ccad05f-5017-4e2b-87e4-bbc6d22f4e64" providerId="ADAL" clId="{F700537D-3675-41CA-A525-EB2E79DB2D9A}" dt="2018-12-11T22:03:58.781" v="5387" actId="1076"/>
          <ac:cxnSpMkLst>
            <pc:docMk/>
            <pc:sldMk cId="3801494397" sldId="8289"/>
            <ac:cxnSpMk id="114" creationId="{1813DF08-120B-4FEA-B233-E002F0F581F4}"/>
          </ac:cxnSpMkLst>
        </pc:cxnChg>
        <pc:cxnChg chg="mod">
          <ac:chgData name="Lia Taylor" userId="2ccad05f-5017-4e2b-87e4-bbc6d22f4e64" providerId="ADAL" clId="{F700537D-3675-41CA-A525-EB2E79DB2D9A}" dt="2018-12-11T22:03:58.781" v="5387" actId="1076"/>
          <ac:cxnSpMkLst>
            <pc:docMk/>
            <pc:sldMk cId="3801494397" sldId="8289"/>
            <ac:cxnSpMk id="123" creationId="{0CEDA18E-4DA6-40D6-8447-195C0616DB94}"/>
          </ac:cxnSpMkLst>
        </pc:cxnChg>
        <pc:cxnChg chg="mod">
          <ac:chgData name="Lia Taylor" userId="2ccad05f-5017-4e2b-87e4-bbc6d22f4e64" providerId="ADAL" clId="{F700537D-3675-41CA-A525-EB2E79DB2D9A}" dt="2018-12-11T22:03:58.781" v="5387" actId="1076"/>
          <ac:cxnSpMkLst>
            <pc:docMk/>
            <pc:sldMk cId="3801494397" sldId="8289"/>
            <ac:cxnSpMk id="127" creationId="{F75B1065-93B0-43C4-96F1-1CE9A051A35E}"/>
          </ac:cxnSpMkLst>
        </pc:cxnChg>
        <pc:cxnChg chg="mod">
          <ac:chgData name="Lia Taylor" userId="2ccad05f-5017-4e2b-87e4-bbc6d22f4e64" providerId="ADAL" clId="{F700537D-3675-41CA-A525-EB2E79DB2D9A}" dt="2018-12-11T22:03:58.781" v="5387" actId="1076"/>
          <ac:cxnSpMkLst>
            <pc:docMk/>
            <pc:sldMk cId="3801494397" sldId="8289"/>
            <ac:cxnSpMk id="130" creationId="{330EABE2-5522-4D5E-8818-1CA4E15BE2D2}"/>
          </ac:cxnSpMkLst>
        </pc:cxnChg>
      </pc:sldChg>
      <pc:sldChg chg="addSp delSp modSp">
        <pc:chgData name="Lia Taylor" userId="2ccad05f-5017-4e2b-87e4-bbc6d22f4e64" providerId="ADAL" clId="{F700537D-3675-41CA-A525-EB2E79DB2D9A}" dt="2018-12-11T23:31:28.764" v="6195" actId="20577"/>
        <pc:sldMkLst>
          <pc:docMk/>
          <pc:sldMk cId="923759559" sldId="8290"/>
        </pc:sldMkLst>
        <pc:spChg chg="mod">
          <ac:chgData name="Lia Taylor" userId="2ccad05f-5017-4e2b-87e4-bbc6d22f4e64" providerId="ADAL" clId="{F700537D-3675-41CA-A525-EB2E79DB2D9A}" dt="2018-12-11T22:09:02.580" v="5425" actId="1076"/>
          <ac:spMkLst>
            <pc:docMk/>
            <pc:sldMk cId="923759559" sldId="8290"/>
            <ac:spMk id="41" creationId="{A2C93E83-7E59-4518-BAAA-F7CA635AD5DA}"/>
          </ac:spMkLst>
        </pc:spChg>
        <pc:spChg chg="del">
          <ac:chgData name="Lia Taylor" userId="2ccad05f-5017-4e2b-87e4-bbc6d22f4e64" providerId="ADAL" clId="{F700537D-3675-41CA-A525-EB2E79DB2D9A}" dt="2018-12-11T22:08:56.093" v="5424" actId="478"/>
          <ac:spMkLst>
            <pc:docMk/>
            <pc:sldMk cId="923759559" sldId="8290"/>
            <ac:spMk id="45" creationId="{3BE1B88C-D7A4-4A64-9C6E-F6ED8DABE833}"/>
          </ac:spMkLst>
        </pc:spChg>
        <pc:spChg chg="mod">
          <ac:chgData name="Lia Taylor" userId="2ccad05f-5017-4e2b-87e4-bbc6d22f4e64" providerId="ADAL" clId="{F700537D-3675-41CA-A525-EB2E79DB2D9A}" dt="2018-12-11T22:09:02.580" v="5425" actId="1076"/>
          <ac:spMkLst>
            <pc:docMk/>
            <pc:sldMk cId="923759559" sldId="8290"/>
            <ac:spMk id="51" creationId="{C1BC870E-B6B2-4079-9696-4B497EC90BB9}"/>
          </ac:spMkLst>
        </pc:spChg>
        <pc:spChg chg="mod">
          <ac:chgData name="Lia Taylor" userId="2ccad05f-5017-4e2b-87e4-bbc6d22f4e64" providerId="ADAL" clId="{F700537D-3675-41CA-A525-EB2E79DB2D9A}" dt="2018-12-11T22:09:02.580" v="5425" actId="1076"/>
          <ac:spMkLst>
            <pc:docMk/>
            <pc:sldMk cId="923759559" sldId="8290"/>
            <ac:spMk id="52" creationId="{C1F10919-6558-4C80-9F5C-9A596C41E594}"/>
          </ac:spMkLst>
        </pc:spChg>
        <pc:spChg chg="mod">
          <ac:chgData name="Lia Taylor" userId="2ccad05f-5017-4e2b-87e4-bbc6d22f4e64" providerId="ADAL" clId="{F700537D-3675-41CA-A525-EB2E79DB2D9A}" dt="2018-12-11T22:09:02.580" v="5425" actId="1076"/>
          <ac:spMkLst>
            <pc:docMk/>
            <pc:sldMk cId="923759559" sldId="8290"/>
            <ac:spMk id="55" creationId="{C6402DF8-EF6E-4AC0-8447-BFE03A013F5A}"/>
          </ac:spMkLst>
        </pc:spChg>
        <pc:spChg chg="mod">
          <ac:chgData name="Lia Taylor" userId="2ccad05f-5017-4e2b-87e4-bbc6d22f4e64" providerId="ADAL" clId="{F700537D-3675-41CA-A525-EB2E79DB2D9A}" dt="2018-12-11T22:09:02.580" v="5425" actId="1076"/>
          <ac:spMkLst>
            <pc:docMk/>
            <pc:sldMk cId="923759559" sldId="8290"/>
            <ac:spMk id="56" creationId="{113564D5-1CE7-4149-9E0C-44BA2ADDCFD8}"/>
          </ac:spMkLst>
        </pc:spChg>
        <pc:spChg chg="mod">
          <ac:chgData name="Lia Taylor" userId="2ccad05f-5017-4e2b-87e4-bbc6d22f4e64" providerId="ADAL" clId="{F700537D-3675-41CA-A525-EB2E79DB2D9A}" dt="2018-12-11T22:09:02.580" v="5425" actId="1076"/>
          <ac:spMkLst>
            <pc:docMk/>
            <pc:sldMk cId="923759559" sldId="8290"/>
            <ac:spMk id="57" creationId="{2F745640-7176-4C71-B6E0-124544F14471}"/>
          </ac:spMkLst>
        </pc:spChg>
        <pc:spChg chg="mod">
          <ac:chgData name="Lia Taylor" userId="2ccad05f-5017-4e2b-87e4-bbc6d22f4e64" providerId="ADAL" clId="{F700537D-3675-41CA-A525-EB2E79DB2D9A}" dt="2018-12-11T22:09:02.580" v="5425" actId="1076"/>
          <ac:spMkLst>
            <pc:docMk/>
            <pc:sldMk cId="923759559" sldId="8290"/>
            <ac:spMk id="61" creationId="{EA1722E7-245F-456E-BC4B-82CF2C4FFD9F}"/>
          </ac:spMkLst>
        </pc:spChg>
        <pc:spChg chg="mod">
          <ac:chgData name="Lia Taylor" userId="2ccad05f-5017-4e2b-87e4-bbc6d22f4e64" providerId="ADAL" clId="{F700537D-3675-41CA-A525-EB2E79DB2D9A}" dt="2018-12-11T22:09:02.580" v="5425" actId="1076"/>
          <ac:spMkLst>
            <pc:docMk/>
            <pc:sldMk cId="923759559" sldId="8290"/>
            <ac:spMk id="64" creationId="{01F43370-93B1-445B-A5B6-4C128485C179}"/>
          </ac:spMkLst>
        </pc:spChg>
        <pc:spChg chg="mod">
          <ac:chgData name="Lia Taylor" userId="2ccad05f-5017-4e2b-87e4-bbc6d22f4e64" providerId="ADAL" clId="{F700537D-3675-41CA-A525-EB2E79DB2D9A}" dt="2018-12-11T22:09:02.580" v="5425" actId="1076"/>
          <ac:spMkLst>
            <pc:docMk/>
            <pc:sldMk cId="923759559" sldId="8290"/>
            <ac:spMk id="65" creationId="{7000DC81-06B1-4EDE-9344-D4B9D5ECAE90}"/>
          </ac:spMkLst>
        </pc:spChg>
        <pc:spChg chg="mod">
          <ac:chgData name="Lia Taylor" userId="2ccad05f-5017-4e2b-87e4-bbc6d22f4e64" providerId="ADAL" clId="{F700537D-3675-41CA-A525-EB2E79DB2D9A}" dt="2018-12-11T22:09:02.580" v="5425" actId="1076"/>
          <ac:spMkLst>
            <pc:docMk/>
            <pc:sldMk cId="923759559" sldId="8290"/>
            <ac:spMk id="69" creationId="{DF8025B3-E8C3-4AE3-BF73-212178EF97ED}"/>
          </ac:spMkLst>
        </pc:spChg>
        <pc:spChg chg="mod">
          <ac:chgData name="Lia Taylor" userId="2ccad05f-5017-4e2b-87e4-bbc6d22f4e64" providerId="ADAL" clId="{F700537D-3675-41CA-A525-EB2E79DB2D9A}" dt="2018-12-11T22:09:02.580" v="5425" actId="1076"/>
          <ac:spMkLst>
            <pc:docMk/>
            <pc:sldMk cId="923759559" sldId="8290"/>
            <ac:spMk id="71" creationId="{DD69C1E6-8305-47D8-9158-FF36D12701C2}"/>
          </ac:spMkLst>
        </pc:spChg>
        <pc:spChg chg="mod">
          <ac:chgData name="Lia Taylor" userId="2ccad05f-5017-4e2b-87e4-bbc6d22f4e64" providerId="ADAL" clId="{F700537D-3675-41CA-A525-EB2E79DB2D9A}" dt="2018-12-11T22:09:02.580" v="5425" actId="1076"/>
          <ac:spMkLst>
            <pc:docMk/>
            <pc:sldMk cId="923759559" sldId="8290"/>
            <ac:spMk id="74" creationId="{98CB56EF-AE43-4E65-A538-D02958690B36}"/>
          </ac:spMkLst>
        </pc:spChg>
        <pc:spChg chg="mod">
          <ac:chgData name="Lia Taylor" userId="2ccad05f-5017-4e2b-87e4-bbc6d22f4e64" providerId="ADAL" clId="{F700537D-3675-41CA-A525-EB2E79DB2D9A}" dt="2018-12-11T22:09:02.580" v="5425" actId="1076"/>
          <ac:spMkLst>
            <pc:docMk/>
            <pc:sldMk cId="923759559" sldId="8290"/>
            <ac:spMk id="75" creationId="{5E86040C-BE7C-4339-88B0-D6DF149B3796}"/>
          </ac:spMkLst>
        </pc:spChg>
        <pc:spChg chg="mod">
          <ac:chgData name="Lia Taylor" userId="2ccad05f-5017-4e2b-87e4-bbc6d22f4e64" providerId="ADAL" clId="{F700537D-3675-41CA-A525-EB2E79DB2D9A}" dt="2018-12-11T22:09:02.580" v="5425" actId="1076"/>
          <ac:spMkLst>
            <pc:docMk/>
            <pc:sldMk cId="923759559" sldId="8290"/>
            <ac:spMk id="76" creationId="{C31E4AAE-ECE8-4E31-AE61-9819DAB8DA70}"/>
          </ac:spMkLst>
        </pc:spChg>
        <pc:spChg chg="mod">
          <ac:chgData name="Lia Taylor" userId="2ccad05f-5017-4e2b-87e4-bbc6d22f4e64" providerId="ADAL" clId="{F700537D-3675-41CA-A525-EB2E79DB2D9A}" dt="2018-12-11T22:09:02.580" v="5425" actId="1076"/>
          <ac:spMkLst>
            <pc:docMk/>
            <pc:sldMk cId="923759559" sldId="8290"/>
            <ac:spMk id="78" creationId="{30B9F247-8FA3-49DB-A04E-CCEC28858491}"/>
          </ac:spMkLst>
        </pc:spChg>
        <pc:spChg chg="mod">
          <ac:chgData name="Lia Taylor" userId="2ccad05f-5017-4e2b-87e4-bbc6d22f4e64" providerId="ADAL" clId="{F700537D-3675-41CA-A525-EB2E79DB2D9A}" dt="2018-12-11T22:09:02.580" v="5425" actId="1076"/>
          <ac:spMkLst>
            <pc:docMk/>
            <pc:sldMk cId="923759559" sldId="8290"/>
            <ac:spMk id="79" creationId="{C18B8357-A033-4F1E-A35C-A40AA95BDB5C}"/>
          </ac:spMkLst>
        </pc:spChg>
        <pc:spChg chg="mod">
          <ac:chgData name="Lia Taylor" userId="2ccad05f-5017-4e2b-87e4-bbc6d22f4e64" providerId="ADAL" clId="{F700537D-3675-41CA-A525-EB2E79DB2D9A}" dt="2018-12-11T22:09:02.580" v="5425" actId="1076"/>
          <ac:spMkLst>
            <pc:docMk/>
            <pc:sldMk cId="923759559" sldId="8290"/>
            <ac:spMk id="80" creationId="{03C1DB04-C24E-49AE-8A76-F17ECC0EE0B7}"/>
          </ac:spMkLst>
        </pc:spChg>
        <pc:spChg chg="mod">
          <ac:chgData name="Lia Taylor" userId="2ccad05f-5017-4e2b-87e4-bbc6d22f4e64" providerId="ADAL" clId="{F700537D-3675-41CA-A525-EB2E79DB2D9A}" dt="2018-12-11T22:09:02.580" v="5425" actId="1076"/>
          <ac:spMkLst>
            <pc:docMk/>
            <pc:sldMk cId="923759559" sldId="8290"/>
            <ac:spMk id="84" creationId="{9D5ED302-31E6-4300-A8EA-7A6FDC55BFC1}"/>
          </ac:spMkLst>
        </pc:spChg>
        <pc:spChg chg="mod">
          <ac:chgData name="Lia Taylor" userId="2ccad05f-5017-4e2b-87e4-bbc6d22f4e64" providerId="ADAL" clId="{F700537D-3675-41CA-A525-EB2E79DB2D9A}" dt="2018-12-11T22:09:02.580" v="5425" actId="1076"/>
          <ac:spMkLst>
            <pc:docMk/>
            <pc:sldMk cId="923759559" sldId="8290"/>
            <ac:spMk id="88" creationId="{4FEA7318-77BD-4D45-90F1-67C3C8D2267F}"/>
          </ac:spMkLst>
        </pc:spChg>
        <pc:spChg chg="mod">
          <ac:chgData name="Lia Taylor" userId="2ccad05f-5017-4e2b-87e4-bbc6d22f4e64" providerId="ADAL" clId="{F700537D-3675-41CA-A525-EB2E79DB2D9A}" dt="2018-12-11T23:16:38.822" v="5934" actId="14100"/>
          <ac:spMkLst>
            <pc:docMk/>
            <pc:sldMk cId="923759559" sldId="8290"/>
            <ac:spMk id="94" creationId="{9BE1700C-C375-4D29-8496-99E41387F3C5}"/>
          </ac:spMkLst>
        </pc:spChg>
        <pc:spChg chg="mod">
          <ac:chgData name="Lia Taylor" userId="2ccad05f-5017-4e2b-87e4-bbc6d22f4e64" providerId="ADAL" clId="{F700537D-3675-41CA-A525-EB2E79DB2D9A}" dt="2018-12-11T22:09:02.580" v="5425" actId="1076"/>
          <ac:spMkLst>
            <pc:docMk/>
            <pc:sldMk cId="923759559" sldId="8290"/>
            <ac:spMk id="95" creationId="{C1F49FFF-5164-4C92-A086-6DD899DC6C63}"/>
          </ac:spMkLst>
        </pc:spChg>
        <pc:spChg chg="add del">
          <ac:chgData name="Lia Taylor" userId="2ccad05f-5017-4e2b-87e4-bbc6d22f4e64" providerId="ADAL" clId="{F700537D-3675-41CA-A525-EB2E79DB2D9A}" dt="2018-12-11T22:09:55.297" v="5432"/>
          <ac:spMkLst>
            <pc:docMk/>
            <pc:sldMk cId="923759559" sldId="8290"/>
            <ac:spMk id="96" creationId="{F845BF8A-F9E5-41D5-AF52-1FD5366F9EDB}"/>
          </ac:spMkLst>
        </pc:spChg>
        <pc:spChg chg="add del mod">
          <ac:chgData name="Lia Taylor" userId="2ccad05f-5017-4e2b-87e4-bbc6d22f4e64" providerId="ADAL" clId="{F700537D-3675-41CA-A525-EB2E79DB2D9A}" dt="2018-12-11T22:15:15.299" v="5563" actId="1076"/>
          <ac:spMkLst>
            <pc:docMk/>
            <pc:sldMk cId="923759559" sldId="8290"/>
            <ac:spMk id="105" creationId="{3A8B42BF-2718-4E4A-8F3D-399C6040D3D8}"/>
          </ac:spMkLst>
        </pc:spChg>
        <pc:spChg chg="mod">
          <ac:chgData name="Lia Taylor" userId="2ccad05f-5017-4e2b-87e4-bbc6d22f4e64" providerId="ADAL" clId="{F700537D-3675-41CA-A525-EB2E79DB2D9A}" dt="2018-12-11T22:09:02.580" v="5425" actId="1076"/>
          <ac:spMkLst>
            <pc:docMk/>
            <pc:sldMk cId="923759559" sldId="8290"/>
            <ac:spMk id="106" creationId="{7F3C0C30-2DD6-4F21-A8B1-16FAA550460E}"/>
          </ac:spMkLst>
        </pc:spChg>
        <pc:spChg chg="mod">
          <ac:chgData name="Lia Taylor" userId="2ccad05f-5017-4e2b-87e4-bbc6d22f4e64" providerId="ADAL" clId="{F700537D-3675-41CA-A525-EB2E79DB2D9A}" dt="2018-12-11T22:09:02.580" v="5425" actId="1076"/>
          <ac:spMkLst>
            <pc:docMk/>
            <pc:sldMk cId="923759559" sldId="8290"/>
            <ac:spMk id="107" creationId="{DF723443-3228-4099-AE0F-FF2949DC1D5E}"/>
          </ac:spMkLst>
        </pc:spChg>
        <pc:spChg chg="mod">
          <ac:chgData name="Lia Taylor" userId="2ccad05f-5017-4e2b-87e4-bbc6d22f4e64" providerId="ADAL" clId="{F700537D-3675-41CA-A525-EB2E79DB2D9A}" dt="2018-12-11T23:31:28.764" v="6195" actId="20577"/>
          <ac:spMkLst>
            <pc:docMk/>
            <pc:sldMk cId="923759559" sldId="8290"/>
            <ac:spMk id="110" creationId="{431BC550-6A35-4006-9D37-FDE4F50A8389}"/>
          </ac:spMkLst>
        </pc:spChg>
        <pc:spChg chg="mod">
          <ac:chgData name="Lia Taylor" userId="2ccad05f-5017-4e2b-87e4-bbc6d22f4e64" providerId="ADAL" clId="{F700537D-3675-41CA-A525-EB2E79DB2D9A}" dt="2018-12-11T22:09:02.580" v="5425" actId="1076"/>
          <ac:spMkLst>
            <pc:docMk/>
            <pc:sldMk cId="923759559" sldId="8290"/>
            <ac:spMk id="114" creationId="{366582FE-AD38-4541-B333-D3846528D5C3}"/>
          </ac:spMkLst>
        </pc:spChg>
        <pc:spChg chg="mod">
          <ac:chgData name="Lia Taylor" userId="2ccad05f-5017-4e2b-87e4-bbc6d22f4e64" providerId="ADAL" clId="{F700537D-3675-41CA-A525-EB2E79DB2D9A}" dt="2018-12-11T22:09:02.580" v="5425" actId="1076"/>
          <ac:spMkLst>
            <pc:docMk/>
            <pc:sldMk cId="923759559" sldId="8290"/>
            <ac:spMk id="128" creationId="{7414689C-3365-4AEB-BF7A-C537D0076146}"/>
          </ac:spMkLst>
        </pc:spChg>
        <pc:spChg chg="mod">
          <ac:chgData name="Lia Taylor" userId="2ccad05f-5017-4e2b-87e4-bbc6d22f4e64" providerId="ADAL" clId="{F700537D-3675-41CA-A525-EB2E79DB2D9A}" dt="2018-12-11T22:15:49.016" v="5567" actId="14100"/>
          <ac:spMkLst>
            <pc:docMk/>
            <pc:sldMk cId="923759559" sldId="8290"/>
            <ac:spMk id="165" creationId="{89236C1F-4C49-4095-84C5-701AE353CBD9}"/>
          </ac:spMkLst>
        </pc:spChg>
        <pc:spChg chg="mod">
          <ac:chgData name="Lia Taylor" userId="2ccad05f-5017-4e2b-87e4-bbc6d22f4e64" providerId="ADAL" clId="{F700537D-3675-41CA-A525-EB2E79DB2D9A}" dt="2018-12-11T22:09:02.580" v="5425" actId="1076"/>
          <ac:spMkLst>
            <pc:docMk/>
            <pc:sldMk cId="923759559" sldId="8290"/>
            <ac:spMk id="184" creationId="{4F485C99-2D0D-40B3-A5B0-849E60008C06}"/>
          </ac:spMkLst>
        </pc:spChg>
        <pc:grpChg chg="mod">
          <ac:chgData name="Lia Taylor" userId="2ccad05f-5017-4e2b-87e4-bbc6d22f4e64" providerId="ADAL" clId="{F700537D-3675-41CA-A525-EB2E79DB2D9A}" dt="2018-12-11T22:09:02.580" v="5425" actId="1076"/>
          <ac:grpSpMkLst>
            <pc:docMk/>
            <pc:sldMk cId="923759559" sldId="8290"/>
            <ac:grpSpMk id="6" creationId="{A0FE78EA-CF6B-4BD6-9AAE-1AF915947A22}"/>
          </ac:grpSpMkLst>
        </pc:grpChg>
        <pc:grpChg chg="mod">
          <ac:chgData name="Lia Taylor" userId="2ccad05f-5017-4e2b-87e4-bbc6d22f4e64" providerId="ADAL" clId="{F700537D-3675-41CA-A525-EB2E79DB2D9A}" dt="2018-12-11T22:09:02.580" v="5425" actId="1076"/>
          <ac:grpSpMkLst>
            <pc:docMk/>
            <pc:sldMk cId="923759559" sldId="8290"/>
            <ac:grpSpMk id="9" creationId="{39F2B108-BA8E-4BA0-A9F6-5AC7962AF0DD}"/>
          </ac:grpSpMkLst>
        </pc:grpChg>
        <pc:grpChg chg="mod">
          <ac:chgData name="Lia Taylor" userId="2ccad05f-5017-4e2b-87e4-bbc6d22f4e64" providerId="ADAL" clId="{F700537D-3675-41CA-A525-EB2E79DB2D9A}" dt="2018-12-11T22:09:02.580" v="5425" actId="1076"/>
          <ac:grpSpMkLst>
            <pc:docMk/>
            <pc:sldMk cId="923759559" sldId="8290"/>
            <ac:grpSpMk id="66" creationId="{F89BBAC6-38A4-47B1-B62E-DF73BF21E98B}"/>
          </ac:grpSpMkLst>
        </pc:grpChg>
        <pc:grpChg chg="mod">
          <ac:chgData name="Lia Taylor" userId="2ccad05f-5017-4e2b-87e4-bbc6d22f4e64" providerId="ADAL" clId="{F700537D-3675-41CA-A525-EB2E79DB2D9A}" dt="2018-12-11T22:09:02.580" v="5425" actId="1076"/>
          <ac:grpSpMkLst>
            <pc:docMk/>
            <pc:sldMk cId="923759559" sldId="8290"/>
            <ac:grpSpMk id="98" creationId="{F021F200-298E-4BFA-BB26-B5C1A3999F9D}"/>
          </ac:grpSpMkLst>
        </pc:grpChg>
        <pc:grpChg chg="mod">
          <ac:chgData name="Lia Taylor" userId="2ccad05f-5017-4e2b-87e4-bbc6d22f4e64" providerId="ADAL" clId="{F700537D-3675-41CA-A525-EB2E79DB2D9A}" dt="2018-12-11T22:09:02.580" v="5425" actId="1076"/>
          <ac:grpSpMkLst>
            <pc:docMk/>
            <pc:sldMk cId="923759559" sldId="8290"/>
            <ac:grpSpMk id="115" creationId="{D941AFA3-F0F5-405A-82D1-8E24EE144ECC}"/>
          </ac:grpSpMkLst>
        </pc:grpChg>
        <pc:grpChg chg="mod">
          <ac:chgData name="Lia Taylor" userId="2ccad05f-5017-4e2b-87e4-bbc6d22f4e64" providerId="ADAL" clId="{F700537D-3675-41CA-A525-EB2E79DB2D9A}" dt="2018-12-11T22:09:02.580" v="5425" actId="1076"/>
          <ac:grpSpMkLst>
            <pc:docMk/>
            <pc:sldMk cId="923759559" sldId="8290"/>
            <ac:grpSpMk id="148" creationId="{47BE9848-423A-4176-9946-BD4486FA720E}"/>
          </ac:grpSpMkLst>
        </pc:grpChg>
        <pc:grpChg chg="mod">
          <ac:chgData name="Lia Taylor" userId="2ccad05f-5017-4e2b-87e4-bbc6d22f4e64" providerId="ADAL" clId="{F700537D-3675-41CA-A525-EB2E79DB2D9A}" dt="2018-12-11T22:09:02.580" v="5425" actId="1076"/>
          <ac:grpSpMkLst>
            <pc:docMk/>
            <pc:sldMk cId="923759559" sldId="8290"/>
            <ac:grpSpMk id="154" creationId="{CB7CAADF-7DF3-41AA-BA62-0490FF39F80F}"/>
          </ac:grpSpMkLst>
        </pc:grpChg>
        <pc:grpChg chg="mod">
          <ac:chgData name="Lia Taylor" userId="2ccad05f-5017-4e2b-87e4-bbc6d22f4e64" providerId="ADAL" clId="{F700537D-3675-41CA-A525-EB2E79DB2D9A}" dt="2018-12-11T22:09:02.580" v="5425" actId="1076"/>
          <ac:grpSpMkLst>
            <pc:docMk/>
            <pc:sldMk cId="923759559" sldId="8290"/>
            <ac:grpSpMk id="185" creationId="{ACD7DA0F-ECA5-4789-A030-6A2EC2647CA9}"/>
          </ac:grpSpMkLst>
        </pc:grpChg>
        <pc:cxnChg chg="mod">
          <ac:chgData name="Lia Taylor" userId="2ccad05f-5017-4e2b-87e4-bbc6d22f4e64" providerId="ADAL" clId="{F700537D-3675-41CA-A525-EB2E79DB2D9A}" dt="2018-12-11T22:14:45.349" v="5559" actId="14100"/>
          <ac:cxnSpMkLst>
            <pc:docMk/>
            <pc:sldMk cId="923759559" sldId="8290"/>
            <ac:cxnSpMk id="17" creationId="{83B76D60-7C03-4A86-8AAD-49274C49D108}"/>
          </ac:cxnSpMkLst>
        </pc:cxnChg>
        <pc:cxnChg chg="mod">
          <ac:chgData name="Lia Taylor" userId="2ccad05f-5017-4e2b-87e4-bbc6d22f4e64" providerId="ADAL" clId="{F700537D-3675-41CA-A525-EB2E79DB2D9A}" dt="2018-12-11T22:09:02.580" v="5425" actId="1076"/>
          <ac:cxnSpMkLst>
            <pc:docMk/>
            <pc:sldMk cId="923759559" sldId="8290"/>
            <ac:cxnSpMk id="28" creationId="{E874EC07-7154-4C4C-A720-DBDF8546E937}"/>
          </ac:cxnSpMkLst>
        </pc:cxnChg>
        <pc:cxnChg chg="mod">
          <ac:chgData name="Lia Taylor" userId="2ccad05f-5017-4e2b-87e4-bbc6d22f4e64" providerId="ADAL" clId="{F700537D-3675-41CA-A525-EB2E79DB2D9A}" dt="2018-12-11T22:09:02.580" v="5425" actId="1076"/>
          <ac:cxnSpMkLst>
            <pc:docMk/>
            <pc:sldMk cId="923759559" sldId="8290"/>
            <ac:cxnSpMk id="53" creationId="{595EEA1C-7177-4489-8D33-4871947A4AD8}"/>
          </ac:cxnSpMkLst>
        </pc:cxnChg>
        <pc:cxnChg chg="mod">
          <ac:chgData name="Lia Taylor" userId="2ccad05f-5017-4e2b-87e4-bbc6d22f4e64" providerId="ADAL" clId="{F700537D-3675-41CA-A525-EB2E79DB2D9A}" dt="2018-12-11T22:09:02.580" v="5425" actId="1076"/>
          <ac:cxnSpMkLst>
            <pc:docMk/>
            <pc:sldMk cId="923759559" sldId="8290"/>
            <ac:cxnSpMk id="54" creationId="{D6A16437-C9CB-42B1-8E44-E3003F72CEE5}"/>
          </ac:cxnSpMkLst>
        </pc:cxnChg>
        <pc:cxnChg chg="mod">
          <ac:chgData name="Lia Taylor" userId="2ccad05f-5017-4e2b-87e4-bbc6d22f4e64" providerId="ADAL" clId="{F700537D-3675-41CA-A525-EB2E79DB2D9A}" dt="2018-12-11T22:09:02.580" v="5425" actId="1076"/>
          <ac:cxnSpMkLst>
            <pc:docMk/>
            <pc:sldMk cId="923759559" sldId="8290"/>
            <ac:cxnSpMk id="62" creationId="{488F99B4-E204-47CB-B40A-E990A871F940}"/>
          </ac:cxnSpMkLst>
        </pc:cxnChg>
        <pc:cxnChg chg="mod">
          <ac:chgData name="Lia Taylor" userId="2ccad05f-5017-4e2b-87e4-bbc6d22f4e64" providerId="ADAL" clId="{F700537D-3675-41CA-A525-EB2E79DB2D9A}" dt="2018-12-11T22:09:02.580" v="5425" actId="1076"/>
          <ac:cxnSpMkLst>
            <pc:docMk/>
            <pc:sldMk cId="923759559" sldId="8290"/>
            <ac:cxnSpMk id="77" creationId="{080755E6-BBFF-407D-BC3A-65F94349ED75}"/>
          </ac:cxnSpMkLst>
        </pc:cxnChg>
        <pc:cxnChg chg="mod">
          <ac:chgData name="Lia Taylor" userId="2ccad05f-5017-4e2b-87e4-bbc6d22f4e64" providerId="ADAL" clId="{F700537D-3675-41CA-A525-EB2E79DB2D9A}" dt="2018-12-11T22:09:02.580" v="5425" actId="1076"/>
          <ac:cxnSpMkLst>
            <pc:docMk/>
            <pc:sldMk cId="923759559" sldId="8290"/>
            <ac:cxnSpMk id="127" creationId="{A8C8310B-61BE-450B-8FA4-ACA0BA283EA4}"/>
          </ac:cxnSpMkLst>
        </pc:cxnChg>
      </pc:sldChg>
      <pc:sldChg chg="addSp delSp modSp add del modAnim">
        <pc:chgData name="Lia Taylor" userId="2ccad05f-5017-4e2b-87e4-bbc6d22f4e64" providerId="ADAL" clId="{F700537D-3675-41CA-A525-EB2E79DB2D9A}" dt="2018-12-11T21:58:10.048" v="5294" actId="2696"/>
        <pc:sldMkLst>
          <pc:docMk/>
          <pc:sldMk cId="2426778853" sldId="8291"/>
        </pc:sldMkLst>
        <pc:spChg chg="del">
          <ac:chgData name="Lia Taylor" userId="2ccad05f-5017-4e2b-87e4-bbc6d22f4e64" providerId="ADAL" clId="{F700537D-3675-41CA-A525-EB2E79DB2D9A}" dt="2018-12-11T21:56:58.912" v="5279"/>
          <ac:spMkLst>
            <pc:docMk/>
            <pc:sldMk cId="2426778853" sldId="8291"/>
            <ac:spMk id="50" creationId="{40CB5054-9971-4771-BDCF-382BB855B8F4}"/>
          </ac:spMkLst>
        </pc:spChg>
        <pc:spChg chg="del">
          <ac:chgData name="Lia Taylor" userId="2ccad05f-5017-4e2b-87e4-bbc6d22f4e64" providerId="ADAL" clId="{F700537D-3675-41CA-A525-EB2E79DB2D9A}" dt="2018-12-11T21:56:58.912" v="5279"/>
          <ac:spMkLst>
            <pc:docMk/>
            <pc:sldMk cId="2426778853" sldId="8291"/>
            <ac:spMk id="60" creationId="{A6ECE84E-1480-4C6A-B304-1B41808ED282}"/>
          </ac:spMkLst>
        </pc:spChg>
        <pc:spChg chg="del">
          <ac:chgData name="Lia Taylor" userId="2ccad05f-5017-4e2b-87e4-bbc6d22f4e64" providerId="ADAL" clId="{F700537D-3675-41CA-A525-EB2E79DB2D9A}" dt="2018-12-11T21:56:58.912" v="5279"/>
          <ac:spMkLst>
            <pc:docMk/>
            <pc:sldMk cId="2426778853" sldId="8291"/>
            <ac:spMk id="61" creationId="{4666497F-2655-4487-9236-04CA72DC4E0F}"/>
          </ac:spMkLst>
        </pc:spChg>
        <pc:spChg chg="del">
          <ac:chgData name="Lia Taylor" userId="2ccad05f-5017-4e2b-87e4-bbc6d22f4e64" providerId="ADAL" clId="{F700537D-3675-41CA-A525-EB2E79DB2D9A}" dt="2018-12-11T21:56:58.912" v="5279"/>
          <ac:spMkLst>
            <pc:docMk/>
            <pc:sldMk cId="2426778853" sldId="8291"/>
            <ac:spMk id="62" creationId="{A355334C-AF90-41D8-A40A-B1263CC92912}"/>
          </ac:spMkLst>
        </pc:spChg>
        <pc:spChg chg="del">
          <ac:chgData name="Lia Taylor" userId="2ccad05f-5017-4e2b-87e4-bbc6d22f4e64" providerId="ADAL" clId="{F700537D-3675-41CA-A525-EB2E79DB2D9A}" dt="2018-12-11T21:56:58.912" v="5279"/>
          <ac:spMkLst>
            <pc:docMk/>
            <pc:sldMk cId="2426778853" sldId="8291"/>
            <ac:spMk id="63" creationId="{1F3EEF6D-FBCC-45CA-BF85-473CD69AC202}"/>
          </ac:spMkLst>
        </pc:spChg>
        <pc:spChg chg="del">
          <ac:chgData name="Lia Taylor" userId="2ccad05f-5017-4e2b-87e4-bbc6d22f4e64" providerId="ADAL" clId="{F700537D-3675-41CA-A525-EB2E79DB2D9A}" dt="2018-12-11T21:56:58.912" v="5279"/>
          <ac:spMkLst>
            <pc:docMk/>
            <pc:sldMk cId="2426778853" sldId="8291"/>
            <ac:spMk id="64" creationId="{EE471911-842B-458F-833B-4029879F8353}"/>
          </ac:spMkLst>
        </pc:spChg>
        <pc:spChg chg="del">
          <ac:chgData name="Lia Taylor" userId="2ccad05f-5017-4e2b-87e4-bbc6d22f4e64" providerId="ADAL" clId="{F700537D-3675-41CA-A525-EB2E79DB2D9A}" dt="2018-12-11T21:56:58.912" v="5279"/>
          <ac:spMkLst>
            <pc:docMk/>
            <pc:sldMk cId="2426778853" sldId="8291"/>
            <ac:spMk id="65" creationId="{2D46BBDC-2C92-462C-8E4D-227866246225}"/>
          </ac:spMkLst>
        </pc:spChg>
        <pc:spChg chg="del">
          <ac:chgData name="Lia Taylor" userId="2ccad05f-5017-4e2b-87e4-bbc6d22f4e64" providerId="ADAL" clId="{F700537D-3675-41CA-A525-EB2E79DB2D9A}" dt="2018-12-11T21:56:58.912" v="5279"/>
          <ac:spMkLst>
            <pc:docMk/>
            <pc:sldMk cId="2426778853" sldId="8291"/>
            <ac:spMk id="66" creationId="{63E85F5A-BF89-41F0-9C97-6B14DE5F0AF5}"/>
          </ac:spMkLst>
        </pc:spChg>
        <pc:spChg chg="del">
          <ac:chgData name="Lia Taylor" userId="2ccad05f-5017-4e2b-87e4-bbc6d22f4e64" providerId="ADAL" clId="{F700537D-3675-41CA-A525-EB2E79DB2D9A}" dt="2018-12-11T21:56:58.912" v="5279"/>
          <ac:spMkLst>
            <pc:docMk/>
            <pc:sldMk cId="2426778853" sldId="8291"/>
            <ac:spMk id="67" creationId="{A69025D0-14CE-4D51-B6AD-BCDD2099B686}"/>
          </ac:spMkLst>
        </pc:spChg>
        <pc:spChg chg="del">
          <ac:chgData name="Lia Taylor" userId="2ccad05f-5017-4e2b-87e4-bbc6d22f4e64" providerId="ADAL" clId="{F700537D-3675-41CA-A525-EB2E79DB2D9A}" dt="2018-12-11T21:56:58.912" v="5279"/>
          <ac:spMkLst>
            <pc:docMk/>
            <pc:sldMk cId="2426778853" sldId="8291"/>
            <ac:spMk id="68" creationId="{AEBA10DB-0054-4A50-A319-977EB3182CAC}"/>
          </ac:spMkLst>
        </pc:spChg>
        <pc:spChg chg="del">
          <ac:chgData name="Lia Taylor" userId="2ccad05f-5017-4e2b-87e4-bbc6d22f4e64" providerId="ADAL" clId="{F700537D-3675-41CA-A525-EB2E79DB2D9A}" dt="2018-12-11T21:56:58.912" v="5279"/>
          <ac:spMkLst>
            <pc:docMk/>
            <pc:sldMk cId="2426778853" sldId="8291"/>
            <ac:spMk id="69" creationId="{497F3552-9E64-44C4-A0EC-B7F7BAF03773}"/>
          </ac:spMkLst>
        </pc:spChg>
        <pc:spChg chg="del">
          <ac:chgData name="Lia Taylor" userId="2ccad05f-5017-4e2b-87e4-bbc6d22f4e64" providerId="ADAL" clId="{F700537D-3675-41CA-A525-EB2E79DB2D9A}" dt="2018-12-11T21:56:58.912" v="5279"/>
          <ac:spMkLst>
            <pc:docMk/>
            <pc:sldMk cId="2426778853" sldId="8291"/>
            <ac:spMk id="79" creationId="{31751157-80F4-40BA-A879-145B2F14F966}"/>
          </ac:spMkLst>
        </pc:spChg>
        <pc:spChg chg="del">
          <ac:chgData name="Lia Taylor" userId="2ccad05f-5017-4e2b-87e4-bbc6d22f4e64" providerId="ADAL" clId="{F700537D-3675-41CA-A525-EB2E79DB2D9A}" dt="2018-12-11T21:56:58.912" v="5279"/>
          <ac:spMkLst>
            <pc:docMk/>
            <pc:sldMk cId="2426778853" sldId="8291"/>
            <ac:spMk id="80" creationId="{F24F5709-273C-4C7B-9322-8DE41374781B}"/>
          </ac:spMkLst>
        </pc:spChg>
        <pc:spChg chg="del">
          <ac:chgData name="Lia Taylor" userId="2ccad05f-5017-4e2b-87e4-bbc6d22f4e64" providerId="ADAL" clId="{F700537D-3675-41CA-A525-EB2E79DB2D9A}" dt="2018-12-11T21:56:58.912" v="5279"/>
          <ac:spMkLst>
            <pc:docMk/>
            <pc:sldMk cId="2426778853" sldId="8291"/>
            <ac:spMk id="90" creationId="{4E7C443D-1B34-45C3-81E3-90EBB3715FB6}"/>
          </ac:spMkLst>
        </pc:spChg>
        <pc:spChg chg="del">
          <ac:chgData name="Lia Taylor" userId="2ccad05f-5017-4e2b-87e4-bbc6d22f4e64" providerId="ADAL" clId="{F700537D-3675-41CA-A525-EB2E79DB2D9A}" dt="2018-12-11T21:56:58.912" v="5279"/>
          <ac:spMkLst>
            <pc:docMk/>
            <pc:sldMk cId="2426778853" sldId="8291"/>
            <ac:spMk id="91" creationId="{C9E093F2-11C1-4CA3-AA58-3C15083AE704}"/>
          </ac:spMkLst>
        </pc:spChg>
        <pc:spChg chg="del mod">
          <ac:chgData name="Lia Taylor" userId="2ccad05f-5017-4e2b-87e4-bbc6d22f4e64" providerId="ADAL" clId="{F700537D-3675-41CA-A525-EB2E79DB2D9A}" dt="2018-12-11T21:57:06.754" v="5281" actId="478"/>
          <ac:spMkLst>
            <pc:docMk/>
            <pc:sldMk cId="2426778853" sldId="8291"/>
            <ac:spMk id="92" creationId="{20C2E6E0-12E4-4B10-954C-CB9AFFC019CD}"/>
          </ac:spMkLst>
        </pc:spChg>
        <pc:spChg chg="del">
          <ac:chgData name="Lia Taylor" userId="2ccad05f-5017-4e2b-87e4-bbc6d22f4e64" providerId="ADAL" clId="{F700537D-3675-41CA-A525-EB2E79DB2D9A}" dt="2018-12-11T21:56:58.912" v="5279"/>
          <ac:spMkLst>
            <pc:docMk/>
            <pc:sldMk cId="2426778853" sldId="8291"/>
            <ac:spMk id="93" creationId="{28F4D030-40A2-4339-A8F5-87AD4429C9B4}"/>
          </ac:spMkLst>
        </pc:spChg>
        <pc:spChg chg="add mod">
          <ac:chgData name="Lia Taylor" userId="2ccad05f-5017-4e2b-87e4-bbc6d22f4e64" providerId="ADAL" clId="{F700537D-3675-41CA-A525-EB2E79DB2D9A}" dt="2018-12-11T21:58:05.596" v="5293" actId="1076"/>
          <ac:spMkLst>
            <pc:docMk/>
            <pc:sldMk cId="2426778853" sldId="8291"/>
            <ac:spMk id="104" creationId="{67665BC5-141D-4539-841C-5BF6D0DE8007}"/>
          </ac:spMkLst>
        </pc:spChg>
        <pc:spChg chg="del">
          <ac:chgData name="Lia Taylor" userId="2ccad05f-5017-4e2b-87e4-bbc6d22f4e64" providerId="ADAL" clId="{F700537D-3675-41CA-A525-EB2E79DB2D9A}" dt="2018-12-11T21:56:58.912" v="5279"/>
          <ac:spMkLst>
            <pc:docMk/>
            <pc:sldMk cId="2426778853" sldId="8291"/>
            <ac:spMk id="105" creationId="{B67B25ED-A4FA-44AC-BD7A-F8ED3BDF5895}"/>
          </ac:spMkLst>
        </pc:spChg>
        <pc:spChg chg="del">
          <ac:chgData name="Lia Taylor" userId="2ccad05f-5017-4e2b-87e4-bbc6d22f4e64" providerId="ADAL" clId="{F700537D-3675-41CA-A525-EB2E79DB2D9A}" dt="2018-12-11T21:56:58.912" v="5279"/>
          <ac:spMkLst>
            <pc:docMk/>
            <pc:sldMk cId="2426778853" sldId="8291"/>
            <ac:spMk id="106" creationId="{54DF214B-7709-48B0-92AA-8B8ACA4C8849}"/>
          </ac:spMkLst>
        </pc:spChg>
        <pc:spChg chg="del">
          <ac:chgData name="Lia Taylor" userId="2ccad05f-5017-4e2b-87e4-bbc6d22f4e64" providerId="ADAL" clId="{F700537D-3675-41CA-A525-EB2E79DB2D9A}" dt="2018-12-11T21:56:58.912" v="5279"/>
          <ac:spMkLst>
            <pc:docMk/>
            <pc:sldMk cId="2426778853" sldId="8291"/>
            <ac:spMk id="107" creationId="{D0DA26C2-75EE-4428-8360-A0061363D9A5}"/>
          </ac:spMkLst>
        </pc:spChg>
        <pc:spChg chg="mod">
          <ac:chgData name="Lia Taylor" userId="2ccad05f-5017-4e2b-87e4-bbc6d22f4e64" providerId="ADAL" clId="{F700537D-3675-41CA-A525-EB2E79DB2D9A}" dt="2018-12-11T21:57:43.729" v="5290" actId="20577"/>
          <ac:spMkLst>
            <pc:docMk/>
            <pc:sldMk cId="2426778853" sldId="8291"/>
            <ac:spMk id="108" creationId="{119B6498-7B4C-462D-87D1-BC329647AE72}"/>
          </ac:spMkLst>
        </pc:spChg>
        <pc:spChg chg="add mod">
          <ac:chgData name="Lia Taylor" userId="2ccad05f-5017-4e2b-87e4-bbc6d22f4e64" providerId="ADAL" clId="{F700537D-3675-41CA-A525-EB2E79DB2D9A}" dt="2018-12-11T21:58:05.596" v="5293" actId="1076"/>
          <ac:spMkLst>
            <pc:docMk/>
            <pc:sldMk cId="2426778853" sldId="8291"/>
            <ac:spMk id="109" creationId="{CE83B686-DCD2-4D11-8087-04EDD19BD737}"/>
          </ac:spMkLst>
        </pc:spChg>
        <pc:spChg chg="add mod">
          <ac:chgData name="Lia Taylor" userId="2ccad05f-5017-4e2b-87e4-bbc6d22f4e64" providerId="ADAL" clId="{F700537D-3675-41CA-A525-EB2E79DB2D9A}" dt="2018-12-11T21:58:05.596" v="5293" actId="1076"/>
          <ac:spMkLst>
            <pc:docMk/>
            <pc:sldMk cId="2426778853" sldId="8291"/>
            <ac:spMk id="110" creationId="{5348C533-EB38-4396-80C1-E6B2A66ADC9B}"/>
          </ac:spMkLst>
        </pc:spChg>
        <pc:spChg chg="del">
          <ac:chgData name="Lia Taylor" userId="2ccad05f-5017-4e2b-87e4-bbc6d22f4e64" providerId="ADAL" clId="{F700537D-3675-41CA-A525-EB2E79DB2D9A}" dt="2018-12-11T21:56:58.912" v="5279"/>
          <ac:spMkLst>
            <pc:docMk/>
            <pc:sldMk cId="2426778853" sldId="8291"/>
            <ac:spMk id="111" creationId="{28F950B3-0E17-4918-B92A-CF8E159CC60A}"/>
          </ac:spMkLst>
        </pc:spChg>
        <pc:spChg chg="add mod">
          <ac:chgData name="Lia Taylor" userId="2ccad05f-5017-4e2b-87e4-bbc6d22f4e64" providerId="ADAL" clId="{F700537D-3675-41CA-A525-EB2E79DB2D9A}" dt="2018-12-11T21:58:05.596" v="5293" actId="1076"/>
          <ac:spMkLst>
            <pc:docMk/>
            <pc:sldMk cId="2426778853" sldId="8291"/>
            <ac:spMk id="112" creationId="{2BC1E166-6895-4EB7-BAD3-F30735958FAB}"/>
          </ac:spMkLst>
        </pc:spChg>
        <pc:spChg chg="add mod">
          <ac:chgData name="Lia Taylor" userId="2ccad05f-5017-4e2b-87e4-bbc6d22f4e64" providerId="ADAL" clId="{F700537D-3675-41CA-A525-EB2E79DB2D9A}" dt="2018-12-11T21:58:05.596" v="5293" actId="1076"/>
          <ac:spMkLst>
            <pc:docMk/>
            <pc:sldMk cId="2426778853" sldId="8291"/>
            <ac:spMk id="115" creationId="{B64F49D3-5E89-445D-A456-4F78A962940C}"/>
          </ac:spMkLst>
        </pc:spChg>
        <pc:spChg chg="add mod">
          <ac:chgData name="Lia Taylor" userId="2ccad05f-5017-4e2b-87e4-bbc6d22f4e64" providerId="ADAL" clId="{F700537D-3675-41CA-A525-EB2E79DB2D9A}" dt="2018-12-11T21:58:05.596" v="5293" actId="1076"/>
          <ac:spMkLst>
            <pc:docMk/>
            <pc:sldMk cId="2426778853" sldId="8291"/>
            <ac:spMk id="118" creationId="{8FE0CA1A-A052-42DE-8BE8-B1506DF7DC73}"/>
          </ac:spMkLst>
        </pc:spChg>
        <pc:spChg chg="add mod">
          <ac:chgData name="Lia Taylor" userId="2ccad05f-5017-4e2b-87e4-bbc6d22f4e64" providerId="ADAL" clId="{F700537D-3675-41CA-A525-EB2E79DB2D9A}" dt="2018-12-11T21:58:05.596" v="5293" actId="1076"/>
          <ac:spMkLst>
            <pc:docMk/>
            <pc:sldMk cId="2426778853" sldId="8291"/>
            <ac:spMk id="120" creationId="{41F93F8E-BF0C-4416-8A3E-87C912AEE23D}"/>
          </ac:spMkLst>
        </pc:spChg>
        <pc:spChg chg="del">
          <ac:chgData name="Lia Taylor" userId="2ccad05f-5017-4e2b-87e4-bbc6d22f4e64" providerId="ADAL" clId="{F700537D-3675-41CA-A525-EB2E79DB2D9A}" dt="2018-12-11T21:56:58.912" v="5279"/>
          <ac:spMkLst>
            <pc:docMk/>
            <pc:sldMk cId="2426778853" sldId="8291"/>
            <ac:spMk id="121" creationId="{DFD0BFF2-6542-4354-8344-C24FA08EDA01}"/>
          </ac:spMkLst>
        </pc:spChg>
        <pc:spChg chg="add mod">
          <ac:chgData name="Lia Taylor" userId="2ccad05f-5017-4e2b-87e4-bbc6d22f4e64" providerId="ADAL" clId="{F700537D-3675-41CA-A525-EB2E79DB2D9A}" dt="2018-12-11T21:58:05.596" v="5293" actId="1076"/>
          <ac:spMkLst>
            <pc:docMk/>
            <pc:sldMk cId="2426778853" sldId="8291"/>
            <ac:spMk id="122" creationId="{75EFD844-D3CE-497C-B50A-DA39AF0BB180}"/>
          </ac:spMkLst>
        </pc:spChg>
        <pc:spChg chg="add mod">
          <ac:chgData name="Lia Taylor" userId="2ccad05f-5017-4e2b-87e4-bbc6d22f4e64" providerId="ADAL" clId="{F700537D-3675-41CA-A525-EB2E79DB2D9A}" dt="2018-12-11T21:58:05.596" v="5293" actId="1076"/>
          <ac:spMkLst>
            <pc:docMk/>
            <pc:sldMk cId="2426778853" sldId="8291"/>
            <ac:spMk id="124" creationId="{0696F72A-341F-4651-AF95-CC7BC52B2785}"/>
          </ac:spMkLst>
        </pc:spChg>
        <pc:spChg chg="add mod">
          <ac:chgData name="Lia Taylor" userId="2ccad05f-5017-4e2b-87e4-bbc6d22f4e64" providerId="ADAL" clId="{F700537D-3675-41CA-A525-EB2E79DB2D9A}" dt="2018-12-11T21:58:05.596" v="5293" actId="1076"/>
          <ac:spMkLst>
            <pc:docMk/>
            <pc:sldMk cId="2426778853" sldId="8291"/>
            <ac:spMk id="125" creationId="{4945BBC6-FD48-418E-8EB2-F2559A4F6BF0}"/>
          </ac:spMkLst>
        </pc:spChg>
        <pc:spChg chg="add mod">
          <ac:chgData name="Lia Taylor" userId="2ccad05f-5017-4e2b-87e4-bbc6d22f4e64" providerId="ADAL" clId="{F700537D-3675-41CA-A525-EB2E79DB2D9A}" dt="2018-12-11T21:58:05.596" v="5293" actId="1076"/>
          <ac:spMkLst>
            <pc:docMk/>
            <pc:sldMk cId="2426778853" sldId="8291"/>
            <ac:spMk id="126" creationId="{5C8F327F-53CE-4F7A-BE1C-E9C180AEDA7C}"/>
          </ac:spMkLst>
        </pc:spChg>
        <pc:spChg chg="add mod">
          <ac:chgData name="Lia Taylor" userId="2ccad05f-5017-4e2b-87e4-bbc6d22f4e64" providerId="ADAL" clId="{F700537D-3675-41CA-A525-EB2E79DB2D9A}" dt="2018-12-11T21:58:05.596" v="5293" actId="1076"/>
          <ac:spMkLst>
            <pc:docMk/>
            <pc:sldMk cId="2426778853" sldId="8291"/>
            <ac:spMk id="128" creationId="{D294C7ED-6B60-478F-8CB0-6C17C730CEED}"/>
          </ac:spMkLst>
        </pc:spChg>
        <pc:spChg chg="del">
          <ac:chgData name="Lia Taylor" userId="2ccad05f-5017-4e2b-87e4-bbc6d22f4e64" providerId="ADAL" clId="{F700537D-3675-41CA-A525-EB2E79DB2D9A}" dt="2018-12-11T21:56:58.912" v="5279"/>
          <ac:spMkLst>
            <pc:docMk/>
            <pc:sldMk cId="2426778853" sldId="8291"/>
            <ac:spMk id="129" creationId="{7B5FD233-7F52-4151-AC4F-D26B12C20ED8}"/>
          </ac:spMkLst>
        </pc:spChg>
        <pc:spChg chg="add mod">
          <ac:chgData name="Lia Taylor" userId="2ccad05f-5017-4e2b-87e4-bbc6d22f4e64" providerId="ADAL" clId="{F700537D-3675-41CA-A525-EB2E79DB2D9A}" dt="2018-12-11T21:58:05.596" v="5293" actId="1076"/>
          <ac:spMkLst>
            <pc:docMk/>
            <pc:sldMk cId="2426778853" sldId="8291"/>
            <ac:spMk id="131" creationId="{681B47B3-73EC-40C4-A453-3C9DAA2ED32B}"/>
          </ac:spMkLst>
        </pc:spChg>
        <pc:spChg chg="del">
          <ac:chgData name="Lia Taylor" userId="2ccad05f-5017-4e2b-87e4-bbc6d22f4e64" providerId="ADAL" clId="{F700537D-3675-41CA-A525-EB2E79DB2D9A}" dt="2018-12-11T21:56:58.912" v="5279"/>
          <ac:spMkLst>
            <pc:docMk/>
            <pc:sldMk cId="2426778853" sldId="8291"/>
            <ac:spMk id="132" creationId="{6A12D6B3-EBB4-4CE5-B887-45E02477B39B}"/>
          </ac:spMkLst>
        </pc:spChg>
        <pc:spChg chg="add mod">
          <ac:chgData name="Lia Taylor" userId="2ccad05f-5017-4e2b-87e4-bbc6d22f4e64" providerId="ADAL" clId="{F700537D-3675-41CA-A525-EB2E79DB2D9A}" dt="2018-12-11T21:58:05.596" v="5293" actId="1076"/>
          <ac:spMkLst>
            <pc:docMk/>
            <pc:sldMk cId="2426778853" sldId="8291"/>
            <ac:spMk id="133" creationId="{D085D9EF-4889-4C9E-8608-3505166D7123}"/>
          </ac:spMkLst>
        </pc:spChg>
        <pc:spChg chg="del">
          <ac:chgData name="Lia Taylor" userId="2ccad05f-5017-4e2b-87e4-bbc6d22f4e64" providerId="ADAL" clId="{F700537D-3675-41CA-A525-EB2E79DB2D9A}" dt="2018-12-11T21:56:58.912" v="5279"/>
          <ac:spMkLst>
            <pc:docMk/>
            <pc:sldMk cId="2426778853" sldId="8291"/>
            <ac:spMk id="134" creationId="{DC4D3768-8551-4B9E-9183-69340646E379}"/>
          </ac:spMkLst>
        </pc:spChg>
        <pc:spChg chg="add mod">
          <ac:chgData name="Lia Taylor" userId="2ccad05f-5017-4e2b-87e4-bbc6d22f4e64" providerId="ADAL" clId="{F700537D-3675-41CA-A525-EB2E79DB2D9A}" dt="2018-12-11T21:58:05.596" v="5293" actId="1076"/>
          <ac:spMkLst>
            <pc:docMk/>
            <pc:sldMk cId="2426778853" sldId="8291"/>
            <ac:spMk id="135" creationId="{8704D477-F4D4-4CC3-AA06-F266E0BD3C9E}"/>
          </ac:spMkLst>
        </pc:spChg>
        <pc:spChg chg="add mod">
          <ac:chgData name="Lia Taylor" userId="2ccad05f-5017-4e2b-87e4-bbc6d22f4e64" providerId="ADAL" clId="{F700537D-3675-41CA-A525-EB2E79DB2D9A}" dt="2018-12-11T21:58:05.596" v="5293" actId="1076"/>
          <ac:spMkLst>
            <pc:docMk/>
            <pc:sldMk cId="2426778853" sldId="8291"/>
            <ac:spMk id="136" creationId="{DA2E8500-721B-47EC-BF5C-F12F275F497F}"/>
          </ac:spMkLst>
        </pc:spChg>
        <pc:spChg chg="add mod">
          <ac:chgData name="Lia Taylor" userId="2ccad05f-5017-4e2b-87e4-bbc6d22f4e64" providerId="ADAL" clId="{F700537D-3675-41CA-A525-EB2E79DB2D9A}" dt="2018-12-11T21:58:05.596" v="5293" actId="1076"/>
          <ac:spMkLst>
            <pc:docMk/>
            <pc:sldMk cId="2426778853" sldId="8291"/>
            <ac:spMk id="137" creationId="{34B44095-8425-4401-A2CC-E4BC496D4F4A}"/>
          </ac:spMkLst>
        </pc:spChg>
        <pc:spChg chg="del">
          <ac:chgData name="Lia Taylor" userId="2ccad05f-5017-4e2b-87e4-bbc6d22f4e64" providerId="ADAL" clId="{F700537D-3675-41CA-A525-EB2E79DB2D9A}" dt="2018-12-11T21:56:58.912" v="5279"/>
          <ac:spMkLst>
            <pc:docMk/>
            <pc:sldMk cId="2426778853" sldId="8291"/>
            <ac:spMk id="138" creationId="{8A5DBAAB-F74B-4CEE-B16F-939DF6438222}"/>
          </ac:spMkLst>
        </pc:spChg>
        <pc:spChg chg="add mod">
          <ac:chgData name="Lia Taylor" userId="2ccad05f-5017-4e2b-87e4-bbc6d22f4e64" providerId="ADAL" clId="{F700537D-3675-41CA-A525-EB2E79DB2D9A}" dt="2018-12-11T21:58:05.596" v="5293" actId="1076"/>
          <ac:spMkLst>
            <pc:docMk/>
            <pc:sldMk cId="2426778853" sldId="8291"/>
            <ac:spMk id="165" creationId="{CA8FEEE8-4DEE-46E9-A867-A28314B5B099}"/>
          </ac:spMkLst>
        </pc:spChg>
        <pc:spChg chg="add mod">
          <ac:chgData name="Lia Taylor" userId="2ccad05f-5017-4e2b-87e4-bbc6d22f4e64" providerId="ADAL" clId="{F700537D-3675-41CA-A525-EB2E79DB2D9A}" dt="2018-12-11T21:58:05.596" v="5293" actId="1076"/>
          <ac:spMkLst>
            <pc:docMk/>
            <pc:sldMk cId="2426778853" sldId="8291"/>
            <ac:spMk id="168" creationId="{7351C090-05E0-45CF-96E6-E9C356275CAF}"/>
          </ac:spMkLst>
        </pc:spChg>
        <pc:spChg chg="add mod">
          <ac:chgData name="Lia Taylor" userId="2ccad05f-5017-4e2b-87e4-bbc6d22f4e64" providerId="ADAL" clId="{F700537D-3675-41CA-A525-EB2E79DB2D9A}" dt="2018-12-11T21:58:05.596" v="5293" actId="1076"/>
          <ac:spMkLst>
            <pc:docMk/>
            <pc:sldMk cId="2426778853" sldId="8291"/>
            <ac:spMk id="192" creationId="{2BE783B8-B0C0-46B6-B29C-F72EF6DA230A}"/>
          </ac:spMkLst>
        </pc:spChg>
        <pc:spChg chg="add mod">
          <ac:chgData name="Lia Taylor" userId="2ccad05f-5017-4e2b-87e4-bbc6d22f4e64" providerId="ADAL" clId="{F700537D-3675-41CA-A525-EB2E79DB2D9A}" dt="2018-12-11T21:58:05.596" v="5293" actId="1076"/>
          <ac:spMkLst>
            <pc:docMk/>
            <pc:sldMk cId="2426778853" sldId="8291"/>
            <ac:spMk id="222" creationId="{B74AD2D6-D7FA-4256-A08D-54B59A9EC26A}"/>
          </ac:spMkLst>
        </pc:spChg>
        <pc:spChg chg="add mod">
          <ac:chgData name="Lia Taylor" userId="2ccad05f-5017-4e2b-87e4-bbc6d22f4e64" providerId="ADAL" clId="{F700537D-3675-41CA-A525-EB2E79DB2D9A}" dt="2018-12-11T21:58:05.596" v="5293" actId="1076"/>
          <ac:spMkLst>
            <pc:docMk/>
            <pc:sldMk cId="2426778853" sldId="8291"/>
            <ac:spMk id="223" creationId="{B56BE372-9CE0-49A8-B4FD-94AE78681A04}"/>
          </ac:spMkLst>
        </pc:spChg>
        <pc:spChg chg="add mod">
          <ac:chgData name="Lia Taylor" userId="2ccad05f-5017-4e2b-87e4-bbc6d22f4e64" providerId="ADAL" clId="{F700537D-3675-41CA-A525-EB2E79DB2D9A}" dt="2018-12-11T21:58:05.596" v="5293" actId="1076"/>
          <ac:spMkLst>
            <pc:docMk/>
            <pc:sldMk cId="2426778853" sldId="8291"/>
            <ac:spMk id="224" creationId="{5AB9D794-3F35-491D-B830-613FC8BCE030}"/>
          </ac:spMkLst>
        </pc:spChg>
        <pc:spChg chg="add mod">
          <ac:chgData name="Lia Taylor" userId="2ccad05f-5017-4e2b-87e4-bbc6d22f4e64" providerId="ADAL" clId="{F700537D-3675-41CA-A525-EB2E79DB2D9A}" dt="2018-12-11T21:58:05.596" v="5293" actId="1076"/>
          <ac:spMkLst>
            <pc:docMk/>
            <pc:sldMk cId="2426778853" sldId="8291"/>
            <ac:spMk id="225" creationId="{AE5DC167-D65B-4FEA-B7DA-0E010B3783E2}"/>
          </ac:spMkLst>
        </pc:spChg>
        <pc:spChg chg="add mod">
          <ac:chgData name="Lia Taylor" userId="2ccad05f-5017-4e2b-87e4-bbc6d22f4e64" providerId="ADAL" clId="{F700537D-3675-41CA-A525-EB2E79DB2D9A}" dt="2018-12-11T21:58:05.596" v="5293" actId="1076"/>
          <ac:spMkLst>
            <pc:docMk/>
            <pc:sldMk cId="2426778853" sldId="8291"/>
            <ac:spMk id="226" creationId="{5761232F-A965-44DA-8AE2-F6078BEFF200}"/>
          </ac:spMkLst>
        </pc:spChg>
        <pc:grpChg chg="del">
          <ac:chgData name="Lia Taylor" userId="2ccad05f-5017-4e2b-87e4-bbc6d22f4e64" providerId="ADAL" clId="{F700537D-3675-41CA-A525-EB2E79DB2D9A}" dt="2018-12-11T21:56:58.912" v="5279"/>
          <ac:grpSpMkLst>
            <pc:docMk/>
            <pc:sldMk cId="2426778853" sldId="8291"/>
            <ac:grpSpMk id="4" creationId="{585CDC6F-1CAB-4C84-89AD-D769379745CA}"/>
          </ac:grpSpMkLst>
        </pc:grpChg>
        <pc:grpChg chg="del">
          <ac:chgData name="Lia Taylor" userId="2ccad05f-5017-4e2b-87e4-bbc6d22f4e64" providerId="ADAL" clId="{F700537D-3675-41CA-A525-EB2E79DB2D9A}" dt="2018-12-11T21:56:58.912" v="5279"/>
          <ac:grpSpMkLst>
            <pc:docMk/>
            <pc:sldMk cId="2426778853" sldId="8291"/>
            <ac:grpSpMk id="13" creationId="{6A7C506E-0290-4C82-BC48-CC52F03AC72F}"/>
          </ac:grpSpMkLst>
        </pc:grpChg>
        <pc:grpChg chg="del">
          <ac:chgData name="Lia Taylor" userId="2ccad05f-5017-4e2b-87e4-bbc6d22f4e64" providerId="ADAL" clId="{F700537D-3675-41CA-A525-EB2E79DB2D9A}" dt="2018-12-11T21:56:58.912" v="5279"/>
          <ac:grpSpMkLst>
            <pc:docMk/>
            <pc:sldMk cId="2426778853" sldId="8291"/>
            <ac:grpSpMk id="94" creationId="{781FC65C-342F-4E06-8C28-6FA7AA1EE720}"/>
          </ac:grpSpMkLst>
        </pc:grpChg>
        <pc:grpChg chg="del">
          <ac:chgData name="Lia Taylor" userId="2ccad05f-5017-4e2b-87e4-bbc6d22f4e64" providerId="ADAL" clId="{F700537D-3675-41CA-A525-EB2E79DB2D9A}" dt="2018-12-11T21:56:58.912" v="5279"/>
          <ac:grpSpMkLst>
            <pc:docMk/>
            <pc:sldMk cId="2426778853" sldId="8291"/>
            <ac:grpSpMk id="98" creationId="{67C8C217-28A5-4967-8782-06D6611433A5}"/>
          </ac:grpSpMkLst>
        </pc:grpChg>
        <pc:grpChg chg="del">
          <ac:chgData name="Lia Taylor" userId="2ccad05f-5017-4e2b-87e4-bbc6d22f4e64" providerId="ADAL" clId="{F700537D-3675-41CA-A525-EB2E79DB2D9A}" dt="2018-12-11T21:56:58.912" v="5279"/>
          <ac:grpSpMkLst>
            <pc:docMk/>
            <pc:sldMk cId="2426778853" sldId="8291"/>
            <ac:grpSpMk id="139" creationId="{3AF8C067-F0C5-4332-AB1E-81097FF7F91D}"/>
          </ac:grpSpMkLst>
        </pc:grpChg>
        <pc:grpChg chg="del">
          <ac:chgData name="Lia Taylor" userId="2ccad05f-5017-4e2b-87e4-bbc6d22f4e64" providerId="ADAL" clId="{F700537D-3675-41CA-A525-EB2E79DB2D9A}" dt="2018-12-11T21:56:58.912" v="5279"/>
          <ac:grpSpMkLst>
            <pc:docMk/>
            <pc:sldMk cId="2426778853" sldId="8291"/>
            <ac:grpSpMk id="147" creationId="{4BECDE66-0285-44E2-A1D0-DE51F8E0CCE1}"/>
          </ac:grpSpMkLst>
        </pc:grpChg>
        <pc:grpChg chg="del">
          <ac:chgData name="Lia Taylor" userId="2ccad05f-5017-4e2b-87e4-bbc6d22f4e64" providerId="ADAL" clId="{F700537D-3675-41CA-A525-EB2E79DB2D9A}" dt="2018-12-11T21:56:58.912" v="5279"/>
          <ac:grpSpMkLst>
            <pc:docMk/>
            <pc:sldMk cId="2426778853" sldId="8291"/>
            <ac:grpSpMk id="154" creationId="{402DE1CD-E93E-400C-A27D-D0DAFB032428}"/>
          </ac:grpSpMkLst>
        </pc:grpChg>
        <pc:grpChg chg="del">
          <ac:chgData name="Lia Taylor" userId="2ccad05f-5017-4e2b-87e4-bbc6d22f4e64" providerId="ADAL" clId="{F700537D-3675-41CA-A525-EB2E79DB2D9A}" dt="2018-12-11T21:56:58.912" v="5279"/>
          <ac:grpSpMkLst>
            <pc:docMk/>
            <pc:sldMk cId="2426778853" sldId="8291"/>
            <ac:grpSpMk id="161" creationId="{9E9945EB-6D29-469D-9388-AB7941AE7F75}"/>
          </ac:grpSpMkLst>
        </pc:grpChg>
        <pc:grpChg chg="del">
          <ac:chgData name="Lia Taylor" userId="2ccad05f-5017-4e2b-87e4-bbc6d22f4e64" providerId="ADAL" clId="{F700537D-3675-41CA-A525-EB2E79DB2D9A}" dt="2018-12-11T21:56:58.912" v="5279"/>
          <ac:grpSpMkLst>
            <pc:docMk/>
            <pc:sldMk cId="2426778853" sldId="8291"/>
            <ac:grpSpMk id="164" creationId="{338DFC20-3BDF-4A31-91F2-3A42EA5E5563}"/>
          </ac:grpSpMkLst>
        </pc:grpChg>
        <pc:grpChg chg="add mod">
          <ac:chgData name="Lia Taylor" userId="2ccad05f-5017-4e2b-87e4-bbc6d22f4e64" providerId="ADAL" clId="{F700537D-3675-41CA-A525-EB2E79DB2D9A}" dt="2018-12-11T21:58:05.596" v="5293" actId="1076"/>
          <ac:grpSpMkLst>
            <pc:docMk/>
            <pc:sldMk cId="2426778853" sldId="8291"/>
            <ac:grpSpMk id="169" creationId="{A361CC28-7DAF-45EA-9E6F-CD0EF8122C6B}"/>
          </ac:grpSpMkLst>
        </pc:grpChg>
        <pc:grpChg chg="add mod">
          <ac:chgData name="Lia Taylor" userId="2ccad05f-5017-4e2b-87e4-bbc6d22f4e64" providerId="ADAL" clId="{F700537D-3675-41CA-A525-EB2E79DB2D9A}" dt="2018-12-11T21:58:05.596" v="5293" actId="1076"/>
          <ac:grpSpMkLst>
            <pc:docMk/>
            <pc:sldMk cId="2426778853" sldId="8291"/>
            <ac:grpSpMk id="179" creationId="{533A0250-1572-4899-852C-904354FE9F40}"/>
          </ac:grpSpMkLst>
        </pc:grpChg>
        <pc:grpChg chg="add mod">
          <ac:chgData name="Lia Taylor" userId="2ccad05f-5017-4e2b-87e4-bbc6d22f4e64" providerId="ADAL" clId="{F700537D-3675-41CA-A525-EB2E79DB2D9A}" dt="2018-12-11T21:58:05.596" v="5293" actId="1076"/>
          <ac:grpSpMkLst>
            <pc:docMk/>
            <pc:sldMk cId="2426778853" sldId="8291"/>
            <ac:grpSpMk id="183" creationId="{BB61AE3A-5C33-4072-939A-9B2B24A0094F}"/>
          </ac:grpSpMkLst>
        </pc:grpChg>
        <pc:grpChg chg="add mod">
          <ac:chgData name="Lia Taylor" userId="2ccad05f-5017-4e2b-87e4-bbc6d22f4e64" providerId="ADAL" clId="{F700537D-3675-41CA-A525-EB2E79DB2D9A}" dt="2018-12-11T21:58:05.596" v="5293" actId="1076"/>
          <ac:grpSpMkLst>
            <pc:docMk/>
            <pc:sldMk cId="2426778853" sldId="8291"/>
            <ac:grpSpMk id="189" creationId="{BA46C70A-A871-4589-A38D-3568822BB932}"/>
          </ac:grpSpMkLst>
        </pc:grpChg>
        <pc:grpChg chg="add mod">
          <ac:chgData name="Lia Taylor" userId="2ccad05f-5017-4e2b-87e4-bbc6d22f4e64" providerId="ADAL" clId="{F700537D-3675-41CA-A525-EB2E79DB2D9A}" dt="2018-12-11T21:58:05.596" v="5293" actId="1076"/>
          <ac:grpSpMkLst>
            <pc:docMk/>
            <pc:sldMk cId="2426778853" sldId="8291"/>
            <ac:grpSpMk id="193" creationId="{57DDBAB0-8477-4693-AA04-8F51363F87DE}"/>
          </ac:grpSpMkLst>
        </pc:grpChg>
        <pc:grpChg chg="add mod">
          <ac:chgData name="Lia Taylor" userId="2ccad05f-5017-4e2b-87e4-bbc6d22f4e64" providerId="ADAL" clId="{F700537D-3675-41CA-A525-EB2E79DB2D9A}" dt="2018-12-11T21:58:05.596" v="5293" actId="1076"/>
          <ac:grpSpMkLst>
            <pc:docMk/>
            <pc:sldMk cId="2426778853" sldId="8291"/>
            <ac:grpSpMk id="201" creationId="{35E557DD-B99A-4315-BD97-5F2C61173F91}"/>
          </ac:grpSpMkLst>
        </pc:grpChg>
        <pc:grpChg chg="add mod">
          <ac:chgData name="Lia Taylor" userId="2ccad05f-5017-4e2b-87e4-bbc6d22f4e64" providerId="ADAL" clId="{F700537D-3675-41CA-A525-EB2E79DB2D9A}" dt="2018-12-11T21:58:05.596" v="5293" actId="1076"/>
          <ac:grpSpMkLst>
            <pc:docMk/>
            <pc:sldMk cId="2426778853" sldId="8291"/>
            <ac:grpSpMk id="208" creationId="{CA0BCA5D-5AFD-4901-8E4C-F5429710BB4B}"/>
          </ac:grpSpMkLst>
        </pc:grpChg>
        <pc:grpChg chg="add mod">
          <ac:chgData name="Lia Taylor" userId="2ccad05f-5017-4e2b-87e4-bbc6d22f4e64" providerId="ADAL" clId="{F700537D-3675-41CA-A525-EB2E79DB2D9A}" dt="2018-12-11T21:58:05.596" v="5293" actId="1076"/>
          <ac:grpSpMkLst>
            <pc:docMk/>
            <pc:sldMk cId="2426778853" sldId="8291"/>
            <ac:grpSpMk id="215" creationId="{E1275A6F-DAD6-4443-B903-F5C43A009555}"/>
          </ac:grpSpMkLst>
        </pc:grpChg>
        <pc:grpChg chg="add mod">
          <ac:chgData name="Lia Taylor" userId="2ccad05f-5017-4e2b-87e4-bbc6d22f4e64" providerId="ADAL" clId="{F700537D-3675-41CA-A525-EB2E79DB2D9A}" dt="2018-12-11T21:58:05.596" v="5293" actId="1076"/>
          <ac:grpSpMkLst>
            <pc:docMk/>
            <pc:sldMk cId="2426778853" sldId="8291"/>
            <ac:grpSpMk id="218" creationId="{DAD17299-B137-475E-8D72-7336F5191ABB}"/>
          </ac:grpSpMkLst>
        </pc:grpChg>
        <pc:cxnChg chg="del">
          <ac:chgData name="Lia Taylor" userId="2ccad05f-5017-4e2b-87e4-bbc6d22f4e64" providerId="ADAL" clId="{F700537D-3675-41CA-A525-EB2E79DB2D9A}" dt="2018-12-11T21:56:58.912" v="5279"/>
          <ac:cxnSpMkLst>
            <pc:docMk/>
            <pc:sldMk cId="2426778853" sldId="8291"/>
            <ac:cxnSpMk id="5" creationId="{8CC805F9-217A-4C1E-B23E-CE15E771FE06}"/>
          </ac:cxnSpMkLst>
        </pc:cxnChg>
        <pc:cxnChg chg="del">
          <ac:chgData name="Lia Taylor" userId="2ccad05f-5017-4e2b-87e4-bbc6d22f4e64" providerId="ADAL" clId="{F700537D-3675-41CA-A525-EB2E79DB2D9A}" dt="2018-12-11T21:56:58.912" v="5279"/>
          <ac:cxnSpMkLst>
            <pc:docMk/>
            <pc:sldMk cId="2426778853" sldId="8291"/>
            <ac:cxnSpMk id="89" creationId="{61030A30-7FA0-463C-8C20-59E2F8756804}"/>
          </ac:cxnSpMkLst>
        </pc:cxnChg>
        <pc:cxnChg chg="del">
          <ac:chgData name="Lia Taylor" userId="2ccad05f-5017-4e2b-87e4-bbc6d22f4e64" providerId="ADAL" clId="{F700537D-3675-41CA-A525-EB2E79DB2D9A}" dt="2018-12-11T21:56:58.912" v="5279"/>
          <ac:cxnSpMkLst>
            <pc:docMk/>
            <pc:sldMk cId="2426778853" sldId="8291"/>
            <ac:cxnSpMk id="103" creationId="{86634241-5E7F-4295-884A-6474B7FF17DE}"/>
          </ac:cxnSpMkLst>
        </pc:cxnChg>
        <pc:cxnChg chg="add mod">
          <ac:chgData name="Lia Taylor" userId="2ccad05f-5017-4e2b-87e4-bbc6d22f4e64" providerId="ADAL" clId="{F700537D-3675-41CA-A525-EB2E79DB2D9A}" dt="2018-12-11T21:58:05.596" v="5293" actId="1076"/>
          <ac:cxnSpMkLst>
            <pc:docMk/>
            <pc:sldMk cId="2426778853" sldId="8291"/>
            <ac:cxnSpMk id="113" creationId="{AFAC78B9-DD39-4230-94F2-8D288784E472}"/>
          </ac:cxnSpMkLst>
        </pc:cxnChg>
        <pc:cxnChg chg="del">
          <ac:chgData name="Lia Taylor" userId="2ccad05f-5017-4e2b-87e4-bbc6d22f4e64" providerId="ADAL" clId="{F700537D-3675-41CA-A525-EB2E79DB2D9A}" dt="2018-12-11T21:56:58.912" v="5279"/>
          <ac:cxnSpMkLst>
            <pc:docMk/>
            <pc:sldMk cId="2426778853" sldId="8291"/>
            <ac:cxnSpMk id="114" creationId="{1813DF08-120B-4FEA-B233-E002F0F581F4}"/>
          </ac:cxnSpMkLst>
        </pc:cxnChg>
        <pc:cxnChg chg="add mod">
          <ac:chgData name="Lia Taylor" userId="2ccad05f-5017-4e2b-87e4-bbc6d22f4e64" providerId="ADAL" clId="{F700537D-3675-41CA-A525-EB2E79DB2D9A}" dt="2018-12-11T21:58:05.596" v="5293" actId="1076"/>
          <ac:cxnSpMkLst>
            <pc:docMk/>
            <pc:sldMk cId="2426778853" sldId="8291"/>
            <ac:cxnSpMk id="116" creationId="{8208F574-69BE-42B1-88C5-3EB77E7CAF67}"/>
          </ac:cxnSpMkLst>
        </pc:cxnChg>
        <pc:cxnChg chg="add mod">
          <ac:chgData name="Lia Taylor" userId="2ccad05f-5017-4e2b-87e4-bbc6d22f4e64" providerId="ADAL" clId="{F700537D-3675-41CA-A525-EB2E79DB2D9A}" dt="2018-12-11T21:58:05.596" v="5293" actId="1076"/>
          <ac:cxnSpMkLst>
            <pc:docMk/>
            <pc:sldMk cId="2426778853" sldId="8291"/>
            <ac:cxnSpMk id="117" creationId="{9D99E441-F0C1-4B9F-85FA-8F4E72049B48}"/>
          </ac:cxnSpMkLst>
        </pc:cxnChg>
        <pc:cxnChg chg="add mod">
          <ac:chgData name="Lia Taylor" userId="2ccad05f-5017-4e2b-87e4-bbc6d22f4e64" providerId="ADAL" clId="{F700537D-3675-41CA-A525-EB2E79DB2D9A}" dt="2018-12-11T21:58:05.596" v="5293" actId="1076"/>
          <ac:cxnSpMkLst>
            <pc:docMk/>
            <pc:sldMk cId="2426778853" sldId="8291"/>
            <ac:cxnSpMk id="119" creationId="{9011AA78-7DA8-45DF-92DA-C296BA1A1864}"/>
          </ac:cxnSpMkLst>
        </pc:cxnChg>
        <pc:cxnChg chg="del">
          <ac:chgData name="Lia Taylor" userId="2ccad05f-5017-4e2b-87e4-bbc6d22f4e64" providerId="ADAL" clId="{F700537D-3675-41CA-A525-EB2E79DB2D9A}" dt="2018-12-11T21:56:58.912" v="5279"/>
          <ac:cxnSpMkLst>
            <pc:docMk/>
            <pc:sldMk cId="2426778853" sldId="8291"/>
            <ac:cxnSpMk id="123" creationId="{0CEDA18E-4DA6-40D6-8447-195C0616DB94}"/>
          </ac:cxnSpMkLst>
        </pc:cxnChg>
        <pc:cxnChg chg="del">
          <ac:chgData name="Lia Taylor" userId="2ccad05f-5017-4e2b-87e4-bbc6d22f4e64" providerId="ADAL" clId="{F700537D-3675-41CA-A525-EB2E79DB2D9A}" dt="2018-12-11T21:56:58.912" v="5279"/>
          <ac:cxnSpMkLst>
            <pc:docMk/>
            <pc:sldMk cId="2426778853" sldId="8291"/>
            <ac:cxnSpMk id="127" creationId="{F75B1065-93B0-43C4-96F1-1CE9A051A35E}"/>
          </ac:cxnSpMkLst>
        </pc:cxnChg>
        <pc:cxnChg chg="del">
          <ac:chgData name="Lia Taylor" userId="2ccad05f-5017-4e2b-87e4-bbc6d22f4e64" providerId="ADAL" clId="{F700537D-3675-41CA-A525-EB2E79DB2D9A}" dt="2018-12-11T21:56:58.912" v="5279"/>
          <ac:cxnSpMkLst>
            <pc:docMk/>
            <pc:sldMk cId="2426778853" sldId="8291"/>
            <ac:cxnSpMk id="130" creationId="{330EABE2-5522-4D5E-8818-1CA4E15BE2D2}"/>
          </ac:cxnSpMkLst>
        </pc:cxnChg>
        <pc:cxnChg chg="add mod">
          <ac:chgData name="Lia Taylor" userId="2ccad05f-5017-4e2b-87e4-bbc6d22f4e64" providerId="ADAL" clId="{F700537D-3675-41CA-A525-EB2E79DB2D9A}" dt="2018-12-11T21:58:05.596" v="5293" actId="1076"/>
          <ac:cxnSpMkLst>
            <pc:docMk/>
            <pc:sldMk cId="2426778853" sldId="8291"/>
            <ac:cxnSpMk id="178" creationId="{2D65927C-EE66-4261-947F-BF510A06B4CC}"/>
          </ac:cxnSpMkLst>
        </pc:cxnChg>
        <pc:cxnChg chg="add mod">
          <ac:chgData name="Lia Taylor" userId="2ccad05f-5017-4e2b-87e4-bbc6d22f4e64" providerId="ADAL" clId="{F700537D-3675-41CA-A525-EB2E79DB2D9A}" dt="2018-12-11T21:58:05.596" v="5293" actId="1076"/>
          <ac:cxnSpMkLst>
            <pc:docMk/>
            <pc:sldMk cId="2426778853" sldId="8291"/>
            <ac:cxnSpMk id="188" creationId="{782DCB74-91BA-460F-8E0F-C1D489506630}"/>
          </ac:cxnSpMkLst>
        </pc:cxnChg>
        <pc:cxnChg chg="add mod">
          <ac:chgData name="Lia Taylor" userId="2ccad05f-5017-4e2b-87e4-bbc6d22f4e64" providerId="ADAL" clId="{F700537D-3675-41CA-A525-EB2E79DB2D9A}" dt="2018-12-11T21:58:05.596" v="5293" actId="1076"/>
          <ac:cxnSpMkLst>
            <pc:docMk/>
            <pc:sldMk cId="2426778853" sldId="8291"/>
            <ac:cxnSpMk id="221" creationId="{AC39FD5A-BB8D-4873-9869-94EADC34941E}"/>
          </ac:cxnSpMkLst>
        </pc:cxnChg>
      </pc:sldChg>
      <pc:sldChg chg="delSp modSp add">
        <pc:chgData name="Lia Taylor" userId="2ccad05f-5017-4e2b-87e4-bbc6d22f4e64" providerId="ADAL" clId="{F700537D-3675-41CA-A525-EB2E79DB2D9A}" dt="2018-12-12T03:40:22.900" v="6413" actId="404"/>
        <pc:sldMkLst>
          <pc:docMk/>
          <pc:sldMk cId="3294012882" sldId="8291"/>
        </pc:sldMkLst>
        <pc:spChg chg="mod">
          <ac:chgData name="Lia Taylor" userId="2ccad05f-5017-4e2b-87e4-bbc6d22f4e64" providerId="ADAL" clId="{F700537D-3675-41CA-A525-EB2E79DB2D9A}" dt="2018-12-12T03:40:22.900" v="6413" actId="404"/>
          <ac:spMkLst>
            <pc:docMk/>
            <pc:sldMk cId="3294012882" sldId="8291"/>
            <ac:spMk id="8" creationId="{D80A8C82-7FB5-4500-A7CF-D522289183CF}"/>
          </ac:spMkLst>
        </pc:spChg>
        <pc:spChg chg="mod">
          <ac:chgData name="Lia Taylor" userId="2ccad05f-5017-4e2b-87e4-bbc6d22f4e64" providerId="ADAL" clId="{F700537D-3675-41CA-A525-EB2E79DB2D9A}" dt="2018-12-12T03:36:11.447" v="6251" actId="255"/>
          <ac:spMkLst>
            <pc:docMk/>
            <pc:sldMk cId="3294012882" sldId="8291"/>
            <ac:spMk id="9" creationId="{BF3D46F8-8C86-404A-B033-B6FAD1A9B432}"/>
          </ac:spMkLst>
        </pc:spChg>
        <pc:spChg chg="mod">
          <ac:chgData name="Lia Taylor" userId="2ccad05f-5017-4e2b-87e4-bbc6d22f4e64" providerId="ADAL" clId="{F700537D-3675-41CA-A525-EB2E79DB2D9A}" dt="2018-12-11T22:35:53.765" v="5906" actId="20577"/>
          <ac:spMkLst>
            <pc:docMk/>
            <pc:sldMk cId="3294012882" sldId="8291"/>
            <ac:spMk id="10" creationId="{42EA7D76-8687-45F3-AA8E-8E9147BA12C7}"/>
          </ac:spMkLst>
        </pc:spChg>
        <pc:spChg chg="mod">
          <ac:chgData name="Lia Taylor" userId="2ccad05f-5017-4e2b-87e4-bbc6d22f4e64" providerId="ADAL" clId="{F700537D-3675-41CA-A525-EB2E79DB2D9A}" dt="2018-12-11T22:35:48.197" v="5899" actId="113"/>
          <ac:spMkLst>
            <pc:docMk/>
            <pc:sldMk cId="3294012882" sldId="8291"/>
            <ac:spMk id="12" creationId="{C68CE6E5-9738-4B57-9567-0545B0EC830F}"/>
          </ac:spMkLst>
        </pc:spChg>
        <pc:grpChg chg="del">
          <ac:chgData name="Lia Taylor" userId="2ccad05f-5017-4e2b-87e4-bbc6d22f4e64" providerId="ADAL" clId="{F700537D-3675-41CA-A525-EB2E79DB2D9A}" dt="2018-12-11T22:36:49.775" v="5924" actId="478"/>
          <ac:grpSpMkLst>
            <pc:docMk/>
            <pc:sldMk cId="3294012882" sldId="8291"/>
            <ac:grpSpMk id="13" creationId="{FE8F0CF5-87FF-4535-BEE2-73B2B0C888CE}"/>
          </ac:grpSpMkLst>
        </pc:grpChg>
      </pc:sldChg>
      <pc:sldChg chg="delSp modSp add">
        <pc:chgData name="Lia Taylor" userId="2ccad05f-5017-4e2b-87e4-bbc6d22f4e64" providerId="ADAL" clId="{F700537D-3675-41CA-A525-EB2E79DB2D9A}" dt="2018-12-12T03:36:01.347" v="6250" actId="255"/>
        <pc:sldMkLst>
          <pc:docMk/>
          <pc:sldMk cId="3367958238" sldId="8292"/>
        </pc:sldMkLst>
        <pc:spChg chg="mod">
          <ac:chgData name="Lia Taylor" userId="2ccad05f-5017-4e2b-87e4-bbc6d22f4e64" providerId="ADAL" clId="{F700537D-3675-41CA-A525-EB2E79DB2D9A}" dt="2018-12-12T03:36:01.347" v="6250" actId="255"/>
          <ac:spMkLst>
            <pc:docMk/>
            <pc:sldMk cId="3367958238" sldId="8292"/>
            <ac:spMk id="8" creationId="{D80A8C82-7FB5-4500-A7CF-D522289183CF}"/>
          </ac:spMkLst>
        </pc:spChg>
        <pc:spChg chg="mod">
          <ac:chgData name="Lia Taylor" userId="2ccad05f-5017-4e2b-87e4-bbc6d22f4e64" providerId="ADAL" clId="{F700537D-3675-41CA-A525-EB2E79DB2D9A}" dt="2018-12-12T03:35:55.486" v="6249" actId="255"/>
          <ac:spMkLst>
            <pc:docMk/>
            <pc:sldMk cId="3367958238" sldId="8292"/>
            <ac:spMk id="9" creationId="{BF3D46F8-8C86-404A-B033-B6FAD1A9B432}"/>
          </ac:spMkLst>
        </pc:spChg>
        <pc:spChg chg="mod">
          <ac:chgData name="Lia Taylor" userId="2ccad05f-5017-4e2b-87e4-bbc6d22f4e64" providerId="ADAL" clId="{F700537D-3675-41CA-A525-EB2E79DB2D9A}" dt="2018-12-11T22:36:02.946" v="5914" actId="20577"/>
          <ac:spMkLst>
            <pc:docMk/>
            <pc:sldMk cId="3367958238" sldId="8292"/>
            <ac:spMk id="10" creationId="{42EA7D76-8687-45F3-AA8E-8E9147BA12C7}"/>
          </ac:spMkLst>
        </pc:spChg>
        <pc:grpChg chg="del">
          <ac:chgData name="Lia Taylor" userId="2ccad05f-5017-4e2b-87e4-bbc6d22f4e64" providerId="ADAL" clId="{F700537D-3675-41CA-A525-EB2E79DB2D9A}" dt="2018-12-11T22:37:12.515" v="5927" actId="478"/>
          <ac:grpSpMkLst>
            <pc:docMk/>
            <pc:sldMk cId="3367958238" sldId="8292"/>
            <ac:grpSpMk id="13" creationId="{FE8F0CF5-87FF-4535-BEE2-73B2B0C888CE}"/>
          </ac:grpSpMkLst>
        </pc:grpChg>
      </pc:sldChg>
      <pc:sldChg chg="delSp modSp add">
        <pc:chgData name="Lia Taylor" userId="2ccad05f-5017-4e2b-87e4-bbc6d22f4e64" providerId="ADAL" clId="{F700537D-3675-41CA-A525-EB2E79DB2D9A}" dt="2018-12-11T22:37:17.706" v="5928" actId="478"/>
        <pc:sldMkLst>
          <pc:docMk/>
          <pc:sldMk cId="3618142332" sldId="8293"/>
        </pc:sldMkLst>
        <pc:spChg chg="mod">
          <ac:chgData name="Lia Taylor" userId="2ccad05f-5017-4e2b-87e4-bbc6d22f4e64" providerId="ADAL" clId="{F700537D-3675-41CA-A525-EB2E79DB2D9A}" dt="2018-12-11T22:36:11.619" v="5923" actId="20577"/>
          <ac:spMkLst>
            <pc:docMk/>
            <pc:sldMk cId="3618142332" sldId="8293"/>
            <ac:spMk id="10" creationId="{42EA7D76-8687-45F3-AA8E-8E9147BA12C7}"/>
          </ac:spMkLst>
        </pc:spChg>
        <pc:grpChg chg="del">
          <ac:chgData name="Lia Taylor" userId="2ccad05f-5017-4e2b-87e4-bbc6d22f4e64" providerId="ADAL" clId="{F700537D-3675-41CA-A525-EB2E79DB2D9A}" dt="2018-12-11T22:37:17.706" v="5928" actId="478"/>
          <ac:grpSpMkLst>
            <pc:docMk/>
            <pc:sldMk cId="3618142332" sldId="8293"/>
            <ac:grpSpMk id="13" creationId="{FE8F0CF5-87FF-4535-BEE2-73B2B0C888CE}"/>
          </ac:grpSpMkLst>
        </pc:grpChg>
      </pc:sldChg>
      <pc:sldChg chg="modSp">
        <pc:chgData name="Lia Taylor" userId="2ccad05f-5017-4e2b-87e4-bbc6d22f4e64" providerId="ADAL" clId="{F700537D-3675-41CA-A525-EB2E79DB2D9A}" dt="2018-12-13T21:06:51.665" v="6731" actId="14100"/>
        <pc:sldMkLst>
          <pc:docMk/>
          <pc:sldMk cId="3629869271" sldId="8294"/>
        </pc:sldMkLst>
        <pc:spChg chg="mod">
          <ac:chgData name="Lia Taylor" userId="2ccad05f-5017-4e2b-87e4-bbc6d22f4e64" providerId="ADAL" clId="{F700537D-3675-41CA-A525-EB2E79DB2D9A}" dt="2018-12-13T21:06:29.693" v="6730" actId="14100"/>
          <ac:spMkLst>
            <pc:docMk/>
            <pc:sldMk cId="3629869271" sldId="8294"/>
            <ac:spMk id="8" creationId="{D80A8C82-7FB5-4500-A7CF-D522289183CF}"/>
          </ac:spMkLst>
        </pc:spChg>
        <pc:spChg chg="mod">
          <ac:chgData name="Lia Taylor" userId="2ccad05f-5017-4e2b-87e4-bbc6d22f4e64" providerId="ADAL" clId="{F700537D-3675-41CA-A525-EB2E79DB2D9A}" dt="2018-12-13T21:06:51.665" v="6731" actId="14100"/>
          <ac:spMkLst>
            <pc:docMk/>
            <pc:sldMk cId="3629869271" sldId="8294"/>
            <ac:spMk id="12" creationId="{C68CE6E5-9738-4B57-9567-0545B0EC830F}"/>
          </ac:spMkLst>
        </pc:spChg>
      </pc:sldChg>
      <pc:sldChg chg="add del">
        <pc:chgData name="Lia Taylor" userId="2ccad05f-5017-4e2b-87e4-bbc6d22f4e64" providerId="ADAL" clId="{F700537D-3675-41CA-A525-EB2E79DB2D9A}" dt="2018-12-12T23:36:35.061" v="6498"/>
        <pc:sldMkLst>
          <pc:docMk/>
          <pc:sldMk cId="76561207" sldId="8295"/>
        </pc:sldMkLst>
      </pc:sldChg>
      <pc:sldChg chg="add del">
        <pc:chgData name="Lia Taylor" userId="2ccad05f-5017-4e2b-87e4-bbc6d22f4e64" providerId="ADAL" clId="{F700537D-3675-41CA-A525-EB2E79DB2D9A}" dt="2018-12-12T23:37:03.548" v="6500"/>
        <pc:sldMkLst>
          <pc:docMk/>
          <pc:sldMk cId="2459068017" sldId="8295"/>
        </pc:sldMkLst>
      </pc:sldChg>
      <pc:sldChg chg="add del">
        <pc:chgData name="Lia Taylor" userId="2ccad05f-5017-4e2b-87e4-bbc6d22f4e64" providerId="ADAL" clId="{F700537D-3675-41CA-A525-EB2E79DB2D9A}" dt="2018-12-12T23:37:03.548" v="6500"/>
        <pc:sldMkLst>
          <pc:docMk/>
          <pc:sldMk cId="1292137276" sldId="8296"/>
        </pc:sldMkLst>
      </pc:sldChg>
      <pc:sldChg chg="add del">
        <pc:chgData name="Lia Taylor" userId="2ccad05f-5017-4e2b-87e4-bbc6d22f4e64" providerId="ADAL" clId="{F700537D-3675-41CA-A525-EB2E79DB2D9A}" dt="2018-12-12T23:36:35.061" v="6498"/>
        <pc:sldMkLst>
          <pc:docMk/>
          <pc:sldMk cId="2098410927" sldId="8296"/>
        </pc:sldMkLst>
      </pc:sldChg>
      <pc:sldChg chg="add del">
        <pc:chgData name="Lia Taylor" userId="2ccad05f-5017-4e2b-87e4-bbc6d22f4e64" providerId="ADAL" clId="{F700537D-3675-41CA-A525-EB2E79DB2D9A}" dt="2018-12-12T23:36:35.061" v="6498"/>
        <pc:sldMkLst>
          <pc:docMk/>
          <pc:sldMk cId="1426422198" sldId="8297"/>
        </pc:sldMkLst>
      </pc:sldChg>
      <pc:sldChg chg="add del">
        <pc:chgData name="Lia Taylor" userId="2ccad05f-5017-4e2b-87e4-bbc6d22f4e64" providerId="ADAL" clId="{F700537D-3675-41CA-A525-EB2E79DB2D9A}" dt="2018-12-12T23:37:03.548" v="6500"/>
        <pc:sldMkLst>
          <pc:docMk/>
          <pc:sldMk cId="2023652062" sldId="8297"/>
        </pc:sldMkLst>
      </pc:sldChg>
      <pc:sldChg chg="modSp add del">
        <pc:chgData name="Lia Taylor" userId="2ccad05f-5017-4e2b-87e4-bbc6d22f4e64" providerId="ADAL" clId="{F700537D-3675-41CA-A525-EB2E79DB2D9A}" dt="2018-12-12T23:37:03.548" v="6500"/>
        <pc:sldMkLst>
          <pc:docMk/>
          <pc:sldMk cId="3511771344" sldId="8298"/>
        </pc:sldMkLst>
        <pc:spChg chg="mod">
          <ac:chgData name="Lia Taylor" userId="2ccad05f-5017-4e2b-87e4-bbc6d22f4e64" providerId="ADAL" clId="{F700537D-3675-41CA-A525-EB2E79DB2D9A}" dt="2018-12-12T23:36:35.061" v="6498"/>
          <ac:spMkLst>
            <pc:docMk/>
            <pc:sldMk cId="3511771344" sldId="8298"/>
            <ac:spMk id="6" creationId="{84041B1B-3DBB-465D-9DCD-3D2115695C42}"/>
          </ac:spMkLst>
        </pc:spChg>
      </pc:sldChg>
      <pc:sldChg chg="modSp add del">
        <pc:chgData name="Lia Taylor" userId="2ccad05f-5017-4e2b-87e4-bbc6d22f4e64" providerId="ADAL" clId="{F700537D-3675-41CA-A525-EB2E79DB2D9A}" dt="2018-12-12T23:37:03.548" v="6500"/>
        <pc:sldMkLst>
          <pc:docMk/>
          <pc:sldMk cId="50196969" sldId="8299"/>
        </pc:sldMkLst>
        <pc:spChg chg="mod">
          <ac:chgData name="Lia Taylor" userId="2ccad05f-5017-4e2b-87e4-bbc6d22f4e64" providerId="ADAL" clId="{F700537D-3675-41CA-A525-EB2E79DB2D9A}" dt="2018-12-12T23:36:35.061" v="6498"/>
          <ac:spMkLst>
            <pc:docMk/>
            <pc:sldMk cId="50196969" sldId="8299"/>
            <ac:spMk id="16" creationId="{BE16602C-57A3-491F-8A0B-3A4625D77DBB}"/>
          </ac:spMkLst>
        </pc:spChg>
      </pc:sldChg>
      <pc:sldChg chg="modSp add del">
        <pc:chgData name="Lia Taylor" userId="2ccad05f-5017-4e2b-87e4-bbc6d22f4e64" providerId="ADAL" clId="{F700537D-3675-41CA-A525-EB2E79DB2D9A}" dt="2018-12-12T23:37:03.548" v="6500"/>
        <pc:sldMkLst>
          <pc:docMk/>
          <pc:sldMk cId="2652026896" sldId="8300"/>
        </pc:sldMkLst>
        <pc:spChg chg="mod">
          <ac:chgData name="Lia Taylor" userId="2ccad05f-5017-4e2b-87e4-bbc6d22f4e64" providerId="ADAL" clId="{F700537D-3675-41CA-A525-EB2E79DB2D9A}" dt="2018-12-12T23:36:35.061" v="6498"/>
          <ac:spMkLst>
            <pc:docMk/>
            <pc:sldMk cId="2652026896" sldId="8300"/>
            <ac:spMk id="3" creationId="{F2F99812-106D-4883-8E9B-53DD1637233E}"/>
          </ac:spMkLst>
        </pc:spChg>
      </pc:sldChg>
      <pc:sldMasterChg chg="del delSldLayout">
        <pc:chgData name="Lia Taylor" userId="2ccad05f-5017-4e2b-87e4-bbc6d22f4e64" providerId="ADAL" clId="{F700537D-3675-41CA-A525-EB2E79DB2D9A}" dt="2018-12-04T21:26:25.110" v="14" actId="2696"/>
        <pc:sldMasterMkLst>
          <pc:docMk/>
          <pc:sldMasterMk cId="1276583392" sldId="2147483648"/>
        </pc:sldMasterMkLst>
        <pc:sldLayoutChg chg="del">
          <pc:chgData name="Lia Taylor" userId="2ccad05f-5017-4e2b-87e4-bbc6d22f4e64" providerId="ADAL" clId="{F700537D-3675-41CA-A525-EB2E79DB2D9A}" dt="2018-12-04T21:26:25.037" v="3" actId="2696"/>
          <pc:sldLayoutMkLst>
            <pc:docMk/>
            <pc:sldMasterMk cId="1276583392" sldId="2147483648"/>
            <pc:sldLayoutMk cId="3894783850" sldId="2147483649"/>
          </pc:sldLayoutMkLst>
        </pc:sldLayoutChg>
        <pc:sldLayoutChg chg="del">
          <pc:chgData name="Lia Taylor" userId="2ccad05f-5017-4e2b-87e4-bbc6d22f4e64" providerId="ADAL" clId="{F700537D-3675-41CA-A525-EB2E79DB2D9A}" dt="2018-12-04T21:26:25.044" v="4" actId="2696"/>
          <pc:sldLayoutMkLst>
            <pc:docMk/>
            <pc:sldMasterMk cId="1276583392" sldId="2147483648"/>
            <pc:sldLayoutMk cId="999440247" sldId="2147483650"/>
          </pc:sldLayoutMkLst>
        </pc:sldLayoutChg>
        <pc:sldLayoutChg chg="del">
          <pc:chgData name="Lia Taylor" userId="2ccad05f-5017-4e2b-87e4-bbc6d22f4e64" providerId="ADAL" clId="{F700537D-3675-41CA-A525-EB2E79DB2D9A}" dt="2018-12-04T21:26:25.049" v="5" actId="2696"/>
          <pc:sldLayoutMkLst>
            <pc:docMk/>
            <pc:sldMasterMk cId="1276583392" sldId="2147483648"/>
            <pc:sldLayoutMk cId="28759226" sldId="2147483651"/>
          </pc:sldLayoutMkLst>
        </pc:sldLayoutChg>
        <pc:sldLayoutChg chg="del">
          <pc:chgData name="Lia Taylor" userId="2ccad05f-5017-4e2b-87e4-bbc6d22f4e64" providerId="ADAL" clId="{F700537D-3675-41CA-A525-EB2E79DB2D9A}" dt="2018-12-04T21:26:25.054" v="6" actId="2696"/>
          <pc:sldLayoutMkLst>
            <pc:docMk/>
            <pc:sldMasterMk cId="1276583392" sldId="2147483648"/>
            <pc:sldLayoutMk cId="1949520954" sldId="2147483652"/>
          </pc:sldLayoutMkLst>
        </pc:sldLayoutChg>
        <pc:sldLayoutChg chg="del">
          <pc:chgData name="Lia Taylor" userId="2ccad05f-5017-4e2b-87e4-bbc6d22f4e64" providerId="ADAL" clId="{F700537D-3675-41CA-A525-EB2E79DB2D9A}" dt="2018-12-04T21:26:25.061" v="7" actId="2696"/>
          <pc:sldLayoutMkLst>
            <pc:docMk/>
            <pc:sldMasterMk cId="1276583392" sldId="2147483648"/>
            <pc:sldLayoutMk cId="1064394391" sldId="2147483653"/>
          </pc:sldLayoutMkLst>
        </pc:sldLayoutChg>
        <pc:sldLayoutChg chg="del">
          <pc:chgData name="Lia Taylor" userId="2ccad05f-5017-4e2b-87e4-bbc6d22f4e64" providerId="ADAL" clId="{F700537D-3675-41CA-A525-EB2E79DB2D9A}" dt="2018-12-04T21:26:25.067" v="8" actId="2696"/>
          <pc:sldLayoutMkLst>
            <pc:docMk/>
            <pc:sldMasterMk cId="1276583392" sldId="2147483648"/>
            <pc:sldLayoutMk cId="1310009683" sldId="2147483654"/>
          </pc:sldLayoutMkLst>
        </pc:sldLayoutChg>
        <pc:sldLayoutChg chg="del">
          <pc:chgData name="Lia Taylor" userId="2ccad05f-5017-4e2b-87e4-bbc6d22f4e64" providerId="ADAL" clId="{F700537D-3675-41CA-A525-EB2E79DB2D9A}" dt="2018-12-04T21:26:25.071" v="9" actId="2696"/>
          <pc:sldLayoutMkLst>
            <pc:docMk/>
            <pc:sldMasterMk cId="1276583392" sldId="2147483648"/>
            <pc:sldLayoutMk cId="784477027" sldId="2147483655"/>
          </pc:sldLayoutMkLst>
        </pc:sldLayoutChg>
        <pc:sldLayoutChg chg="del">
          <pc:chgData name="Lia Taylor" userId="2ccad05f-5017-4e2b-87e4-bbc6d22f4e64" providerId="ADAL" clId="{F700537D-3675-41CA-A525-EB2E79DB2D9A}" dt="2018-12-04T21:26:25.080" v="10" actId="2696"/>
          <pc:sldLayoutMkLst>
            <pc:docMk/>
            <pc:sldMasterMk cId="1276583392" sldId="2147483648"/>
            <pc:sldLayoutMk cId="3988104129" sldId="2147483656"/>
          </pc:sldLayoutMkLst>
        </pc:sldLayoutChg>
        <pc:sldLayoutChg chg="del">
          <pc:chgData name="Lia Taylor" userId="2ccad05f-5017-4e2b-87e4-bbc6d22f4e64" providerId="ADAL" clId="{F700537D-3675-41CA-A525-EB2E79DB2D9A}" dt="2018-12-04T21:26:25.084" v="11" actId="2696"/>
          <pc:sldLayoutMkLst>
            <pc:docMk/>
            <pc:sldMasterMk cId="1276583392" sldId="2147483648"/>
            <pc:sldLayoutMk cId="4113310153" sldId="2147483657"/>
          </pc:sldLayoutMkLst>
        </pc:sldLayoutChg>
        <pc:sldLayoutChg chg="del">
          <pc:chgData name="Lia Taylor" userId="2ccad05f-5017-4e2b-87e4-bbc6d22f4e64" providerId="ADAL" clId="{F700537D-3675-41CA-A525-EB2E79DB2D9A}" dt="2018-12-04T21:26:25.090" v="12" actId="2696"/>
          <pc:sldLayoutMkLst>
            <pc:docMk/>
            <pc:sldMasterMk cId="1276583392" sldId="2147483648"/>
            <pc:sldLayoutMk cId="1314236345" sldId="2147483658"/>
          </pc:sldLayoutMkLst>
        </pc:sldLayoutChg>
        <pc:sldLayoutChg chg="del">
          <pc:chgData name="Lia Taylor" userId="2ccad05f-5017-4e2b-87e4-bbc6d22f4e64" providerId="ADAL" clId="{F700537D-3675-41CA-A525-EB2E79DB2D9A}" dt="2018-12-04T21:26:25.096" v="13" actId="2696"/>
          <pc:sldLayoutMkLst>
            <pc:docMk/>
            <pc:sldMasterMk cId="1276583392" sldId="2147483648"/>
            <pc:sldLayoutMk cId="1349923503" sldId="2147483659"/>
          </pc:sldLayoutMkLst>
        </pc:sldLayoutChg>
      </pc:sldMasterChg>
      <pc:sldMasterChg chg="delSldLayout">
        <pc:chgData name="Lia Taylor" userId="2ccad05f-5017-4e2b-87e4-bbc6d22f4e64" providerId="ADAL" clId="{F700537D-3675-41CA-A525-EB2E79DB2D9A}" dt="2018-12-04T23:26:24.466" v="193" actId="2696"/>
        <pc:sldMasterMkLst>
          <pc:docMk/>
          <pc:sldMasterMk cId="3952108256" sldId="2147483681"/>
        </pc:sldMasterMkLst>
        <pc:sldLayoutChg chg="del">
          <pc:chgData name="Lia Taylor" userId="2ccad05f-5017-4e2b-87e4-bbc6d22f4e64" providerId="ADAL" clId="{F700537D-3675-41CA-A525-EB2E79DB2D9A}" dt="2018-12-04T23:26:24.418" v="191" actId="2696"/>
          <pc:sldLayoutMkLst>
            <pc:docMk/>
            <pc:sldMasterMk cId="3952108256" sldId="2147483681"/>
            <pc:sldLayoutMk cId="1059748034" sldId="2147483922"/>
          </pc:sldLayoutMkLst>
        </pc:sldLayoutChg>
        <pc:sldLayoutChg chg="del">
          <pc:chgData name="Lia Taylor" userId="2ccad05f-5017-4e2b-87e4-bbc6d22f4e64" providerId="ADAL" clId="{F700537D-3675-41CA-A525-EB2E79DB2D9A}" dt="2018-12-04T23:26:24.466" v="193" actId="2696"/>
          <pc:sldLayoutMkLst>
            <pc:docMk/>
            <pc:sldMasterMk cId="3952108256" sldId="2147483681"/>
            <pc:sldLayoutMk cId="3561889661" sldId="2147483923"/>
          </pc:sldLayoutMkLst>
        </pc:sldLayoutChg>
      </pc:sldMasterChg>
      <pc:sldMasterChg chg="delSldLayout">
        <pc:chgData name="Lia Taylor" userId="2ccad05f-5017-4e2b-87e4-bbc6d22f4e64" providerId="ADAL" clId="{F700537D-3675-41CA-A525-EB2E79DB2D9A}" dt="2018-12-10T21:32:49.801" v="4475" actId="2696"/>
        <pc:sldMasterMkLst>
          <pc:docMk/>
          <pc:sldMasterMk cId="4011428933" sldId="2147483768"/>
        </pc:sldMasterMkLst>
        <pc:sldLayoutChg chg="del">
          <pc:chgData name="Lia Taylor" userId="2ccad05f-5017-4e2b-87e4-bbc6d22f4e64" providerId="ADAL" clId="{F700537D-3675-41CA-A525-EB2E79DB2D9A}" dt="2018-12-10T21:32:43.321" v="4466" actId="2696"/>
          <pc:sldLayoutMkLst>
            <pc:docMk/>
            <pc:sldMasterMk cId="4011428933" sldId="2147483768"/>
            <pc:sldLayoutMk cId="2323360564" sldId="2147483924"/>
          </pc:sldLayoutMkLst>
        </pc:sldLayoutChg>
        <pc:sldLayoutChg chg="del">
          <pc:chgData name="Lia Taylor" userId="2ccad05f-5017-4e2b-87e4-bbc6d22f4e64" providerId="ADAL" clId="{F700537D-3675-41CA-A525-EB2E79DB2D9A}" dt="2018-12-10T21:32:49.801" v="4475" actId="2696"/>
          <pc:sldLayoutMkLst>
            <pc:docMk/>
            <pc:sldMasterMk cId="4011428933" sldId="2147483768"/>
            <pc:sldLayoutMk cId="106760517" sldId="2147483986"/>
          </pc:sldLayoutMkLst>
        </pc:sldLayoutChg>
      </pc:sldMasterChg>
      <pc:sldMasterChg chg="delSldLayout">
        <pc:chgData name="Lia Taylor" userId="2ccad05f-5017-4e2b-87e4-bbc6d22f4e64" providerId="ADAL" clId="{F700537D-3675-41CA-A525-EB2E79DB2D9A}" dt="2018-12-10T21:32:42.673" v="4457" actId="2696"/>
        <pc:sldMasterMkLst>
          <pc:docMk/>
          <pc:sldMasterMk cId="2540733696" sldId="2147483797"/>
        </pc:sldMasterMkLst>
        <pc:sldLayoutChg chg="del">
          <pc:chgData name="Lia Taylor" userId="2ccad05f-5017-4e2b-87e4-bbc6d22f4e64" providerId="ADAL" clId="{F700537D-3675-41CA-A525-EB2E79DB2D9A}" dt="2018-12-10T21:32:42.673" v="4457" actId="2696"/>
          <pc:sldLayoutMkLst>
            <pc:docMk/>
            <pc:sldMasterMk cId="2540733696" sldId="2147483797"/>
            <pc:sldLayoutMk cId="1071362844" sldId="2147483921"/>
          </pc:sldLayoutMkLst>
        </pc:sldLayoutChg>
      </pc:sldMasterChg>
      <pc:sldMasterChg chg="delSldLayout">
        <pc:chgData name="Lia Taylor" userId="2ccad05f-5017-4e2b-87e4-bbc6d22f4e64" providerId="ADAL" clId="{F700537D-3675-41CA-A525-EB2E79DB2D9A}" dt="2018-12-04T23:37:07.794" v="290" actId="2696"/>
        <pc:sldMasterMkLst>
          <pc:docMk/>
          <pc:sldMasterMk cId="629561423" sldId="2147483826"/>
        </pc:sldMasterMkLst>
        <pc:sldLayoutChg chg="del">
          <pc:chgData name="Lia Taylor" userId="2ccad05f-5017-4e2b-87e4-bbc6d22f4e64" providerId="ADAL" clId="{F700537D-3675-41CA-A525-EB2E79DB2D9A}" dt="2018-12-04T23:37:07.794" v="290" actId="2696"/>
          <pc:sldLayoutMkLst>
            <pc:docMk/>
            <pc:sldMasterMk cId="629561423" sldId="2147483826"/>
            <pc:sldLayoutMk cId="3214988851" sldId="2147483836"/>
          </pc:sldLayoutMkLst>
        </pc:sldLayoutChg>
      </pc:sldMasterChg>
      <pc:sldMasterChg chg="delSldLayout">
        <pc:chgData name="Lia Taylor" userId="2ccad05f-5017-4e2b-87e4-bbc6d22f4e64" providerId="ADAL" clId="{F700537D-3675-41CA-A525-EB2E79DB2D9A}" dt="2018-12-10T21:32:42.939" v="4461" actId="2696"/>
        <pc:sldMasterMkLst>
          <pc:docMk/>
          <pc:sldMasterMk cId="3303146763" sldId="2147483837"/>
        </pc:sldMasterMkLst>
        <pc:sldLayoutChg chg="del">
          <pc:chgData name="Lia Taylor" userId="2ccad05f-5017-4e2b-87e4-bbc6d22f4e64" providerId="ADAL" clId="{F700537D-3675-41CA-A525-EB2E79DB2D9A}" dt="2018-12-10T21:32:42.762" v="4459" actId="2696"/>
          <pc:sldLayoutMkLst>
            <pc:docMk/>
            <pc:sldMasterMk cId="3303146763" sldId="2147483837"/>
            <pc:sldLayoutMk cId="1734716632" sldId="2147483984"/>
          </pc:sldLayoutMkLst>
        </pc:sldLayoutChg>
        <pc:sldLayoutChg chg="del">
          <pc:chgData name="Lia Taylor" userId="2ccad05f-5017-4e2b-87e4-bbc6d22f4e64" providerId="ADAL" clId="{F700537D-3675-41CA-A525-EB2E79DB2D9A}" dt="2018-12-10T21:32:42.939" v="4461" actId="2696"/>
          <pc:sldLayoutMkLst>
            <pc:docMk/>
            <pc:sldMasterMk cId="3303146763" sldId="2147483837"/>
            <pc:sldLayoutMk cId="3389536342" sldId="2147483985"/>
          </pc:sldLayoutMkLst>
        </pc:sldLayoutChg>
      </pc:sldMasterChg>
      <pc:sldMasterChg chg="delSldLayout">
        <pc:chgData name="Lia Taylor" userId="2ccad05f-5017-4e2b-87e4-bbc6d22f4e64" providerId="ADAL" clId="{F700537D-3675-41CA-A525-EB2E79DB2D9A}" dt="2018-12-12T17:47:50.947" v="6475" actId="2696"/>
        <pc:sldMasterMkLst>
          <pc:docMk/>
          <pc:sldMasterMk cId="1634072674" sldId="2147483882"/>
        </pc:sldMasterMkLst>
        <pc:sldLayoutChg chg="del">
          <pc:chgData name="Lia Taylor" userId="2ccad05f-5017-4e2b-87e4-bbc6d22f4e64" providerId="ADAL" clId="{F700537D-3675-41CA-A525-EB2E79DB2D9A}" dt="2018-12-12T17:47:50.947" v="6475" actId="2696"/>
          <pc:sldLayoutMkLst>
            <pc:docMk/>
            <pc:sldMasterMk cId="1634072674" sldId="2147483882"/>
            <pc:sldLayoutMk cId="3696791534" sldId="2147484050"/>
          </pc:sldLayoutMkLst>
        </pc:sldLayoutChg>
        <pc:sldLayoutChg chg="del">
          <pc:chgData name="Lia Taylor" userId="2ccad05f-5017-4e2b-87e4-bbc6d22f4e64" providerId="ADAL" clId="{F700537D-3675-41CA-A525-EB2E79DB2D9A}" dt="2018-12-12T17:47:50.640" v="6473" actId="2696"/>
          <pc:sldLayoutMkLst>
            <pc:docMk/>
            <pc:sldMasterMk cId="1634072674" sldId="2147483882"/>
            <pc:sldLayoutMk cId="1305968051" sldId="2147484051"/>
          </pc:sldLayoutMkLst>
        </pc:sldLayoutChg>
      </pc:sldMasterChg>
      <pc:sldMasterChg chg="delSldLayout">
        <pc:chgData name="Lia Taylor" userId="2ccad05f-5017-4e2b-87e4-bbc6d22f4e64" providerId="ADAL" clId="{F700537D-3675-41CA-A525-EB2E79DB2D9A}" dt="2018-12-06T22:39:08.692" v="1336" actId="2696"/>
        <pc:sldMasterMkLst>
          <pc:docMk/>
          <pc:sldMasterMk cId="449781965" sldId="2147483925"/>
        </pc:sldMasterMkLst>
        <pc:sldLayoutChg chg="del">
          <pc:chgData name="Lia Taylor" userId="2ccad05f-5017-4e2b-87e4-bbc6d22f4e64" providerId="ADAL" clId="{F700537D-3675-41CA-A525-EB2E79DB2D9A}" dt="2018-12-06T22:39:08.692" v="1336" actId="2696"/>
          <pc:sldLayoutMkLst>
            <pc:docMk/>
            <pc:sldMasterMk cId="449781965" sldId="2147483925"/>
            <pc:sldLayoutMk cId="2424941774" sldId="2147483938"/>
          </pc:sldLayoutMkLst>
        </pc:sldLayoutChg>
      </pc:sldMasterChg>
      <pc:sldMasterChg chg="delSldLayout">
        <pc:chgData name="Lia Taylor" userId="2ccad05f-5017-4e2b-87e4-bbc6d22f4e64" providerId="ADAL" clId="{F700537D-3675-41CA-A525-EB2E79DB2D9A}" dt="2018-12-12T17:47:50.127" v="6471" actId="2696"/>
        <pc:sldMasterMkLst>
          <pc:docMk/>
          <pc:sldMasterMk cId="1556819415" sldId="2147484052"/>
        </pc:sldMasterMkLst>
        <pc:sldLayoutChg chg="del">
          <pc:chgData name="Lia Taylor" userId="2ccad05f-5017-4e2b-87e4-bbc6d22f4e64" providerId="ADAL" clId="{F700537D-3675-41CA-A525-EB2E79DB2D9A}" dt="2018-12-12T17:47:50.059" v="6469" actId="2696"/>
          <pc:sldLayoutMkLst>
            <pc:docMk/>
            <pc:sldMasterMk cId="1556819415" sldId="2147484052"/>
            <pc:sldLayoutMk cId="135765869" sldId="2147484065"/>
          </pc:sldLayoutMkLst>
        </pc:sldLayoutChg>
        <pc:sldLayoutChg chg="del">
          <pc:chgData name="Lia Taylor" userId="2ccad05f-5017-4e2b-87e4-bbc6d22f4e64" providerId="ADAL" clId="{F700537D-3675-41CA-A525-EB2E79DB2D9A}" dt="2018-12-12T17:47:50.127" v="6471" actId="2696"/>
          <pc:sldLayoutMkLst>
            <pc:docMk/>
            <pc:sldMasterMk cId="1556819415" sldId="2147484052"/>
            <pc:sldLayoutMk cId="2668928578" sldId="2147484068"/>
          </pc:sldLayoutMkLst>
        </pc:sldLayoutChg>
      </pc:sldMasterChg>
    </pc:docChg>
  </pc:docChgLst>
  <pc:docChgLst>
    <pc:chgData name="Lisa Schnitzius" userId="S::lischnit@microsoft.com::adc2a09d-8ecc-4a9a-b08a-3814ab83a7e9" providerId="AD" clId="Web-{5B29F1C2-DF2C-42D9-8204-06477D35A47F}"/>
    <pc:docChg chg="modSld">
      <pc:chgData name="Lisa Schnitzius" userId="S::lischnit@microsoft.com::adc2a09d-8ecc-4a9a-b08a-3814ab83a7e9" providerId="AD" clId="Web-{5B29F1C2-DF2C-42D9-8204-06477D35A47F}" dt="2018-12-12T14:35:40.728" v="1327" actId="20577"/>
      <pc:docMkLst>
        <pc:docMk/>
      </pc:docMkLst>
      <pc:sldChg chg="addSp modSp">
        <pc:chgData name="Lisa Schnitzius" userId="S::lischnit@microsoft.com::adc2a09d-8ecc-4a9a-b08a-3814ab83a7e9" providerId="AD" clId="Web-{5B29F1C2-DF2C-42D9-8204-06477D35A47F}" dt="2018-12-12T13:56:14.592" v="758" actId="14100"/>
        <pc:sldMkLst>
          <pc:docMk/>
          <pc:sldMk cId="1214537133" sldId="8150"/>
        </pc:sldMkLst>
        <pc:spChg chg="mod">
          <ac:chgData name="Lisa Schnitzius" userId="S::lischnit@microsoft.com::adc2a09d-8ecc-4a9a-b08a-3814ab83a7e9" providerId="AD" clId="Web-{5B29F1C2-DF2C-42D9-8204-06477D35A47F}" dt="2018-12-12T13:45:28.587" v="483" actId="20577"/>
          <ac:spMkLst>
            <pc:docMk/>
            <pc:sldMk cId="1214537133" sldId="8150"/>
            <ac:spMk id="8" creationId="{D80A8C82-7FB5-4500-A7CF-D522289183CF}"/>
          </ac:spMkLst>
        </pc:spChg>
        <pc:spChg chg="mod">
          <ac:chgData name="Lisa Schnitzius" userId="S::lischnit@microsoft.com::adc2a09d-8ecc-4a9a-b08a-3814ab83a7e9" providerId="AD" clId="Web-{5B29F1C2-DF2C-42D9-8204-06477D35A47F}" dt="2018-12-12T13:52:36.897" v="752" actId="20577"/>
          <ac:spMkLst>
            <pc:docMk/>
            <pc:sldMk cId="1214537133" sldId="8150"/>
            <ac:spMk id="9" creationId="{BF3D46F8-8C86-404A-B033-B6FAD1A9B432}"/>
          </ac:spMkLst>
        </pc:spChg>
        <pc:picChg chg="add mod">
          <ac:chgData name="Lisa Schnitzius" userId="S::lischnit@microsoft.com::adc2a09d-8ecc-4a9a-b08a-3814ab83a7e9" providerId="AD" clId="Web-{5B29F1C2-DF2C-42D9-8204-06477D35A47F}" dt="2018-12-12T13:56:14.592" v="758" actId="14100"/>
          <ac:picMkLst>
            <pc:docMk/>
            <pc:sldMk cId="1214537133" sldId="8150"/>
            <ac:picMk id="2" creationId="{2856AB80-CA7B-4FA6-9563-6ED84D077057}"/>
          </ac:picMkLst>
        </pc:picChg>
      </pc:sldChg>
      <pc:sldChg chg="addSp delSp modSp">
        <pc:chgData name="Lisa Schnitzius" userId="S::lischnit@microsoft.com::adc2a09d-8ecc-4a9a-b08a-3814ab83a7e9" providerId="AD" clId="Web-{5B29F1C2-DF2C-42D9-8204-06477D35A47F}" dt="2018-12-12T14:35:40.728" v="1327" actId="20577"/>
        <pc:sldMkLst>
          <pc:docMk/>
          <pc:sldMk cId="411881949" sldId="8285"/>
        </pc:sldMkLst>
        <pc:spChg chg="mod">
          <ac:chgData name="Lisa Schnitzius" userId="S::lischnit@microsoft.com::adc2a09d-8ecc-4a9a-b08a-3814ab83a7e9" providerId="AD" clId="Web-{5B29F1C2-DF2C-42D9-8204-06477D35A47F}" dt="2018-12-12T14:35:40.728" v="1327" actId="20577"/>
          <ac:spMkLst>
            <pc:docMk/>
            <pc:sldMk cId="411881949" sldId="8285"/>
            <ac:spMk id="8" creationId="{D80A8C82-7FB5-4500-A7CF-D522289183CF}"/>
          </ac:spMkLst>
        </pc:spChg>
        <pc:spChg chg="mod">
          <ac:chgData name="Lisa Schnitzius" userId="S::lischnit@microsoft.com::adc2a09d-8ecc-4a9a-b08a-3814ab83a7e9" providerId="AD" clId="Web-{5B29F1C2-DF2C-42D9-8204-06477D35A47F}" dt="2018-12-12T14:31:38.023" v="1105" actId="20577"/>
          <ac:spMkLst>
            <pc:docMk/>
            <pc:sldMk cId="411881949" sldId="8285"/>
            <ac:spMk id="9" creationId="{BF3D46F8-8C86-404A-B033-B6FAD1A9B432}"/>
          </ac:spMkLst>
        </pc:spChg>
        <pc:picChg chg="add mod">
          <ac:chgData name="Lisa Schnitzius" userId="S::lischnit@microsoft.com::adc2a09d-8ecc-4a9a-b08a-3814ab83a7e9" providerId="AD" clId="Web-{5B29F1C2-DF2C-42D9-8204-06477D35A47F}" dt="2018-12-12T13:58:07.317" v="764" actId="1076"/>
          <ac:picMkLst>
            <pc:docMk/>
            <pc:sldMk cId="411881949" sldId="8285"/>
            <ac:picMk id="2" creationId="{79B12EDD-5FF7-49BB-AA5B-3D56AA0C78DE}"/>
          </ac:picMkLst>
        </pc:picChg>
        <pc:picChg chg="add mod">
          <ac:chgData name="Lisa Schnitzius" userId="S::lischnit@microsoft.com::adc2a09d-8ecc-4a9a-b08a-3814ab83a7e9" providerId="AD" clId="Web-{5B29F1C2-DF2C-42D9-8204-06477D35A47F}" dt="2018-12-12T14:31:41.961" v="1106" actId="14100"/>
          <ac:picMkLst>
            <pc:docMk/>
            <pc:sldMk cId="411881949" sldId="8285"/>
            <ac:picMk id="4" creationId="{19138CB4-A887-4EE4-995B-6ED437929836}"/>
          </ac:picMkLst>
        </pc:picChg>
        <pc:picChg chg="del">
          <ac:chgData name="Lisa Schnitzius" userId="S::lischnit@microsoft.com::adc2a09d-8ecc-4a9a-b08a-3814ab83a7e9" providerId="AD" clId="Web-{5B29F1C2-DF2C-42D9-8204-06477D35A47F}" dt="2018-12-12T14:11:01.053" v="878"/>
          <ac:picMkLst>
            <pc:docMk/>
            <pc:sldMk cId="411881949" sldId="8285"/>
            <ac:picMk id="5" creationId="{F76FA46D-F0ED-489E-9C47-0D19139AA373}"/>
          </ac:picMkLst>
        </pc:picChg>
      </pc:sldChg>
    </pc:docChg>
  </pc:docChgLst>
  <pc:docChgLst>
    <pc:chgData name="Derek Loar" userId="S::deloar@microsoft.com::96944881-53b8-4e07-84a4-c62658258783" providerId="AD" clId="Web-{F25E58AF-7C35-4488-A1C7-FE7369000FE4}"/>
    <pc:docChg chg="modSld">
      <pc:chgData name="Derek Loar" userId="S::deloar@microsoft.com::96944881-53b8-4e07-84a4-c62658258783" providerId="AD" clId="Web-{F25E58AF-7C35-4488-A1C7-FE7369000FE4}" dt="2019-02-14T02:55:51.184" v="15" actId="20577"/>
      <pc:docMkLst>
        <pc:docMk/>
      </pc:docMkLst>
      <pc:sldChg chg="modSp">
        <pc:chgData name="Derek Loar" userId="S::deloar@microsoft.com::96944881-53b8-4e07-84a4-c62658258783" providerId="AD" clId="Web-{F25E58AF-7C35-4488-A1C7-FE7369000FE4}" dt="2019-02-14T02:55:51.184" v="15" actId="20577"/>
        <pc:sldMkLst>
          <pc:docMk/>
          <pc:sldMk cId="4294166853" sldId="371"/>
        </pc:sldMkLst>
        <pc:spChg chg="mod">
          <ac:chgData name="Derek Loar" userId="S::deloar@microsoft.com::96944881-53b8-4e07-84a4-c62658258783" providerId="AD" clId="Web-{F25E58AF-7C35-4488-A1C7-FE7369000FE4}" dt="2019-02-14T02:55:51.184" v="15" actId="20577"/>
          <ac:spMkLst>
            <pc:docMk/>
            <pc:sldMk cId="4294166853" sldId="371"/>
            <ac:spMk id="9" creationId="{E09A0AE9-B605-4629-AE92-2AF2B2153376}"/>
          </ac:spMkLst>
        </pc:spChg>
      </pc:sldChg>
    </pc:docChg>
  </pc:docChgLst>
  <pc:docChgLst>
    <pc:chgData name="Lisa Schnitzius" userId="S::lischnit@microsoft.com::adc2a09d-8ecc-4a9a-b08a-3814ab83a7e9" providerId="AD" clId="Web-{6BA7DC57-B09E-497A-8F5B-534456CDD779}"/>
    <pc:docChg chg="addSld">
      <pc:chgData name="Lisa Schnitzius" userId="S::lischnit@microsoft.com::adc2a09d-8ecc-4a9a-b08a-3814ab83a7e9" providerId="AD" clId="Web-{6BA7DC57-B09E-497A-8F5B-534456CDD779}" dt="2018-12-11T18:20:42.413" v="0"/>
      <pc:docMkLst>
        <pc:docMk/>
      </pc:docMkLst>
      <pc:sldChg chg="new">
        <pc:chgData name="Lisa Schnitzius" userId="S::lischnit@microsoft.com::adc2a09d-8ecc-4a9a-b08a-3814ab83a7e9" providerId="AD" clId="Web-{6BA7DC57-B09E-497A-8F5B-534456CDD779}" dt="2018-12-11T18:20:42.413" v="0"/>
        <pc:sldMkLst>
          <pc:docMk/>
          <pc:sldMk cId="1401978099" sldId="8284"/>
        </pc:sldMkLst>
      </pc:sldChg>
    </pc:docChg>
  </pc:docChgLst>
  <pc:docChgLst>
    <pc:chgData name="Kate D'Orazio" userId="2e4d3ada-6011-4411-9f1b-b25d6046d2a8" providerId="ADAL" clId="{9F07F3E4-23B8-4DDD-9B6D-74F942E6A74B}"/>
    <pc:docChg chg="custSel modSld">
      <pc:chgData name="Kate D'Orazio" userId="2e4d3ada-6011-4411-9f1b-b25d6046d2a8" providerId="ADAL" clId="{9F07F3E4-23B8-4DDD-9B6D-74F942E6A74B}" dt="2018-12-13T00:02:34.038" v="121" actId="20577"/>
      <pc:docMkLst>
        <pc:docMk/>
      </pc:docMkLst>
      <pc:sldChg chg="addCm modCm">
        <pc:chgData name="Kate D'Orazio" userId="2e4d3ada-6011-4411-9f1b-b25d6046d2a8" providerId="ADAL" clId="{9F07F3E4-23B8-4DDD-9B6D-74F942E6A74B}" dt="2018-12-12T23:42:31.402" v="9"/>
        <pc:sldMkLst>
          <pc:docMk/>
          <pc:sldMk cId="1653215607" sldId="2545"/>
        </pc:sldMkLst>
      </pc:sldChg>
      <pc:sldChg chg="modSp">
        <pc:chgData name="Kate D'Orazio" userId="2e4d3ada-6011-4411-9f1b-b25d6046d2a8" providerId="ADAL" clId="{9F07F3E4-23B8-4DDD-9B6D-74F942E6A74B}" dt="2018-12-13T00:02:34.038" v="121" actId="20577"/>
        <pc:sldMkLst>
          <pc:docMk/>
          <pc:sldMk cId="3753167990" sldId="4251"/>
        </pc:sldMkLst>
        <pc:spChg chg="mod">
          <ac:chgData name="Kate D'Orazio" userId="2e4d3ada-6011-4411-9f1b-b25d6046d2a8" providerId="ADAL" clId="{9F07F3E4-23B8-4DDD-9B6D-74F942E6A74B}" dt="2018-12-13T00:02:34.038" v="121" actId="20577"/>
          <ac:spMkLst>
            <pc:docMk/>
            <pc:sldMk cId="3753167990" sldId="4251"/>
            <ac:spMk id="34" creationId="{A7F513B3-A26F-451E-B1A5-969CB9812454}"/>
          </ac:spMkLst>
        </pc:spChg>
      </pc:sldChg>
      <pc:sldChg chg="addCm modCm">
        <pc:chgData name="Kate D'Orazio" userId="2e4d3ada-6011-4411-9f1b-b25d6046d2a8" providerId="ADAL" clId="{9F07F3E4-23B8-4DDD-9B6D-74F942E6A74B}" dt="2018-12-12T23:46:32.114" v="16" actId="1589"/>
        <pc:sldMkLst>
          <pc:docMk/>
          <pc:sldMk cId="1977394622" sldId="8120"/>
        </pc:sldMkLst>
      </pc:sldChg>
      <pc:sldChg chg="addCm modCm">
        <pc:chgData name="Kate D'Orazio" userId="2e4d3ada-6011-4411-9f1b-b25d6046d2a8" providerId="ADAL" clId="{9F07F3E4-23B8-4DDD-9B6D-74F942E6A74B}" dt="2018-12-12T23:52:32.171" v="22"/>
        <pc:sldMkLst>
          <pc:docMk/>
          <pc:sldMk cId="1748051645" sldId="8122"/>
        </pc:sldMkLst>
      </pc:sldChg>
      <pc:sldChg chg="addCm modCm">
        <pc:chgData name="Kate D'Orazio" userId="2e4d3ada-6011-4411-9f1b-b25d6046d2a8" providerId="ADAL" clId="{9F07F3E4-23B8-4DDD-9B6D-74F942E6A74B}" dt="2018-12-12T23:41:11.588" v="1"/>
        <pc:sldMkLst>
          <pc:docMk/>
          <pc:sldMk cId="3635774934" sldId="8144"/>
        </pc:sldMkLst>
      </pc:sldChg>
      <pc:sldChg chg="addCm modCm">
        <pc:chgData name="Kate D'Orazio" userId="2e4d3ada-6011-4411-9f1b-b25d6046d2a8" providerId="ADAL" clId="{9F07F3E4-23B8-4DDD-9B6D-74F942E6A74B}" dt="2018-12-13T00:02:23.076" v="109"/>
        <pc:sldMkLst>
          <pc:docMk/>
          <pc:sldMk cId="3604590298" sldId="8147"/>
        </pc:sldMkLst>
      </pc:sldChg>
      <pc:sldChg chg="addCm modCm">
        <pc:chgData name="Kate D'Orazio" userId="2e4d3ada-6011-4411-9f1b-b25d6046d2a8" providerId="ADAL" clId="{9F07F3E4-23B8-4DDD-9B6D-74F942E6A74B}" dt="2018-12-13T00:01:23.374" v="107" actId="1589"/>
        <pc:sldMkLst>
          <pc:docMk/>
          <pc:sldMk cId="2397821929" sldId="8148"/>
        </pc:sldMkLst>
      </pc:sldChg>
      <pc:sldChg chg="modSp">
        <pc:chgData name="Kate D'Orazio" userId="2e4d3ada-6011-4411-9f1b-b25d6046d2a8" providerId="ADAL" clId="{9F07F3E4-23B8-4DDD-9B6D-74F942E6A74B}" dt="2018-12-12T23:53:29.022" v="101" actId="20577"/>
        <pc:sldMkLst>
          <pc:docMk/>
          <pc:sldMk cId="701168643" sldId="8287"/>
        </pc:sldMkLst>
        <pc:spChg chg="mod">
          <ac:chgData name="Kate D'Orazio" userId="2e4d3ada-6011-4411-9f1b-b25d6046d2a8" providerId="ADAL" clId="{9F07F3E4-23B8-4DDD-9B6D-74F942E6A74B}" dt="2018-12-12T23:53:29.022" v="101" actId="20577"/>
          <ac:spMkLst>
            <pc:docMk/>
            <pc:sldMk cId="701168643" sldId="8287"/>
            <ac:spMk id="47" creationId="{42DB5A8B-F6A7-4CCE-BE64-C9C094C51BA9}"/>
          </ac:spMkLst>
        </pc:spChg>
      </pc:sldChg>
    </pc:docChg>
  </pc:docChgLst>
  <pc:docChgLst>
    <pc:chgData name="Lisa Schnitzius" userId="S::lischnit@microsoft.com::adc2a09d-8ecc-4a9a-b08a-3814ab83a7e9" providerId="AD" clId="Web-{FCFFBE44-98DE-4651-A572-9FD727DBB251}"/>
    <pc:docChg chg="addSld modSld">
      <pc:chgData name="Lisa Schnitzius" userId="S::lischnit@microsoft.com::adc2a09d-8ecc-4a9a-b08a-3814ab83a7e9" providerId="AD" clId="Web-{FCFFBE44-98DE-4651-A572-9FD727DBB251}" dt="2018-12-11T18:24:56.239" v="25" actId="20577"/>
      <pc:docMkLst>
        <pc:docMk/>
      </pc:docMkLst>
      <pc:sldChg chg="addSp delSp modSp">
        <pc:chgData name="Lisa Schnitzius" userId="S::lischnit@microsoft.com::adc2a09d-8ecc-4a9a-b08a-3814ab83a7e9" providerId="AD" clId="Web-{FCFFBE44-98DE-4651-A572-9FD727DBB251}" dt="2018-12-11T18:22:00.874" v="2"/>
        <pc:sldMkLst>
          <pc:docMk/>
          <pc:sldMk cId="1993030529" sldId="8111"/>
        </pc:sldMkLst>
        <pc:picChg chg="add del mod">
          <ac:chgData name="Lisa Schnitzius" userId="S::lischnit@microsoft.com::adc2a09d-8ecc-4a9a-b08a-3814ab83a7e9" providerId="AD" clId="Web-{FCFFBE44-98DE-4651-A572-9FD727DBB251}" dt="2018-12-11T18:22:00.874" v="2"/>
          <ac:picMkLst>
            <pc:docMk/>
            <pc:sldMk cId="1993030529" sldId="8111"/>
            <ac:picMk id="3" creationId="{8CE4C395-4183-4AE0-B94E-D5C6BCCA66ED}"/>
          </ac:picMkLst>
        </pc:picChg>
      </pc:sldChg>
      <pc:sldChg chg="modSp">
        <pc:chgData name="Lisa Schnitzius" userId="S::lischnit@microsoft.com::adc2a09d-8ecc-4a9a-b08a-3814ab83a7e9" providerId="AD" clId="Web-{FCFFBE44-98DE-4651-A572-9FD727DBB251}" dt="2018-12-11T18:24:44.723" v="18" actId="20577"/>
        <pc:sldMkLst>
          <pc:docMk/>
          <pc:sldMk cId="1214537133" sldId="8150"/>
        </pc:sldMkLst>
        <pc:spChg chg="mod">
          <ac:chgData name="Lisa Schnitzius" userId="S::lischnit@microsoft.com::adc2a09d-8ecc-4a9a-b08a-3814ab83a7e9" providerId="AD" clId="Web-{FCFFBE44-98DE-4651-A572-9FD727DBB251}" dt="2018-12-11T18:24:44.723" v="18" actId="20577"/>
          <ac:spMkLst>
            <pc:docMk/>
            <pc:sldMk cId="1214537133" sldId="8150"/>
            <ac:spMk id="8" creationId="{D80A8C82-7FB5-4500-A7CF-D522289183CF}"/>
          </ac:spMkLst>
        </pc:spChg>
      </pc:sldChg>
      <pc:sldChg chg="modSp add replId">
        <pc:chgData name="Lisa Schnitzius" userId="S::lischnit@microsoft.com::adc2a09d-8ecc-4a9a-b08a-3814ab83a7e9" providerId="AD" clId="Web-{FCFFBE44-98DE-4651-A572-9FD727DBB251}" dt="2018-12-11T18:24:56.239" v="25" actId="20577"/>
        <pc:sldMkLst>
          <pc:docMk/>
          <pc:sldMk cId="411881949" sldId="8285"/>
        </pc:sldMkLst>
        <pc:spChg chg="mod">
          <ac:chgData name="Lisa Schnitzius" userId="S::lischnit@microsoft.com::adc2a09d-8ecc-4a9a-b08a-3814ab83a7e9" providerId="AD" clId="Web-{FCFFBE44-98DE-4651-A572-9FD727DBB251}" dt="2018-12-11T18:24:56.239" v="25" actId="20577"/>
          <ac:spMkLst>
            <pc:docMk/>
            <pc:sldMk cId="411881949" sldId="8285"/>
            <ac:spMk id="2" creationId="{48E207A8-FAB7-4AB7-99C5-F585186800CF}"/>
          </ac:spMkLst>
        </pc:spChg>
        <pc:spChg chg="mod">
          <ac:chgData name="Lisa Schnitzius" userId="S::lischnit@microsoft.com::adc2a09d-8ecc-4a9a-b08a-3814ab83a7e9" providerId="AD" clId="Web-{FCFFBE44-98DE-4651-A572-9FD727DBB251}" dt="2018-12-11T18:23:39.846" v="13" actId="20577"/>
          <ac:spMkLst>
            <pc:docMk/>
            <pc:sldMk cId="411881949" sldId="8285"/>
            <ac:spMk id="10" creationId="{42EA7D76-8687-45F3-AA8E-8E9147BA12C7}"/>
          </ac:spMkLst>
        </pc:spChg>
      </pc:sldChg>
    </pc:docChg>
  </pc:docChgLst>
  <pc:docChgLst>
    <pc:chgData name="Jek Hermida" userId="S::jhermida@microsoft.com::16d50755-a1a4-466d-afef-045937f27829" providerId="AD" clId="Web-{11E5F336-336E-4148-8A56-3B7FECBEC096}"/>
    <pc:docChg chg="modSld">
      <pc:chgData name="Jek Hermida" userId="S::jhermida@microsoft.com::16d50755-a1a4-466d-afef-045937f27829" providerId="AD" clId="Web-{11E5F336-336E-4148-8A56-3B7FECBEC096}" dt="2019-02-04T02:14:07.416" v="0" actId="1076"/>
      <pc:docMkLst>
        <pc:docMk/>
      </pc:docMkLst>
      <pc:sldChg chg="modSp">
        <pc:chgData name="Jek Hermida" userId="S::jhermida@microsoft.com::16d50755-a1a4-466d-afef-045937f27829" providerId="AD" clId="Web-{11E5F336-336E-4148-8A56-3B7FECBEC096}" dt="2019-02-04T02:14:07.416" v="0" actId="1076"/>
        <pc:sldMkLst>
          <pc:docMk/>
          <pc:sldMk cId="3367958238" sldId="8292"/>
        </pc:sldMkLst>
        <pc:picChg chg="mod">
          <ac:chgData name="Jek Hermida" userId="S::jhermida@microsoft.com::16d50755-a1a4-466d-afef-045937f27829" providerId="AD" clId="Web-{11E5F336-336E-4148-8A56-3B7FECBEC096}" dt="2019-02-04T02:14:07.416" v="0" actId="1076"/>
          <ac:picMkLst>
            <pc:docMk/>
            <pc:sldMk cId="3367958238" sldId="8292"/>
            <ac:picMk id="2" creationId="{981618F1-9732-4376-9B7B-672DC9F1EBF4}"/>
          </ac:picMkLst>
        </pc:picChg>
      </pc:sldChg>
    </pc:docChg>
  </pc:docChgLst>
  <pc:docChgLst>
    <pc:chgData name="Lisa Schnitzius" userId="adc2a09d-8ecc-4a9a-b08a-3814ab83a7e9" providerId="ADAL" clId="{73E7CACB-25C5-486C-AF8B-C1CA2364BEC9}"/>
    <pc:docChg chg="addSld delSld modSld">
      <pc:chgData name="Lisa Schnitzius" userId="adc2a09d-8ecc-4a9a-b08a-3814ab83a7e9" providerId="ADAL" clId="{73E7CACB-25C5-486C-AF8B-C1CA2364BEC9}" dt="2019-01-08T19:57:23.829" v="6" actId="2696"/>
      <pc:docMkLst>
        <pc:docMk/>
      </pc:docMkLst>
      <pc:sldChg chg="add">
        <pc:chgData name="Lisa Schnitzius" userId="adc2a09d-8ecc-4a9a-b08a-3814ab83a7e9" providerId="ADAL" clId="{73E7CACB-25C5-486C-AF8B-C1CA2364BEC9}" dt="2019-01-08T18:38:41.457" v="0"/>
        <pc:sldMkLst>
          <pc:docMk/>
          <pc:sldMk cId="873073181" sldId="289"/>
        </pc:sldMkLst>
      </pc:sldChg>
      <pc:sldChg chg="del">
        <pc:chgData name="Lisa Schnitzius" userId="adc2a09d-8ecc-4a9a-b08a-3814ab83a7e9" providerId="ADAL" clId="{73E7CACB-25C5-486C-AF8B-C1CA2364BEC9}" dt="2019-01-08T18:38:45.120" v="1" actId="2696"/>
        <pc:sldMkLst>
          <pc:docMk/>
          <pc:sldMk cId="1347360898" sldId="8296"/>
        </pc:sldMkLst>
      </pc:sldChg>
      <pc:sldChg chg="del">
        <pc:chgData name="Lisa Schnitzius" userId="adc2a09d-8ecc-4a9a-b08a-3814ab83a7e9" providerId="ADAL" clId="{73E7CACB-25C5-486C-AF8B-C1CA2364BEC9}" dt="2019-01-08T19:57:23.829" v="6" actId="2696"/>
        <pc:sldMkLst>
          <pc:docMk/>
          <pc:sldMk cId="3997368168" sldId="8296"/>
        </pc:sldMkLst>
      </pc:sldChg>
      <pc:sldChg chg="addSp modSp">
        <pc:chgData name="Lisa Schnitzius" userId="adc2a09d-8ecc-4a9a-b08a-3814ab83a7e9" providerId="ADAL" clId="{73E7CACB-25C5-486C-AF8B-C1CA2364BEC9}" dt="2019-01-08T19:57:15.271" v="5" actId="1076"/>
        <pc:sldMkLst>
          <pc:docMk/>
          <pc:sldMk cId="2007526575" sldId="8297"/>
        </pc:sldMkLst>
        <pc:picChg chg="add mod">
          <ac:chgData name="Lisa Schnitzius" userId="adc2a09d-8ecc-4a9a-b08a-3814ab83a7e9" providerId="ADAL" clId="{73E7CACB-25C5-486C-AF8B-C1CA2364BEC9}" dt="2019-01-08T19:57:15.271" v="5" actId="1076"/>
          <ac:picMkLst>
            <pc:docMk/>
            <pc:sldMk cId="2007526575" sldId="8297"/>
            <ac:picMk id="2" creationId="{3427ACD7-6F9E-4A74-A29F-638E55D516CD}"/>
          </ac:picMkLst>
        </pc:picChg>
      </pc:sldChg>
    </pc:docChg>
  </pc:docChgLst>
  <pc:docChgLst>
    <pc:chgData name="Lisa Schnitzius" userId="S::lischnit@microsoft.com::adc2a09d-8ecc-4a9a-b08a-3814ab83a7e9" providerId="AD" clId="Web-{787ED3B2-DA85-4C89-A782-978D7F539827}"/>
    <pc:docChg chg="addSld">
      <pc:chgData name="Lisa Schnitzius" userId="S::lischnit@microsoft.com::adc2a09d-8ecc-4a9a-b08a-3814ab83a7e9" providerId="AD" clId="Web-{787ED3B2-DA85-4C89-A782-978D7F539827}" dt="2019-01-08T19:49:54.812" v="0"/>
      <pc:docMkLst>
        <pc:docMk/>
      </pc:docMkLst>
      <pc:sldChg chg="add replId">
        <pc:chgData name="Lisa Schnitzius" userId="S::lischnit@microsoft.com::adc2a09d-8ecc-4a9a-b08a-3814ab83a7e9" providerId="AD" clId="Web-{787ED3B2-DA85-4C89-A782-978D7F539827}" dt="2019-01-08T19:49:54.812" v="0"/>
        <pc:sldMkLst>
          <pc:docMk/>
          <pc:sldMk cId="3997368168" sldId="8296"/>
        </pc:sldMkLst>
      </pc:sldChg>
    </pc:docChg>
  </pc:docChgLst>
  <pc:docChgLst>
    <pc:chgData name="Simone Andreani" userId="S::siandrea@microsoft.com::f15564dc-e5d7-4ac7-a4ef-34527885c058" providerId="AD" clId="Web-{0DCA9F18-3348-61D1-78B4-8CB82711E8C5}"/>
    <pc:docChg chg="modSld">
      <pc:chgData name="Simone Andreani" userId="S::siandrea@microsoft.com::f15564dc-e5d7-4ac7-a4ef-34527885c058" providerId="AD" clId="Web-{0DCA9F18-3348-61D1-78B4-8CB82711E8C5}" dt="2019-02-19T09:53:23.139" v="3" actId="1076"/>
      <pc:docMkLst>
        <pc:docMk/>
      </pc:docMkLst>
      <pc:sldChg chg="modSp">
        <pc:chgData name="Simone Andreani" userId="S::siandrea@microsoft.com::f15564dc-e5d7-4ac7-a4ef-34527885c058" providerId="AD" clId="Web-{0DCA9F18-3348-61D1-78B4-8CB82711E8C5}" dt="2019-02-19T09:04:30.223" v="2" actId="1076"/>
        <pc:sldMkLst>
          <pc:docMk/>
          <pc:sldMk cId="3171818224" sldId="3559"/>
        </pc:sldMkLst>
        <pc:cxnChg chg="mod">
          <ac:chgData name="Simone Andreani" userId="S::siandrea@microsoft.com::f15564dc-e5d7-4ac7-a4ef-34527885c058" providerId="AD" clId="Web-{0DCA9F18-3348-61D1-78B4-8CB82711E8C5}" dt="2019-02-19T09:04:30.223" v="2" actId="1076"/>
          <ac:cxnSpMkLst>
            <pc:docMk/>
            <pc:sldMk cId="3171818224" sldId="3559"/>
            <ac:cxnSpMk id="161" creationId="{78F65DFE-60BC-4803-9A06-5A02373215C0}"/>
          </ac:cxnSpMkLst>
        </pc:cxnChg>
      </pc:sldChg>
      <pc:sldChg chg="modSp">
        <pc:chgData name="Simone Andreani" userId="S::siandrea@microsoft.com::f15564dc-e5d7-4ac7-a4ef-34527885c058" providerId="AD" clId="Web-{0DCA9F18-3348-61D1-78B4-8CB82711E8C5}" dt="2019-02-19T09:53:23.139" v="3" actId="1076"/>
        <pc:sldMkLst>
          <pc:docMk/>
          <pc:sldMk cId="1818400815" sldId="4771"/>
        </pc:sldMkLst>
        <pc:picChg chg="mod">
          <ac:chgData name="Simone Andreani" userId="S::siandrea@microsoft.com::f15564dc-e5d7-4ac7-a4ef-34527885c058" providerId="AD" clId="Web-{0DCA9F18-3348-61D1-78B4-8CB82711E8C5}" dt="2019-02-19T09:53:23.139" v="3" actId="1076"/>
          <ac:picMkLst>
            <pc:docMk/>
            <pc:sldMk cId="1818400815" sldId="4771"/>
            <ac:picMk id="6" creationId="{C66EB600-4DDB-4846-B2E7-CB7694C1794E}"/>
          </ac:picMkLst>
        </pc:picChg>
      </pc:sldChg>
    </pc:docChg>
  </pc:docChgLst>
  <pc:docChgLst>
    <pc:chgData name="Doug Gould" userId="S::dogou@microsoft.com::5954e487-b30e-486f-a68e-874a51e91610" providerId="AD" clId="Web-{D98D5CFF-7C66-4B4B-8434-2684D47C3D4E}"/>
    <pc:docChg chg="addSld delSld">
      <pc:chgData name="Doug Gould" userId="S::dogou@microsoft.com::5954e487-b30e-486f-a68e-874a51e91610" providerId="AD" clId="Web-{D98D5CFF-7C66-4B4B-8434-2684D47C3D4E}" dt="2019-02-08T19:01:51.952" v="3"/>
      <pc:docMkLst>
        <pc:docMk/>
      </pc:docMkLst>
      <pc:sldChg chg="new del">
        <pc:chgData name="Doug Gould" userId="S::dogou@microsoft.com::5954e487-b30e-486f-a68e-874a51e91610" providerId="AD" clId="Web-{D98D5CFF-7C66-4B4B-8434-2684D47C3D4E}" dt="2019-02-08T19:01:51.952" v="3"/>
        <pc:sldMkLst>
          <pc:docMk/>
          <pc:sldMk cId="2339482962" sldId="8298"/>
        </pc:sldMkLst>
      </pc:sldChg>
      <pc:sldChg chg="new del">
        <pc:chgData name="Doug Gould" userId="S::dogou@microsoft.com::5954e487-b30e-486f-a68e-874a51e91610" providerId="AD" clId="Web-{D98D5CFF-7C66-4B4B-8434-2684D47C3D4E}" dt="2019-02-08T19:01:46.920" v="1"/>
        <pc:sldMkLst>
          <pc:docMk/>
          <pc:sldMk cId="2908427273" sldId="8298"/>
        </pc:sldMkLst>
      </pc:sldChg>
    </pc:docChg>
  </pc:docChgLst>
  <pc:docChgLst>
    <pc:chgData name="Eric Chin" userId="933253de-dc78-467e-aa94-493231eb54cb" providerId="ADAL" clId="{8C165CCA-4932-477E-9D68-197A7952A2F3}"/>
    <pc:docChg chg="modSld">
      <pc:chgData name="Eric Chin" userId="933253de-dc78-467e-aa94-493231eb54cb" providerId="ADAL" clId="{8C165CCA-4932-477E-9D68-197A7952A2F3}" dt="2019-01-14T01:24:01.211" v="2" actId="113"/>
      <pc:docMkLst>
        <pc:docMk/>
      </pc:docMkLst>
      <pc:sldChg chg="modTransition">
        <pc:chgData name="Eric Chin" userId="933253de-dc78-467e-aa94-493231eb54cb" providerId="ADAL" clId="{8C165CCA-4932-477E-9D68-197A7952A2F3}" dt="2019-01-14T01:21:14.647" v="1"/>
        <pc:sldMkLst>
          <pc:docMk/>
          <pc:sldMk cId="172171424" sldId="4225"/>
        </pc:sldMkLst>
      </pc:sldChg>
      <pc:sldChg chg="modSp">
        <pc:chgData name="Eric Chin" userId="933253de-dc78-467e-aa94-493231eb54cb" providerId="ADAL" clId="{8C165CCA-4932-477E-9D68-197A7952A2F3}" dt="2019-01-14T01:24:01.211" v="2" actId="113"/>
        <pc:sldMkLst>
          <pc:docMk/>
          <pc:sldMk cId="3635774934" sldId="8144"/>
        </pc:sldMkLst>
        <pc:spChg chg="mod">
          <ac:chgData name="Eric Chin" userId="933253de-dc78-467e-aa94-493231eb54cb" providerId="ADAL" clId="{8C165CCA-4932-477E-9D68-197A7952A2F3}" dt="2019-01-14T01:24:01.211" v="2" actId="113"/>
          <ac:spMkLst>
            <pc:docMk/>
            <pc:sldMk cId="3635774934" sldId="8144"/>
            <ac:spMk id="221" creationId="{2E6C5DE6-4E0B-4960-83C3-C62E3675B10E}"/>
          </ac:spMkLst>
        </pc:spChg>
      </pc:sldChg>
    </pc:docChg>
  </pc:docChgLst>
  <pc:docChgLst>
    <pc:chgData name="Lia Taylor" userId="2ccad05f-5017-4e2b-87e4-bbc6d22f4e64" providerId="ADAL" clId="{C4AD42D1-E78B-497C-A7C9-5839B99EF191}"/>
    <pc:docChg chg="modSld">
      <pc:chgData name="Lia Taylor" userId="2ccad05f-5017-4e2b-87e4-bbc6d22f4e64" providerId="ADAL" clId="{C4AD42D1-E78B-497C-A7C9-5839B99EF191}" dt="2019-02-17T18:45:59.153" v="1" actId="20577"/>
      <pc:docMkLst>
        <pc:docMk/>
      </pc:docMkLst>
      <pc:sldChg chg="modSp">
        <pc:chgData name="Lia Taylor" userId="2ccad05f-5017-4e2b-87e4-bbc6d22f4e64" providerId="ADAL" clId="{C4AD42D1-E78B-497C-A7C9-5839B99EF191}" dt="2019-02-14T21:57:54.068" v="0" actId="20577"/>
        <pc:sldMkLst>
          <pc:docMk/>
          <pc:sldMk cId="4294166853" sldId="371"/>
        </pc:sldMkLst>
        <pc:spChg chg="mod">
          <ac:chgData name="Lia Taylor" userId="2ccad05f-5017-4e2b-87e4-bbc6d22f4e64" providerId="ADAL" clId="{C4AD42D1-E78B-497C-A7C9-5839B99EF191}" dt="2019-02-14T21:57:54.068" v="0" actId="20577"/>
          <ac:spMkLst>
            <pc:docMk/>
            <pc:sldMk cId="4294166853" sldId="371"/>
            <ac:spMk id="2" creationId="{86F4C7C8-3C27-4976-887C-A0BDFFF08841}"/>
          </ac:spMkLst>
        </pc:spChg>
      </pc:sldChg>
      <pc:sldChg chg="modSp">
        <pc:chgData name="Lia Taylor" userId="2ccad05f-5017-4e2b-87e4-bbc6d22f4e64" providerId="ADAL" clId="{C4AD42D1-E78B-497C-A7C9-5839B99EF191}" dt="2019-02-17T18:45:59.153" v="1" actId="20577"/>
        <pc:sldMkLst>
          <pc:docMk/>
          <pc:sldMk cId="2397821929" sldId="8148"/>
        </pc:sldMkLst>
        <pc:spChg chg="mod">
          <ac:chgData name="Lia Taylor" userId="2ccad05f-5017-4e2b-87e4-bbc6d22f4e64" providerId="ADAL" clId="{C4AD42D1-E78B-497C-A7C9-5839B99EF191}" dt="2019-02-17T18:45:59.153" v="1" actId="20577"/>
          <ac:spMkLst>
            <pc:docMk/>
            <pc:sldMk cId="2397821929" sldId="8148"/>
            <ac:spMk id="2" creationId="{B7BEF25B-8F33-4CB2-87BF-DD4CDD8FC209}"/>
          </ac:spMkLst>
        </pc:spChg>
      </pc:sldChg>
    </pc:docChg>
  </pc:docChgLst>
  <pc:docChgLst>
    <pc:chgData name="Lisa Schnitzius" userId="S::lischnit@microsoft.com::adc2a09d-8ecc-4a9a-b08a-3814ab83a7e9" providerId="AD" clId="Web-{2E486D56-99FD-480B-B361-E82157DF190A}"/>
    <pc:docChg chg="modSld">
      <pc:chgData name="Lisa Schnitzius" userId="S::lischnit@microsoft.com::adc2a09d-8ecc-4a9a-b08a-3814ab83a7e9" providerId="AD" clId="Web-{2E486D56-99FD-480B-B361-E82157DF190A}" dt="2018-12-10T21:03:11.525" v="1"/>
      <pc:docMkLst>
        <pc:docMk/>
      </pc:docMkLst>
      <pc:sldChg chg="modSp">
        <pc:chgData name="Lisa Schnitzius" userId="S::lischnit@microsoft.com::adc2a09d-8ecc-4a9a-b08a-3814ab83a7e9" providerId="AD" clId="Web-{2E486D56-99FD-480B-B361-E82157DF190A}" dt="2018-12-10T21:03:11.525" v="1"/>
        <pc:sldMkLst>
          <pc:docMk/>
          <pc:sldMk cId="2548039390" sldId="8138"/>
        </pc:sldMkLst>
        <pc:graphicFrameChg chg="mod modGraphic">
          <ac:chgData name="Lisa Schnitzius" userId="S::lischnit@microsoft.com::adc2a09d-8ecc-4a9a-b08a-3814ab83a7e9" providerId="AD" clId="Web-{2E486D56-99FD-480B-B361-E82157DF190A}" dt="2018-12-10T21:03:11.525" v="1"/>
          <ac:graphicFrameMkLst>
            <pc:docMk/>
            <pc:sldMk cId="2548039390" sldId="8138"/>
            <ac:graphicFrameMk id="19" creationId="{77879072-C858-4076-B24D-05EB039B7B30}"/>
          </ac:graphicFrameMkLst>
        </pc:graphicFrameChg>
      </pc:sldChg>
    </pc:docChg>
  </pc:docChgLst>
  <pc:docChgLst>
    <pc:chgData name="Tara Webb" userId="S::tarawebb@microsoft.com::2df18b6b-f57b-44b0-86ab-14f61d8d23f1" providerId="AD" clId="Web-{06C25E48-05E2-4E85-AA65-5262099AB89B}"/>
    <pc:docChg chg="modSld">
      <pc:chgData name="Tara Webb" userId="S::tarawebb@microsoft.com::2df18b6b-f57b-44b0-86ab-14f61d8d23f1" providerId="AD" clId="Web-{06C25E48-05E2-4E85-AA65-5262099AB89B}" dt="2018-12-10T22:35:40.236" v="147"/>
      <pc:docMkLst>
        <pc:docMk/>
      </pc:docMkLst>
      <pc:sldChg chg="modSp">
        <pc:chgData name="Tara Webb" userId="S::tarawebb@microsoft.com::2df18b6b-f57b-44b0-86ab-14f61d8d23f1" providerId="AD" clId="Web-{06C25E48-05E2-4E85-AA65-5262099AB89B}" dt="2018-12-10T22:35:40.236" v="147"/>
        <pc:sldMkLst>
          <pc:docMk/>
          <pc:sldMk cId="2548039390" sldId="8138"/>
        </pc:sldMkLst>
        <pc:graphicFrameChg chg="mod modGraphic">
          <ac:chgData name="Tara Webb" userId="S::tarawebb@microsoft.com::2df18b6b-f57b-44b0-86ab-14f61d8d23f1" providerId="AD" clId="Web-{06C25E48-05E2-4E85-AA65-5262099AB89B}" dt="2018-12-10T22:35:40.236" v="147"/>
          <ac:graphicFrameMkLst>
            <pc:docMk/>
            <pc:sldMk cId="2548039390" sldId="8138"/>
            <ac:graphicFrameMk id="18" creationId="{3CB292CB-0425-4E3B-B13F-66D141E109D9}"/>
          </ac:graphicFrameMkLst>
        </pc:graphicFrameChg>
      </pc:sldChg>
    </pc:docChg>
  </pc:docChgLst>
  <pc:docChgLst>
    <pc:chgData name="Lisa Schnitzius" userId="S::lischnit@microsoft.com::adc2a09d-8ecc-4a9a-b08a-3814ab83a7e9" providerId="AD" clId="Web-{6345BC40-DE1D-4678-8AEA-FA5D4F94F029}"/>
    <pc:docChg chg="modSld">
      <pc:chgData name="Lisa Schnitzius" userId="S::lischnit@microsoft.com::adc2a09d-8ecc-4a9a-b08a-3814ab83a7e9" providerId="AD" clId="Web-{6345BC40-DE1D-4678-8AEA-FA5D4F94F029}" dt="2018-12-12T19:30:57.259" v="69" actId="20577"/>
      <pc:docMkLst>
        <pc:docMk/>
      </pc:docMkLst>
      <pc:sldChg chg="addSp modSp">
        <pc:chgData name="Lisa Schnitzius" userId="S::lischnit@microsoft.com::adc2a09d-8ecc-4a9a-b08a-3814ab83a7e9" providerId="AD" clId="Web-{6345BC40-DE1D-4678-8AEA-FA5D4F94F029}" dt="2018-12-12T19:30:57.259" v="69" actId="20577"/>
        <pc:sldMkLst>
          <pc:docMk/>
          <pc:sldMk cId="3629869271" sldId="8294"/>
        </pc:sldMkLst>
        <pc:spChg chg="mod">
          <ac:chgData name="Lisa Schnitzius" userId="S::lischnit@microsoft.com::adc2a09d-8ecc-4a9a-b08a-3814ab83a7e9" providerId="AD" clId="Web-{6345BC40-DE1D-4678-8AEA-FA5D4F94F029}" dt="2018-12-12T19:30:27.790" v="57" actId="20577"/>
          <ac:spMkLst>
            <pc:docMk/>
            <pc:sldMk cId="3629869271" sldId="8294"/>
            <ac:spMk id="8" creationId="{D80A8C82-7FB5-4500-A7CF-D522289183CF}"/>
          </ac:spMkLst>
        </pc:spChg>
        <pc:spChg chg="mod">
          <ac:chgData name="Lisa Schnitzius" userId="S::lischnit@microsoft.com::adc2a09d-8ecc-4a9a-b08a-3814ab83a7e9" providerId="AD" clId="Web-{6345BC40-DE1D-4678-8AEA-FA5D4F94F029}" dt="2018-12-12T19:30:57.259" v="69" actId="20577"/>
          <ac:spMkLst>
            <pc:docMk/>
            <pc:sldMk cId="3629869271" sldId="8294"/>
            <ac:spMk id="9" creationId="{BF3D46F8-8C86-404A-B033-B6FAD1A9B432}"/>
          </ac:spMkLst>
        </pc:spChg>
        <pc:spChg chg="mod">
          <ac:chgData name="Lisa Schnitzius" userId="S::lischnit@microsoft.com::adc2a09d-8ecc-4a9a-b08a-3814ab83a7e9" providerId="AD" clId="Web-{6345BC40-DE1D-4678-8AEA-FA5D4F94F029}" dt="2018-12-12T19:27:36.065" v="1" actId="20577"/>
          <ac:spMkLst>
            <pc:docMk/>
            <pc:sldMk cId="3629869271" sldId="8294"/>
            <ac:spMk id="12" creationId="{C68CE6E5-9738-4B57-9567-0545B0EC830F}"/>
          </ac:spMkLst>
        </pc:spChg>
        <pc:picChg chg="add mod">
          <ac:chgData name="Lisa Schnitzius" userId="S::lischnit@microsoft.com::adc2a09d-8ecc-4a9a-b08a-3814ab83a7e9" providerId="AD" clId="Web-{6345BC40-DE1D-4678-8AEA-FA5D4F94F029}" dt="2018-12-12T19:27:46.300" v="5" actId="1076"/>
          <ac:picMkLst>
            <pc:docMk/>
            <pc:sldMk cId="3629869271" sldId="8294"/>
            <ac:picMk id="2" creationId="{0A6AFD65-3A4F-4F0A-AB61-8D77030E62E0}"/>
          </ac:picMkLst>
        </pc:picChg>
      </pc:sldChg>
    </pc:docChg>
  </pc:docChgLst>
  <pc:docChgLst>
    <pc:chgData name="Lia Taylor" userId="2ccad05f-5017-4e2b-87e4-bbc6d22f4e64" providerId="ADAL" clId="{8390564F-84B1-4B1E-A468-A9AF081D8E2D}"/>
    <pc:docChg chg="modSld sldOrd">
      <pc:chgData name="Lia Taylor" userId="2ccad05f-5017-4e2b-87e4-bbc6d22f4e64" providerId="ADAL" clId="{8390564F-84B1-4B1E-A468-A9AF081D8E2D}" dt="2019-01-18T23:25:22.270" v="7" actId="113"/>
      <pc:docMkLst>
        <pc:docMk/>
      </pc:docMkLst>
      <pc:sldChg chg="modSp">
        <pc:chgData name="Lia Taylor" userId="2ccad05f-5017-4e2b-87e4-bbc6d22f4e64" providerId="ADAL" clId="{8390564F-84B1-4B1E-A468-A9AF081D8E2D}" dt="2019-01-07T20:19:36.766" v="6" actId="20577"/>
        <pc:sldMkLst>
          <pc:docMk/>
          <pc:sldMk cId="4294166853" sldId="371"/>
        </pc:sldMkLst>
        <pc:spChg chg="mod">
          <ac:chgData name="Lia Taylor" userId="2ccad05f-5017-4e2b-87e4-bbc6d22f4e64" providerId="ADAL" clId="{8390564F-84B1-4B1E-A468-A9AF081D8E2D}" dt="2019-01-07T20:19:36.766" v="6" actId="20577"/>
          <ac:spMkLst>
            <pc:docMk/>
            <pc:sldMk cId="4294166853" sldId="371"/>
            <ac:spMk id="9" creationId="{E09A0AE9-B605-4629-AE92-2AF2B2153376}"/>
          </ac:spMkLst>
        </pc:spChg>
      </pc:sldChg>
      <pc:sldChg chg="modSp">
        <pc:chgData name="Lia Taylor" userId="2ccad05f-5017-4e2b-87e4-bbc6d22f4e64" providerId="ADAL" clId="{8390564F-84B1-4B1E-A468-A9AF081D8E2D}" dt="2019-01-18T23:25:22.270" v="7" actId="113"/>
        <pc:sldMkLst>
          <pc:docMk/>
          <pc:sldMk cId="3635774934" sldId="8144"/>
        </pc:sldMkLst>
        <pc:spChg chg="mod">
          <ac:chgData name="Lia Taylor" userId="2ccad05f-5017-4e2b-87e4-bbc6d22f4e64" providerId="ADAL" clId="{8390564F-84B1-4B1E-A468-A9AF081D8E2D}" dt="2019-01-18T23:25:22.270" v="7" actId="113"/>
          <ac:spMkLst>
            <pc:docMk/>
            <pc:sldMk cId="3635774934" sldId="8144"/>
            <ac:spMk id="221" creationId="{2E6C5DE6-4E0B-4960-83C3-C62E3675B10E}"/>
          </ac:spMkLst>
        </pc:spChg>
      </pc:sldChg>
      <pc:sldChg chg="ord">
        <pc:chgData name="Lia Taylor" userId="2ccad05f-5017-4e2b-87e4-bbc6d22f4e64" providerId="ADAL" clId="{8390564F-84B1-4B1E-A468-A9AF081D8E2D}" dt="2019-01-07T16:34:10.019" v="0"/>
        <pc:sldMkLst>
          <pc:docMk/>
          <pc:sldMk cId="4290153864" sldId="8146"/>
        </pc:sldMkLst>
      </pc:sldChg>
    </pc:docChg>
  </pc:docChgLst>
  <pc:docChgLst>
    <pc:chgData name="Gregory Fuller" userId="b63c1727-5d73-4e63-96f5-37726e61ed3d" providerId="ADAL" clId="{1F768DF2-6288-4A02-99AE-18C16124FC02}"/>
    <pc:docChg chg="undo redo custSel addSld delSld modSld sldOrd">
      <pc:chgData name="Gregory Fuller" userId="b63c1727-5d73-4e63-96f5-37726e61ed3d" providerId="ADAL" clId="{1F768DF2-6288-4A02-99AE-18C16124FC02}" dt="2018-12-17T21:26:35.840" v="6383" actId="1076"/>
      <pc:docMkLst>
        <pc:docMk/>
      </pc:docMkLst>
      <pc:sldChg chg="addSp delSp modSp ord">
        <pc:chgData name="Gregory Fuller" userId="b63c1727-5d73-4e63-96f5-37726e61ed3d" providerId="ADAL" clId="{1F768DF2-6288-4A02-99AE-18C16124FC02}" dt="2018-12-12T01:27:04.068" v="6023" actId="20577"/>
        <pc:sldMkLst>
          <pc:docMk/>
          <pc:sldMk cId="4118601710" sldId="371"/>
        </pc:sldMkLst>
        <pc:spChg chg="add mod">
          <ac:chgData name="Gregory Fuller" userId="b63c1727-5d73-4e63-96f5-37726e61ed3d" providerId="ADAL" clId="{1F768DF2-6288-4A02-99AE-18C16124FC02}" dt="2018-12-11T20:58:19.672" v="5822" actId="1076"/>
          <ac:spMkLst>
            <pc:docMk/>
            <pc:sldMk cId="4118601710" sldId="371"/>
            <ac:spMk id="4" creationId="{238D702C-58EA-4AAD-B3B4-C95A666A9E80}"/>
          </ac:spMkLst>
        </pc:spChg>
        <pc:spChg chg="add del mod">
          <ac:chgData name="Gregory Fuller" userId="b63c1727-5d73-4e63-96f5-37726e61ed3d" providerId="ADAL" clId="{1F768DF2-6288-4A02-99AE-18C16124FC02}" dt="2018-12-12T01:10:34.389" v="6020" actId="478"/>
          <ac:spMkLst>
            <pc:docMk/>
            <pc:sldMk cId="4118601710" sldId="371"/>
            <ac:spMk id="5" creationId="{4CB6A880-A892-4716-9119-CEB4CDDE5B59}"/>
          </ac:spMkLst>
        </pc:spChg>
        <pc:spChg chg="mod">
          <ac:chgData name="Gregory Fuller" userId="b63c1727-5d73-4e63-96f5-37726e61ed3d" providerId="ADAL" clId="{1F768DF2-6288-4A02-99AE-18C16124FC02}" dt="2018-12-12T01:27:04.068" v="6023" actId="20577"/>
          <ac:spMkLst>
            <pc:docMk/>
            <pc:sldMk cId="4118601710" sldId="371"/>
            <ac:spMk id="9" creationId="{E09A0AE9-B605-4629-AE92-2AF2B2153376}"/>
          </ac:spMkLst>
        </pc:spChg>
        <pc:spChg chg="mod">
          <ac:chgData name="Gregory Fuller" userId="b63c1727-5d73-4e63-96f5-37726e61ed3d" providerId="ADAL" clId="{1F768DF2-6288-4A02-99AE-18C16124FC02}" dt="2018-12-12T01:06:17.630" v="5941" actId="255"/>
          <ac:spMkLst>
            <pc:docMk/>
            <pc:sldMk cId="4118601710" sldId="371"/>
            <ac:spMk id="13" creationId="{0B811BF8-DA8E-4DF3-B828-2C2403690D69}"/>
          </ac:spMkLst>
        </pc:spChg>
      </pc:sldChg>
      <pc:sldChg chg="add del ord">
        <pc:chgData name="Gregory Fuller" userId="b63c1727-5d73-4e63-96f5-37726e61ed3d" providerId="ADAL" clId="{1F768DF2-6288-4A02-99AE-18C16124FC02}" dt="2018-12-05T02:43:20.633" v="1275" actId="2696"/>
        <pc:sldMkLst>
          <pc:docMk/>
          <pc:sldMk cId="1631162692" sldId="1083"/>
        </pc:sldMkLst>
      </pc:sldChg>
      <pc:sldChg chg="addSp delSp modSp ord">
        <pc:chgData name="Gregory Fuller" userId="b63c1727-5d73-4e63-96f5-37726e61ed3d" providerId="ADAL" clId="{1F768DF2-6288-4A02-99AE-18C16124FC02}" dt="2018-12-05T02:41:23.636" v="1273" actId="2711"/>
        <pc:sldMkLst>
          <pc:docMk/>
          <pc:sldMk cId="193105062" sldId="4145"/>
        </pc:sldMkLst>
        <pc:spChg chg="mod">
          <ac:chgData name="Gregory Fuller" userId="b63c1727-5d73-4e63-96f5-37726e61ed3d" providerId="ADAL" clId="{1F768DF2-6288-4A02-99AE-18C16124FC02}" dt="2018-12-05T02:31:32.646" v="1168" actId="20577"/>
          <ac:spMkLst>
            <pc:docMk/>
            <pc:sldMk cId="193105062" sldId="4145"/>
            <ac:spMk id="5" creationId="{00000000-0000-0000-0000-000000000000}"/>
          </ac:spMkLst>
        </pc:spChg>
        <pc:spChg chg="del">
          <ac:chgData name="Gregory Fuller" userId="b63c1727-5d73-4e63-96f5-37726e61ed3d" providerId="ADAL" clId="{1F768DF2-6288-4A02-99AE-18C16124FC02}" dt="2018-12-05T02:31:37.442" v="1169" actId="478"/>
          <ac:spMkLst>
            <pc:docMk/>
            <pc:sldMk cId="193105062" sldId="4145"/>
            <ac:spMk id="10" creationId="{69574EF1-03FA-4C3F-BEA3-BE8190B1FCC9}"/>
          </ac:spMkLst>
        </pc:spChg>
        <pc:spChg chg="mod">
          <ac:chgData name="Gregory Fuller" userId="b63c1727-5d73-4e63-96f5-37726e61ed3d" providerId="ADAL" clId="{1F768DF2-6288-4A02-99AE-18C16124FC02}" dt="2018-12-05T02:41:23.636" v="1273" actId="2711"/>
          <ac:spMkLst>
            <pc:docMk/>
            <pc:sldMk cId="193105062" sldId="4145"/>
            <ac:spMk id="12" creationId="{F7FFF5F5-12B3-4056-9516-8C06313C82B9}"/>
          </ac:spMkLst>
        </pc:spChg>
        <pc:spChg chg="del">
          <ac:chgData name="Gregory Fuller" userId="b63c1727-5d73-4e63-96f5-37726e61ed3d" providerId="ADAL" clId="{1F768DF2-6288-4A02-99AE-18C16124FC02}" dt="2018-12-05T02:28:07.218" v="1105" actId="478"/>
          <ac:spMkLst>
            <pc:docMk/>
            <pc:sldMk cId="193105062" sldId="4145"/>
            <ac:spMk id="13" creationId="{2D9CA072-6CC0-4ADA-952F-ADB552DFA888}"/>
          </ac:spMkLst>
        </pc:spChg>
        <pc:spChg chg="del">
          <ac:chgData name="Gregory Fuller" userId="b63c1727-5d73-4e63-96f5-37726e61ed3d" providerId="ADAL" clId="{1F768DF2-6288-4A02-99AE-18C16124FC02}" dt="2018-12-05T02:28:07.218" v="1105" actId="478"/>
          <ac:spMkLst>
            <pc:docMk/>
            <pc:sldMk cId="193105062" sldId="4145"/>
            <ac:spMk id="14" creationId="{636729C8-4732-490C-8B5B-7D5A06140792}"/>
          </ac:spMkLst>
        </pc:spChg>
        <pc:spChg chg="del">
          <ac:chgData name="Gregory Fuller" userId="b63c1727-5d73-4e63-96f5-37726e61ed3d" providerId="ADAL" clId="{1F768DF2-6288-4A02-99AE-18C16124FC02}" dt="2018-12-05T02:28:07.218" v="1105" actId="478"/>
          <ac:spMkLst>
            <pc:docMk/>
            <pc:sldMk cId="193105062" sldId="4145"/>
            <ac:spMk id="15" creationId="{80C62074-1FB0-462B-AAD2-D1D07D5C5AFC}"/>
          </ac:spMkLst>
        </pc:spChg>
        <pc:graphicFrameChg chg="add del modGraphic">
          <ac:chgData name="Gregory Fuller" userId="b63c1727-5d73-4e63-96f5-37726e61ed3d" providerId="ADAL" clId="{1F768DF2-6288-4A02-99AE-18C16124FC02}" dt="2018-12-05T02:29:36.626" v="1123" actId="27309"/>
          <ac:graphicFrameMkLst>
            <pc:docMk/>
            <pc:sldMk cId="193105062" sldId="4145"/>
            <ac:graphicFrameMk id="3" creationId="{6EF1E994-648A-4503-A1DE-95713E73E398}"/>
          </ac:graphicFrameMkLst>
        </pc:graphicFrameChg>
      </pc:sldChg>
      <pc:sldChg chg="ord">
        <pc:chgData name="Gregory Fuller" userId="b63c1727-5d73-4e63-96f5-37726e61ed3d" providerId="ADAL" clId="{1F768DF2-6288-4A02-99AE-18C16124FC02}" dt="2018-12-05T18:29:07.667" v="3446"/>
        <pc:sldMkLst>
          <pc:docMk/>
          <pc:sldMk cId="845823551" sldId="4248"/>
        </pc:sldMkLst>
      </pc:sldChg>
      <pc:sldChg chg="ord">
        <pc:chgData name="Gregory Fuller" userId="b63c1727-5d73-4e63-96f5-37726e61ed3d" providerId="ADAL" clId="{1F768DF2-6288-4A02-99AE-18C16124FC02}" dt="2018-12-05T18:29:07.667" v="3446"/>
        <pc:sldMkLst>
          <pc:docMk/>
          <pc:sldMk cId="3270559089" sldId="4249"/>
        </pc:sldMkLst>
      </pc:sldChg>
      <pc:sldChg chg="ord">
        <pc:chgData name="Gregory Fuller" userId="b63c1727-5d73-4e63-96f5-37726e61ed3d" providerId="ADAL" clId="{1F768DF2-6288-4A02-99AE-18C16124FC02}" dt="2018-12-05T18:29:07.667" v="3446"/>
        <pc:sldMkLst>
          <pc:docMk/>
          <pc:sldMk cId="1016227454" sldId="4250"/>
        </pc:sldMkLst>
      </pc:sldChg>
      <pc:sldChg chg="modSp">
        <pc:chgData name="Gregory Fuller" userId="b63c1727-5d73-4e63-96f5-37726e61ed3d" providerId="ADAL" clId="{1F768DF2-6288-4A02-99AE-18C16124FC02}" dt="2018-12-05T03:09:39.369" v="1709" actId="20577"/>
        <pc:sldMkLst>
          <pc:docMk/>
          <pc:sldMk cId="3753167990" sldId="4251"/>
        </pc:sldMkLst>
        <pc:spChg chg="mod">
          <ac:chgData name="Gregory Fuller" userId="b63c1727-5d73-4e63-96f5-37726e61ed3d" providerId="ADAL" clId="{1F768DF2-6288-4A02-99AE-18C16124FC02}" dt="2018-12-05T03:08:36.552" v="1557" actId="20577"/>
          <ac:spMkLst>
            <pc:docMk/>
            <pc:sldMk cId="3753167990" sldId="4251"/>
            <ac:spMk id="4" creationId="{F7CE6A5E-F969-430B-9924-365BD38F08A4}"/>
          </ac:spMkLst>
        </pc:spChg>
        <pc:spChg chg="mod">
          <ac:chgData name="Gregory Fuller" userId="b63c1727-5d73-4e63-96f5-37726e61ed3d" providerId="ADAL" clId="{1F768DF2-6288-4A02-99AE-18C16124FC02}" dt="2018-12-05T03:07:59.023" v="1496" actId="20577"/>
          <ac:spMkLst>
            <pc:docMk/>
            <pc:sldMk cId="3753167990" sldId="4251"/>
            <ac:spMk id="5" creationId="{4C1D77DA-B27F-43DE-A0E5-816009DEF337}"/>
          </ac:spMkLst>
        </pc:spChg>
        <pc:spChg chg="mod">
          <ac:chgData name="Gregory Fuller" userId="b63c1727-5d73-4e63-96f5-37726e61ed3d" providerId="ADAL" clId="{1F768DF2-6288-4A02-99AE-18C16124FC02}" dt="2018-12-05T03:03:33.530" v="1368" actId="20577"/>
          <ac:spMkLst>
            <pc:docMk/>
            <pc:sldMk cId="3753167990" sldId="4251"/>
            <ac:spMk id="42" creationId="{C617B38B-F062-4080-A41D-3391167DCD80}"/>
          </ac:spMkLst>
        </pc:spChg>
        <pc:spChg chg="mod">
          <ac:chgData name="Gregory Fuller" userId="b63c1727-5d73-4e63-96f5-37726e61ed3d" providerId="ADAL" clId="{1F768DF2-6288-4A02-99AE-18C16124FC02}" dt="2018-12-05T03:09:39.369" v="1709" actId="20577"/>
          <ac:spMkLst>
            <pc:docMk/>
            <pc:sldMk cId="3753167990" sldId="4251"/>
            <ac:spMk id="43" creationId="{960D876B-E1E0-4366-B073-2B474573F928}"/>
          </ac:spMkLst>
        </pc:spChg>
      </pc:sldChg>
      <pc:sldChg chg="addSp delSp modSp">
        <pc:chgData name="Gregory Fuller" userId="b63c1727-5d73-4e63-96f5-37726e61ed3d" providerId="ADAL" clId="{1F768DF2-6288-4A02-99AE-18C16124FC02}" dt="2018-12-11T20:17:56.298" v="4805" actId="20577"/>
        <pc:sldMkLst>
          <pc:docMk/>
          <pc:sldMk cId="3146964108" sldId="4256"/>
        </pc:sldMkLst>
        <pc:spChg chg="mod topLvl">
          <ac:chgData name="Gregory Fuller" userId="b63c1727-5d73-4e63-96f5-37726e61ed3d" providerId="ADAL" clId="{1F768DF2-6288-4A02-99AE-18C16124FC02}" dt="2018-12-11T20:11:55.847" v="4398" actId="14100"/>
          <ac:spMkLst>
            <pc:docMk/>
            <pc:sldMk cId="3146964108" sldId="4256"/>
            <ac:spMk id="3" creationId="{5A69E429-F458-47AA-99D2-848EB58DD9D6}"/>
          </ac:spMkLst>
        </pc:spChg>
        <pc:spChg chg="add mod">
          <ac:chgData name="Gregory Fuller" userId="b63c1727-5d73-4e63-96f5-37726e61ed3d" providerId="ADAL" clId="{1F768DF2-6288-4A02-99AE-18C16124FC02}" dt="2018-12-11T20:16:47.613" v="4717" actId="13926"/>
          <ac:spMkLst>
            <pc:docMk/>
            <pc:sldMk cId="3146964108" sldId="4256"/>
            <ac:spMk id="4" creationId="{16A8CC57-BFFE-4937-ABA3-7FE82C039511}"/>
          </ac:spMkLst>
        </pc:spChg>
        <pc:spChg chg="mod">
          <ac:chgData name="Gregory Fuller" userId="b63c1727-5d73-4e63-96f5-37726e61ed3d" providerId="ADAL" clId="{1F768DF2-6288-4A02-99AE-18C16124FC02}" dt="2018-12-11T20:10:29.873" v="4372" actId="1076"/>
          <ac:spMkLst>
            <pc:docMk/>
            <pc:sldMk cId="3146964108" sldId="4256"/>
            <ac:spMk id="18" creationId="{10565816-FB16-4A4C-977F-14F2E5433641}"/>
          </ac:spMkLst>
        </pc:spChg>
        <pc:spChg chg="mod">
          <ac:chgData name="Gregory Fuller" userId="b63c1727-5d73-4e63-96f5-37726e61ed3d" providerId="ADAL" clId="{1F768DF2-6288-4A02-99AE-18C16124FC02}" dt="2018-12-11T20:10:29.873" v="4372" actId="1076"/>
          <ac:spMkLst>
            <pc:docMk/>
            <pc:sldMk cId="3146964108" sldId="4256"/>
            <ac:spMk id="26" creationId="{E25C45A2-346D-4106-ACBE-67FDC4B14DCD}"/>
          </ac:spMkLst>
        </pc:spChg>
        <pc:spChg chg="mod">
          <ac:chgData name="Gregory Fuller" userId="b63c1727-5d73-4e63-96f5-37726e61ed3d" providerId="ADAL" clId="{1F768DF2-6288-4A02-99AE-18C16124FC02}" dt="2018-12-11T20:10:29.873" v="4372" actId="1076"/>
          <ac:spMkLst>
            <pc:docMk/>
            <pc:sldMk cId="3146964108" sldId="4256"/>
            <ac:spMk id="27" creationId="{3D28665C-BECA-4DA6-81C1-52927D59D5C1}"/>
          </ac:spMkLst>
        </pc:spChg>
        <pc:spChg chg="mod">
          <ac:chgData name="Gregory Fuller" userId="b63c1727-5d73-4e63-96f5-37726e61ed3d" providerId="ADAL" clId="{1F768DF2-6288-4A02-99AE-18C16124FC02}" dt="2018-12-11T20:10:29.873" v="4372" actId="1076"/>
          <ac:spMkLst>
            <pc:docMk/>
            <pc:sldMk cId="3146964108" sldId="4256"/>
            <ac:spMk id="28" creationId="{1670E5CA-E52B-4604-89E5-26A5790748EA}"/>
          </ac:spMkLst>
        </pc:spChg>
        <pc:spChg chg="mod">
          <ac:chgData name="Gregory Fuller" userId="b63c1727-5d73-4e63-96f5-37726e61ed3d" providerId="ADAL" clId="{1F768DF2-6288-4A02-99AE-18C16124FC02}" dt="2018-12-11T20:10:29.873" v="4372" actId="1076"/>
          <ac:spMkLst>
            <pc:docMk/>
            <pc:sldMk cId="3146964108" sldId="4256"/>
            <ac:spMk id="29" creationId="{65AC649C-DA08-46C6-959F-1DE16BBDA53A}"/>
          </ac:spMkLst>
        </pc:spChg>
        <pc:spChg chg="mod">
          <ac:chgData name="Gregory Fuller" userId="b63c1727-5d73-4e63-96f5-37726e61ed3d" providerId="ADAL" clId="{1F768DF2-6288-4A02-99AE-18C16124FC02}" dt="2018-12-11T20:10:29.873" v="4372" actId="1076"/>
          <ac:spMkLst>
            <pc:docMk/>
            <pc:sldMk cId="3146964108" sldId="4256"/>
            <ac:spMk id="33" creationId="{EFECB64D-7877-4EC7-A0D9-9BC43FCEDD61}"/>
          </ac:spMkLst>
        </pc:spChg>
        <pc:spChg chg="mod">
          <ac:chgData name="Gregory Fuller" userId="b63c1727-5d73-4e63-96f5-37726e61ed3d" providerId="ADAL" clId="{1F768DF2-6288-4A02-99AE-18C16124FC02}" dt="2018-12-11T20:10:29.873" v="4372" actId="1076"/>
          <ac:spMkLst>
            <pc:docMk/>
            <pc:sldMk cId="3146964108" sldId="4256"/>
            <ac:spMk id="34" creationId="{DCEF9906-E7C4-4CA9-BEA8-D1E0289C5582}"/>
          </ac:spMkLst>
        </pc:spChg>
        <pc:spChg chg="mod">
          <ac:chgData name="Gregory Fuller" userId="b63c1727-5d73-4e63-96f5-37726e61ed3d" providerId="ADAL" clId="{1F768DF2-6288-4A02-99AE-18C16124FC02}" dt="2018-12-11T20:16:58.144" v="4719" actId="1076"/>
          <ac:spMkLst>
            <pc:docMk/>
            <pc:sldMk cId="3146964108" sldId="4256"/>
            <ac:spMk id="39" creationId="{2BBA87E5-1FC6-46AF-92B4-684C969D658C}"/>
          </ac:spMkLst>
        </pc:spChg>
        <pc:spChg chg="mod">
          <ac:chgData name="Gregory Fuller" userId="b63c1727-5d73-4e63-96f5-37726e61ed3d" providerId="ADAL" clId="{1F768DF2-6288-4A02-99AE-18C16124FC02}" dt="2018-12-11T20:12:26.340" v="4451" actId="20577"/>
          <ac:spMkLst>
            <pc:docMk/>
            <pc:sldMk cId="3146964108" sldId="4256"/>
            <ac:spMk id="40" creationId="{469D8807-8463-469D-8372-57AD1C0D3E88}"/>
          </ac:spMkLst>
        </pc:spChg>
        <pc:spChg chg="mod">
          <ac:chgData name="Gregory Fuller" userId="b63c1727-5d73-4e63-96f5-37726e61ed3d" providerId="ADAL" clId="{1F768DF2-6288-4A02-99AE-18C16124FC02}" dt="2018-12-11T20:10:29.873" v="4372" actId="1076"/>
          <ac:spMkLst>
            <pc:docMk/>
            <pc:sldMk cId="3146964108" sldId="4256"/>
            <ac:spMk id="42" creationId="{BF74E383-5AC5-4204-BC34-662BC556CF25}"/>
          </ac:spMkLst>
        </pc:spChg>
        <pc:spChg chg="mod topLvl">
          <ac:chgData name="Gregory Fuller" userId="b63c1727-5d73-4e63-96f5-37726e61ed3d" providerId="ADAL" clId="{1F768DF2-6288-4A02-99AE-18C16124FC02}" dt="2018-12-11T20:17:56.298" v="4805" actId="20577"/>
          <ac:spMkLst>
            <pc:docMk/>
            <pc:sldMk cId="3146964108" sldId="4256"/>
            <ac:spMk id="47" creationId="{42DB5A8B-F6A7-4CCE-BE64-C9C094C51BA9}"/>
          </ac:spMkLst>
        </pc:spChg>
        <pc:spChg chg="mod">
          <ac:chgData name="Gregory Fuller" userId="b63c1727-5d73-4e63-96f5-37726e61ed3d" providerId="ADAL" clId="{1F768DF2-6288-4A02-99AE-18C16124FC02}" dt="2018-12-11T20:10:29.873" v="4372" actId="1076"/>
          <ac:spMkLst>
            <pc:docMk/>
            <pc:sldMk cId="3146964108" sldId="4256"/>
            <ac:spMk id="57" creationId="{0833F378-50DA-4BC3-B358-D6317FB092A7}"/>
          </ac:spMkLst>
        </pc:spChg>
        <pc:spChg chg="mod">
          <ac:chgData name="Gregory Fuller" userId="b63c1727-5d73-4e63-96f5-37726e61ed3d" providerId="ADAL" clId="{1F768DF2-6288-4A02-99AE-18C16124FC02}" dt="2018-12-11T20:10:29.873" v="4372" actId="1076"/>
          <ac:spMkLst>
            <pc:docMk/>
            <pc:sldMk cId="3146964108" sldId="4256"/>
            <ac:spMk id="61" creationId="{BF8AB3AD-C649-441D-B5F7-477EBD23AF42}"/>
          </ac:spMkLst>
        </pc:spChg>
        <pc:spChg chg="mod">
          <ac:chgData name="Gregory Fuller" userId="b63c1727-5d73-4e63-96f5-37726e61ed3d" providerId="ADAL" clId="{1F768DF2-6288-4A02-99AE-18C16124FC02}" dt="2018-12-11T20:10:29.873" v="4372" actId="1076"/>
          <ac:spMkLst>
            <pc:docMk/>
            <pc:sldMk cId="3146964108" sldId="4256"/>
            <ac:spMk id="72" creationId="{9C17764F-EA5D-49F0-A4DB-DF2374CB63F5}"/>
          </ac:spMkLst>
        </pc:spChg>
        <pc:spChg chg="mod">
          <ac:chgData name="Gregory Fuller" userId="b63c1727-5d73-4e63-96f5-37726e61ed3d" providerId="ADAL" clId="{1F768DF2-6288-4A02-99AE-18C16124FC02}" dt="2018-12-11T20:10:29.873" v="4372" actId="1076"/>
          <ac:spMkLst>
            <pc:docMk/>
            <pc:sldMk cId="3146964108" sldId="4256"/>
            <ac:spMk id="111" creationId="{E5744810-87D4-4350-B383-29C66C8C239F}"/>
          </ac:spMkLst>
        </pc:spChg>
        <pc:spChg chg="mod">
          <ac:chgData name="Gregory Fuller" userId="b63c1727-5d73-4e63-96f5-37726e61ed3d" providerId="ADAL" clId="{1F768DF2-6288-4A02-99AE-18C16124FC02}" dt="2018-12-11T20:10:29.873" v="4372" actId="1076"/>
          <ac:spMkLst>
            <pc:docMk/>
            <pc:sldMk cId="3146964108" sldId="4256"/>
            <ac:spMk id="122" creationId="{B0022912-9830-422A-8CBE-D708D63AEE61}"/>
          </ac:spMkLst>
        </pc:spChg>
        <pc:spChg chg="mod">
          <ac:chgData name="Gregory Fuller" userId="b63c1727-5d73-4e63-96f5-37726e61ed3d" providerId="ADAL" clId="{1F768DF2-6288-4A02-99AE-18C16124FC02}" dt="2018-12-11T20:10:29.873" v="4372" actId="1076"/>
          <ac:spMkLst>
            <pc:docMk/>
            <pc:sldMk cId="3146964108" sldId="4256"/>
            <ac:spMk id="123" creationId="{8973C5A9-92F9-487A-AC93-0E8C3E69DEDD}"/>
          </ac:spMkLst>
        </pc:spChg>
        <pc:grpChg chg="add del mod">
          <ac:chgData name="Gregory Fuller" userId="b63c1727-5d73-4e63-96f5-37726e61ed3d" providerId="ADAL" clId="{1F768DF2-6288-4A02-99AE-18C16124FC02}" dt="2018-12-11T20:10:00.293" v="4365" actId="165"/>
          <ac:grpSpMkLst>
            <pc:docMk/>
            <pc:sldMk cId="3146964108" sldId="4256"/>
            <ac:grpSpMk id="2" creationId="{AC6F90A3-E3A6-45FA-9085-96FC9A9B93F1}"/>
          </ac:grpSpMkLst>
        </pc:grpChg>
        <pc:grpChg chg="mod">
          <ac:chgData name="Gregory Fuller" userId="b63c1727-5d73-4e63-96f5-37726e61ed3d" providerId="ADAL" clId="{1F768DF2-6288-4A02-99AE-18C16124FC02}" dt="2018-12-11T20:10:29.873" v="4372" actId="1076"/>
          <ac:grpSpMkLst>
            <pc:docMk/>
            <pc:sldMk cId="3146964108" sldId="4256"/>
            <ac:grpSpMk id="7" creationId="{782B65E9-BFEF-4F5F-9F4A-246D287AB288}"/>
          </ac:grpSpMkLst>
        </pc:grpChg>
        <pc:grpChg chg="mod">
          <ac:chgData name="Gregory Fuller" userId="b63c1727-5d73-4e63-96f5-37726e61ed3d" providerId="ADAL" clId="{1F768DF2-6288-4A02-99AE-18C16124FC02}" dt="2018-12-11T20:10:29.873" v="4372" actId="1076"/>
          <ac:grpSpMkLst>
            <pc:docMk/>
            <pc:sldMk cId="3146964108" sldId="4256"/>
            <ac:grpSpMk id="12" creationId="{8D77CADB-71BE-44A1-B255-5128A3B94055}"/>
          </ac:grpSpMkLst>
        </pc:grpChg>
        <pc:grpChg chg="mod">
          <ac:chgData name="Gregory Fuller" userId="b63c1727-5d73-4e63-96f5-37726e61ed3d" providerId="ADAL" clId="{1F768DF2-6288-4A02-99AE-18C16124FC02}" dt="2018-12-11T20:10:29.873" v="4372" actId="1076"/>
          <ac:grpSpMkLst>
            <pc:docMk/>
            <pc:sldMk cId="3146964108" sldId="4256"/>
            <ac:grpSpMk id="51" creationId="{7D8326EB-B130-464D-8807-CCD372BCC87C}"/>
          </ac:grpSpMkLst>
        </pc:grpChg>
        <pc:grpChg chg="mod">
          <ac:chgData name="Gregory Fuller" userId="b63c1727-5d73-4e63-96f5-37726e61ed3d" providerId="ADAL" clId="{1F768DF2-6288-4A02-99AE-18C16124FC02}" dt="2018-12-11T20:10:29.873" v="4372" actId="1076"/>
          <ac:grpSpMkLst>
            <pc:docMk/>
            <pc:sldMk cId="3146964108" sldId="4256"/>
            <ac:grpSpMk id="54" creationId="{7A287DD1-5783-4FAC-A9E6-E9F93C48E2EE}"/>
          </ac:grpSpMkLst>
        </pc:grpChg>
        <pc:cxnChg chg="mod">
          <ac:chgData name="Gregory Fuller" userId="b63c1727-5d73-4e63-96f5-37726e61ed3d" providerId="ADAL" clId="{1F768DF2-6288-4A02-99AE-18C16124FC02}" dt="2018-12-11T20:10:29.873" v="4372" actId="1076"/>
          <ac:cxnSpMkLst>
            <pc:docMk/>
            <pc:sldMk cId="3146964108" sldId="4256"/>
            <ac:cxnSpMk id="60" creationId="{0C985B03-A816-460F-82B0-BBC1FCAD2FD8}"/>
          </ac:cxnSpMkLst>
        </pc:cxnChg>
        <pc:cxnChg chg="mod">
          <ac:chgData name="Gregory Fuller" userId="b63c1727-5d73-4e63-96f5-37726e61ed3d" providerId="ADAL" clId="{1F768DF2-6288-4A02-99AE-18C16124FC02}" dt="2018-12-11T20:10:29.873" v="4372" actId="1076"/>
          <ac:cxnSpMkLst>
            <pc:docMk/>
            <pc:sldMk cId="3146964108" sldId="4256"/>
            <ac:cxnSpMk id="79" creationId="{4C3E52EF-8FE6-4BF1-8A42-8D864CE29F0F}"/>
          </ac:cxnSpMkLst>
        </pc:cxnChg>
        <pc:cxnChg chg="mod">
          <ac:chgData name="Gregory Fuller" userId="b63c1727-5d73-4e63-96f5-37726e61ed3d" providerId="ADAL" clId="{1F768DF2-6288-4A02-99AE-18C16124FC02}" dt="2018-12-11T20:10:29.873" v="4372" actId="1076"/>
          <ac:cxnSpMkLst>
            <pc:docMk/>
            <pc:sldMk cId="3146964108" sldId="4256"/>
            <ac:cxnSpMk id="108" creationId="{5ADACD7A-357C-4D8A-B1E6-606FEBD1CA64}"/>
          </ac:cxnSpMkLst>
        </pc:cxnChg>
      </pc:sldChg>
      <pc:sldChg chg="addSp modSp">
        <pc:chgData name="Gregory Fuller" userId="b63c1727-5d73-4e63-96f5-37726e61ed3d" providerId="ADAL" clId="{1F768DF2-6288-4A02-99AE-18C16124FC02}" dt="2018-12-11T20:21:51.911" v="5058" actId="1076"/>
        <pc:sldMkLst>
          <pc:docMk/>
          <pc:sldMk cId="846809997" sldId="4257"/>
        </pc:sldMkLst>
        <pc:spChg chg="mod">
          <ac:chgData name="Gregory Fuller" userId="b63c1727-5d73-4e63-96f5-37726e61ed3d" providerId="ADAL" clId="{1F768DF2-6288-4A02-99AE-18C16124FC02}" dt="2018-12-11T20:18:21.369" v="4808" actId="1076"/>
          <ac:spMkLst>
            <pc:docMk/>
            <pc:sldMk cId="846809997" sldId="4257"/>
            <ac:spMk id="5" creationId="{AA22A0B7-2C15-46B5-AE86-48B4D5B27978}"/>
          </ac:spMkLst>
        </pc:spChg>
        <pc:spChg chg="mod">
          <ac:chgData name="Gregory Fuller" userId="b63c1727-5d73-4e63-96f5-37726e61ed3d" providerId="ADAL" clId="{1F768DF2-6288-4A02-99AE-18C16124FC02}" dt="2018-12-11T20:18:21.369" v="4808" actId="1076"/>
          <ac:spMkLst>
            <pc:docMk/>
            <pc:sldMk cId="846809997" sldId="4257"/>
            <ac:spMk id="64" creationId="{E2440757-8E28-4581-AF54-FC0CE0FEE0A0}"/>
          </ac:spMkLst>
        </pc:spChg>
        <pc:spChg chg="mod">
          <ac:chgData name="Gregory Fuller" userId="b63c1727-5d73-4e63-96f5-37726e61ed3d" providerId="ADAL" clId="{1F768DF2-6288-4A02-99AE-18C16124FC02}" dt="2018-12-11T20:18:21.369" v="4808" actId="1076"/>
          <ac:spMkLst>
            <pc:docMk/>
            <pc:sldMk cId="846809997" sldId="4257"/>
            <ac:spMk id="66" creationId="{F947E75F-4CD5-4679-AD07-A53B64C1B9A2}"/>
          </ac:spMkLst>
        </pc:spChg>
        <pc:spChg chg="mod">
          <ac:chgData name="Gregory Fuller" userId="b63c1727-5d73-4e63-96f5-37726e61ed3d" providerId="ADAL" clId="{1F768DF2-6288-4A02-99AE-18C16124FC02}" dt="2018-12-11T20:18:21.369" v="4808" actId="1076"/>
          <ac:spMkLst>
            <pc:docMk/>
            <pc:sldMk cId="846809997" sldId="4257"/>
            <ac:spMk id="68" creationId="{71CA6BD3-275D-43E9-AA9D-A2A5071C07C1}"/>
          </ac:spMkLst>
        </pc:spChg>
        <pc:spChg chg="mod">
          <ac:chgData name="Gregory Fuller" userId="b63c1727-5d73-4e63-96f5-37726e61ed3d" providerId="ADAL" clId="{1F768DF2-6288-4A02-99AE-18C16124FC02}" dt="2018-12-11T20:18:21.369" v="4808" actId="1076"/>
          <ac:spMkLst>
            <pc:docMk/>
            <pc:sldMk cId="846809997" sldId="4257"/>
            <ac:spMk id="76" creationId="{20401B6A-37EF-437B-A16A-FB5DD4604D5D}"/>
          </ac:spMkLst>
        </pc:spChg>
        <pc:spChg chg="mod">
          <ac:chgData name="Gregory Fuller" userId="b63c1727-5d73-4e63-96f5-37726e61ed3d" providerId="ADAL" clId="{1F768DF2-6288-4A02-99AE-18C16124FC02}" dt="2018-12-11T20:18:21.369" v="4808" actId="1076"/>
          <ac:spMkLst>
            <pc:docMk/>
            <pc:sldMk cId="846809997" sldId="4257"/>
            <ac:spMk id="87" creationId="{90522928-43BB-4096-BFB3-6AEE50ACB34E}"/>
          </ac:spMkLst>
        </pc:spChg>
        <pc:spChg chg="mod">
          <ac:chgData name="Gregory Fuller" userId="b63c1727-5d73-4e63-96f5-37726e61ed3d" providerId="ADAL" clId="{1F768DF2-6288-4A02-99AE-18C16124FC02}" dt="2018-12-11T20:18:21.369" v="4808" actId="1076"/>
          <ac:spMkLst>
            <pc:docMk/>
            <pc:sldMk cId="846809997" sldId="4257"/>
            <ac:spMk id="88" creationId="{2373061B-492F-49AB-8F8E-8390EE7B45AA}"/>
          </ac:spMkLst>
        </pc:spChg>
        <pc:spChg chg="mod">
          <ac:chgData name="Gregory Fuller" userId="b63c1727-5d73-4e63-96f5-37726e61ed3d" providerId="ADAL" clId="{1F768DF2-6288-4A02-99AE-18C16124FC02}" dt="2018-12-11T20:18:21.369" v="4808" actId="1076"/>
          <ac:spMkLst>
            <pc:docMk/>
            <pc:sldMk cId="846809997" sldId="4257"/>
            <ac:spMk id="89" creationId="{31BB8666-2FE8-4BEB-8F85-AAAAA76715C7}"/>
          </ac:spMkLst>
        </pc:spChg>
        <pc:spChg chg="mod">
          <ac:chgData name="Gregory Fuller" userId="b63c1727-5d73-4e63-96f5-37726e61ed3d" providerId="ADAL" clId="{1F768DF2-6288-4A02-99AE-18C16124FC02}" dt="2018-12-11T20:18:21.369" v="4808" actId="1076"/>
          <ac:spMkLst>
            <pc:docMk/>
            <pc:sldMk cId="846809997" sldId="4257"/>
            <ac:spMk id="90" creationId="{72FAD1CA-EE31-4603-ACDE-3293859B5E7E}"/>
          </ac:spMkLst>
        </pc:spChg>
        <pc:spChg chg="mod">
          <ac:chgData name="Gregory Fuller" userId="b63c1727-5d73-4e63-96f5-37726e61ed3d" providerId="ADAL" clId="{1F768DF2-6288-4A02-99AE-18C16124FC02}" dt="2018-12-11T20:18:21.369" v="4808" actId="1076"/>
          <ac:spMkLst>
            <pc:docMk/>
            <pc:sldMk cId="846809997" sldId="4257"/>
            <ac:spMk id="91" creationId="{7CC4FACC-DD01-4C82-88DC-C2AE5F5878FA}"/>
          </ac:spMkLst>
        </pc:spChg>
        <pc:spChg chg="mod">
          <ac:chgData name="Gregory Fuller" userId="b63c1727-5d73-4e63-96f5-37726e61ed3d" providerId="ADAL" clId="{1F768DF2-6288-4A02-99AE-18C16124FC02}" dt="2018-12-11T20:21:08.874" v="5052" actId="403"/>
          <ac:spMkLst>
            <pc:docMk/>
            <pc:sldMk cId="846809997" sldId="4257"/>
            <ac:spMk id="93" creationId="{A392150F-1F98-4098-BDFB-F48CDA5309F7}"/>
          </ac:spMkLst>
        </pc:spChg>
        <pc:spChg chg="add mod">
          <ac:chgData name="Gregory Fuller" userId="b63c1727-5d73-4e63-96f5-37726e61ed3d" providerId="ADAL" clId="{1F768DF2-6288-4A02-99AE-18C16124FC02}" dt="2018-12-11T20:21:51.911" v="5058" actId="1076"/>
          <ac:spMkLst>
            <pc:docMk/>
            <pc:sldMk cId="846809997" sldId="4257"/>
            <ac:spMk id="98" creationId="{3D2695B9-B119-4C0B-A791-023D64FDD464}"/>
          </ac:spMkLst>
        </pc:spChg>
        <pc:spChg chg="mod">
          <ac:chgData name="Gregory Fuller" userId="b63c1727-5d73-4e63-96f5-37726e61ed3d" providerId="ADAL" clId="{1F768DF2-6288-4A02-99AE-18C16124FC02}" dt="2018-12-11T20:18:21.369" v="4808" actId="1076"/>
          <ac:spMkLst>
            <pc:docMk/>
            <pc:sldMk cId="846809997" sldId="4257"/>
            <ac:spMk id="99" creationId="{22502B6A-A7B0-4621-A248-9E4F15DD0533}"/>
          </ac:spMkLst>
        </pc:spChg>
        <pc:spChg chg="mod">
          <ac:chgData name="Gregory Fuller" userId="b63c1727-5d73-4e63-96f5-37726e61ed3d" providerId="ADAL" clId="{1F768DF2-6288-4A02-99AE-18C16124FC02}" dt="2018-12-11T20:18:21.369" v="4808" actId="1076"/>
          <ac:spMkLst>
            <pc:docMk/>
            <pc:sldMk cId="846809997" sldId="4257"/>
            <ac:spMk id="100" creationId="{E5A77D43-54C1-4AAD-899B-976F46B90C8E}"/>
          </ac:spMkLst>
        </pc:spChg>
        <pc:spChg chg="mod">
          <ac:chgData name="Gregory Fuller" userId="b63c1727-5d73-4e63-96f5-37726e61ed3d" providerId="ADAL" clId="{1F768DF2-6288-4A02-99AE-18C16124FC02}" dt="2018-12-11T20:18:21.369" v="4808" actId="1076"/>
          <ac:spMkLst>
            <pc:docMk/>
            <pc:sldMk cId="846809997" sldId="4257"/>
            <ac:spMk id="101" creationId="{079E97B0-68C3-4C54-94D8-32DDB4A5FC5A}"/>
          </ac:spMkLst>
        </pc:spChg>
        <pc:spChg chg="mod">
          <ac:chgData name="Gregory Fuller" userId="b63c1727-5d73-4e63-96f5-37726e61ed3d" providerId="ADAL" clId="{1F768DF2-6288-4A02-99AE-18C16124FC02}" dt="2018-12-11T20:18:21.369" v="4808" actId="1076"/>
          <ac:spMkLst>
            <pc:docMk/>
            <pc:sldMk cId="846809997" sldId="4257"/>
            <ac:spMk id="116" creationId="{1C3C23FD-4961-49AC-9DDE-1277F37D282C}"/>
          </ac:spMkLst>
        </pc:spChg>
        <pc:spChg chg="mod">
          <ac:chgData name="Gregory Fuller" userId="b63c1727-5d73-4e63-96f5-37726e61ed3d" providerId="ADAL" clId="{1F768DF2-6288-4A02-99AE-18C16124FC02}" dt="2018-12-11T20:21:36.381" v="5056" actId="20577"/>
          <ac:spMkLst>
            <pc:docMk/>
            <pc:sldMk cId="846809997" sldId="4257"/>
            <ac:spMk id="117" creationId="{FC7FEADE-2005-4DBA-8F2F-03A66DA0A4A2}"/>
          </ac:spMkLst>
        </pc:spChg>
        <pc:spChg chg="mod">
          <ac:chgData name="Gregory Fuller" userId="b63c1727-5d73-4e63-96f5-37726e61ed3d" providerId="ADAL" clId="{1F768DF2-6288-4A02-99AE-18C16124FC02}" dt="2018-12-11T20:18:21.369" v="4808" actId="1076"/>
          <ac:spMkLst>
            <pc:docMk/>
            <pc:sldMk cId="846809997" sldId="4257"/>
            <ac:spMk id="120" creationId="{A7196E14-18F7-44AD-BA2D-54956083C6B5}"/>
          </ac:spMkLst>
        </pc:spChg>
        <pc:spChg chg="mod">
          <ac:chgData name="Gregory Fuller" userId="b63c1727-5d73-4e63-96f5-37726e61ed3d" providerId="ADAL" clId="{1F768DF2-6288-4A02-99AE-18C16124FC02}" dt="2018-12-11T20:18:21.369" v="4808" actId="1076"/>
          <ac:spMkLst>
            <pc:docMk/>
            <pc:sldMk cId="846809997" sldId="4257"/>
            <ac:spMk id="121" creationId="{B8C40BD9-4D1A-4924-A3C6-3A6E6035D6D6}"/>
          </ac:spMkLst>
        </pc:spChg>
        <pc:spChg chg="mod">
          <ac:chgData name="Gregory Fuller" userId="b63c1727-5d73-4e63-96f5-37726e61ed3d" providerId="ADAL" clId="{1F768DF2-6288-4A02-99AE-18C16124FC02}" dt="2018-12-11T20:18:21.369" v="4808" actId="1076"/>
          <ac:spMkLst>
            <pc:docMk/>
            <pc:sldMk cId="846809997" sldId="4257"/>
            <ac:spMk id="122" creationId="{FAF0E99C-BDD6-4519-80EF-F052D4321048}"/>
          </ac:spMkLst>
        </pc:spChg>
        <pc:spChg chg="mod">
          <ac:chgData name="Gregory Fuller" userId="b63c1727-5d73-4e63-96f5-37726e61ed3d" providerId="ADAL" clId="{1F768DF2-6288-4A02-99AE-18C16124FC02}" dt="2018-12-11T20:18:21.369" v="4808" actId="1076"/>
          <ac:spMkLst>
            <pc:docMk/>
            <pc:sldMk cId="846809997" sldId="4257"/>
            <ac:spMk id="123" creationId="{47B978FA-F592-42F3-BF7A-60D6D265F7E0}"/>
          </ac:spMkLst>
        </pc:spChg>
        <pc:spChg chg="mod">
          <ac:chgData name="Gregory Fuller" userId="b63c1727-5d73-4e63-96f5-37726e61ed3d" providerId="ADAL" clId="{1F768DF2-6288-4A02-99AE-18C16124FC02}" dt="2018-12-11T20:18:21.369" v="4808" actId="1076"/>
          <ac:spMkLst>
            <pc:docMk/>
            <pc:sldMk cId="846809997" sldId="4257"/>
            <ac:spMk id="124" creationId="{2827C86D-91A3-4A79-8C7C-7C3142680401}"/>
          </ac:spMkLst>
        </pc:spChg>
        <pc:spChg chg="mod">
          <ac:chgData name="Gregory Fuller" userId="b63c1727-5d73-4e63-96f5-37726e61ed3d" providerId="ADAL" clId="{1F768DF2-6288-4A02-99AE-18C16124FC02}" dt="2018-12-11T20:18:21.369" v="4808" actId="1076"/>
          <ac:spMkLst>
            <pc:docMk/>
            <pc:sldMk cId="846809997" sldId="4257"/>
            <ac:spMk id="126" creationId="{C3A4F5AB-B01B-48D5-83DF-56A2AFD6B846}"/>
          </ac:spMkLst>
        </pc:spChg>
        <pc:spChg chg="mod">
          <ac:chgData name="Gregory Fuller" userId="b63c1727-5d73-4e63-96f5-37726e61ed3d" providerId="ADAL" clId="{1F768DF2-6288-4A02-99AE-18C16124FC02}" dt="2018-12-11T20:18:21.369" v="4808" actId="1076"/>
          <ac:spMkLst>
            <pc:docMk/>
            <pc:sldMk cId="846809997" sldId="4257"/>
            <ac:spMk id="137" creationId="{2C3CE09D-EC89-4E69-9C11-6211C9BBE573}"/>
          </ac:spMkLst>
        </pc:spChg>
        <pc:spChg chg="mod">
          <ac:chgData name="Gregory Fuller" userId="b63c1727-5d73-4e63-96f5-37726e61ed3d" providerId="ADAL" clId="{1F768DF2-6288-4A02-99AE-18C16124FC02}" dt="2018-12-11T20:18:21.369" v="4808" actId="1076"/>
          <ac:spMkLst>
            <pc:docMk/>
            <pc:sldMk cId="846809997" sldId="4257"/>
            <ac:spMk id="138" creationId="{F7E61273-6D24-4748-A06B-2BE76A79ECBF}"/>
          </ac:spMkLst>
        </pc:spChg>
        <pc:spChg chg="mod">
          <ac:chgData name="Gregory Fuller" userId="b63c1727-5d73-4e63-96f5-37726e61ed3d" providerId="ADAL" clId="{1F768DF2-6288-4A02-99AE-18C16124FC02}" dt="2018-12-11T20:18:21.369" v="4808" actId="1076"/>
          <ac:spMkLst>
            <pc:docMk/>
            <pc:sldMk cId="846809997" sldId="4257"/>
            <ac:spMk id="139" creationId="{F45F84E5-FD89-4306-8569-644971C247C6}"/>
          </ac:spMkLst>
        </pc:spChg>
        <pc:spChg chg="mod">
          <ac:chgData name="Gregory Fuller" userId="b63c1727-5d73-4e63-96f5-37726e61ed3d" providerId="ADAL" clId="{1F768DF2-6288-4A02-99AE-18C16124FC02}" dt="2018-12-11T20:18:21.369" v="4808" actId="1076"/>
          <ac:spMkLst>
            <pc:docMk/>
            <pc:sldMk cId="846809997" sldId="4257"/>
            <ac:spMk id="140" creationId="{78C9D5D5-400E-480D-B174-1BE30925D3D1}"/>
          </ac:spMkLst>
        </pc:spChg>
        <pc:spChg chg="mod">
          <ac:chgData name="Gregory Fuller" userId="b63c1727-5d73-4e63-96f5-37726e61ed3d" providerId="ADAL" clId="{1F768DF2-6288-4A02-99AE-18C16124FC02}" dt="2018-12-11T20:18:21.369" v="4808" actId="1076"/>
          <ac:spMkLst>
            <pc:docMk/>
            <pc:sldMk cId="846809997" sldId="4257"/>
            <ac:spMk id="141" creationId="{FB586A50-CCAC-4A8E-9BB3-860FD1C39700}"/>
          </ac:spMkLst>
        </pc:spChg>
        <pc:spChg chg="mod">
          <ac:chgData name="Gregory Fuller" userId="b63c1727-5d73-4e63-96f5-37726e61ed3d" providerId="ADAL" clId="{1F768DF2-6288-4A02-99AE-18C16124FC02}" dt="2018-12-11T20:18:21.369" v="4808" actId="1076"/>
          <ac:spMkLst>
            <pc:docMk/>
            <pc:sldMk cId="846809997" sldId="4257"/>
            <ac:spMk id="142" creationId="{4A5D5D7D-0D62-47CB-B82A-F8A7A537133D}"/>
          </ac:spMkLst>
        </pc:spChg>
        <pc:grpChg chg="mod">
          <ac:chgData name="Gregory Fuller" userId="b63c1727-5d73-4e63-96f5-37726e61ed3d" providerId="ADAL" clId="{1F768DF2-6288-4A02-99AE-18C16124FC02}" dt="2018-12-11T20:18:21.369" v="4808" actId="1076"/>
          <ac:grpSpMkLst>
            <pc:docMk/>
            <pc:sldMk cId="846809997" sldId="4257"/>
            <ac:grpSpMk id="3" creationId="{96CB6DB1-4DDF-4EEB-B537-2C9ED51AF1D8}"/>
          </ac:grpSpMkLst>
        </pc:grpChg>
        <pc:grpChg chg="mod">
          <ac:chgData name="Gregory Fuller" userId="b63c1727-5d73-4e63-96f5-37726e61ed3d" providerId="ADAL" clId="{1F768DF2-6288-4A02-99AE-18C16124FC02}" dt="2018-12-11T20:18:21.369" v="4808" actId="1076"/>
          <ac:grpSpMkLst>
            <pc:docMk/>
            <pc:sldMk cId="846809997" sldId="4257"/>
            <ac:grpSpMk id="79" creationId="{482CD4B1-C160-4904-9FFB-1412B7B24F4B}"/>
          </ac:grpSpMkLst>
        </pc:grpChg>
        <pc:grpChg chg="mod">
          <ac:chgData name="Gregory Fuller" userId="b63c1727-5d73-4e63-96f5-37726e61ed3d" providerId="ADAL" clId="{1F768DF2-6288-4A02-99AE-18C16124FC02}" dt="2018-12-11T20:18:21.369" v="4808" actId="1076"/>
          <ac:grpSpMkLst>
            <pc:docMk/>
            <pc:sldMk cId="846809997" sldId="4257"/>
            <ac:grpSpMk id="96" creationId="{2235E2CF-2B42-4F80-8AF4-6F4B3800D639}"/>
          </ac:grpSpMkLst>
        </pc:grpChg>
        <pc:grpChg chg="mod">
          <ac:chgData name="Gregory Fuller" userId="b63c1727-5d73-4e63-96f5-37726e61ed3d" providerId="ADAL" clId="{1F768DF2-6288-4A02-99AE-18C16124FC02}" dt="2018-12-11T20:18:21.369" v="4808" actId="1076"/>
          <ac:grpSpMkLst>
            <pc:docMk/>
            <pc:sldMk cId="846809997" sldId="4257"/>
            <ac:grpSpMk id="102" creationId="{1E32154A-D75A-4A5E-ABA6-ABC3D7861F7B}"/>
          </ac:grpSpMkLst>
        </pc:grpChg>
        <pc:grpChg chg="mod">
          <ac:chgData name="Gregory Fuller" userId="b63c1727-5d73-4e63-96f5-37726e61ed3d" providerId="ADAL" clId="{1F768DF2-6288-4A02-99AE-18C16124FC02}" dt="2018-12-11T20:18:21.369" v="4808" actId="1076"/>
          <ac:grpSpMkLst>
            <pc:docMk/>
            <pc:sldMk cId="846809997" sldId="4257"/>
            <ac:grpSpMk id="105" creationId="{ED1FDDA5-36CE-4FA4-BCB9-2E8BF847F523}"/>
          </ac:grpSpMkLst>
        </pc:grpChg>
        <pc:grpChg chg="mod">
          <ac:chgData name="Gregory Fuller" userId="b63c1727-5d73-4e63-96f5-37726e61ed3d" providerId="ADAL" clId="{1F768DF2-6288-4A02-99AE-18C16124FC02}" dt="2018-12-11T20:18:21.369" v="4808" actId="1076"/>
          <ac:grpSpMkLst>
            <pc:docMk/>
            <pc:sldMk cId="846809997" sldId="4257"/>
            <ac:grpSpMk id="109" creationId="{8CC19325-3C8D-4BAC-A669-D43810874882}"/>
          </ac:grpSpMkLst>
        </pc:grpChg>
        <pc:grpChg chg="mod">
          <ac:chgData name="Gregory Fuller" userId="b63c1727-5d73-4e63-96f5-37726e61ed3d" providerId="ADAL" clId="{1F768DF2-6288-4A02-99AE-18C16124FC02}" dt="2018-12-11T20:18:21.369" v="4808" actId="1076"/>
          <ac:grpSpMkLst>
            <pc:docMk/>
            <pc:sldMk cId="846809997" sldId="4257"/>
            <ac:grpSpMk id="149" creationId="{1FA3E931-E467-481B-9BD5-BE8262BA502E}"/>
          </ac:grpSpMkLst>
        </pc:grpChg>
        <pc:grpChg chg="mod">
          <ac:chgData name="Gregory Fuller" userId="b63c1727-5d73-4e63-96f5-37726e61ed3d" providerId="ADAL" clId="{1F768DF2-6288-4A02-99AE-18C16124FC02}" dt="2018-12-11T20:18:21.369" v="4808" actId="1076"/>
          <ac:grpSpMkLst>
            <pc:docMk/>
            <pc:sldMk cId="846809997" sldId="4257"/>
            <ac:grpSpMk id="158" creationId="{77238AA8-AB25-4699-9124-30BA3735CBB7}"/>
          </ac:grpSpMkLst>
        </pc:grpChg>
        <pc:grpChg chg="mod">
          <ac:chgData name="Gregory Fuller" userId="b63c1727-5d73-4e63-96f5-37726e61ed3d" providerId="ADAL" clId="{1F768DF2-6288-4A02-99AE-18C16124FC02}" dt="2018-12-11T20:18:21.369" v="4808" actId="1076"/>
          <ac:grpSpMkLst>
            <pc:docMk/>
            <pc:sldMk cId="846809997" sldId="4257"/>
            <ac:grpSpMk id="161" creationId="{0CC6A9C4-F800-413D-8F83-B9714806AFD8}"/>
          </ac:grpSpMkLst>
        </pc:grpChg>
        <pc:grpChg chg="mod">
          <ac:chgData name="Gregory Fuller" userId="b63c1727-5d73-4e63-96f5-37726e61ed3d" providerId="ADAL" clId="{1F768DF2-6288-4A02-99AE-18C16124FC02}" dt="2018-12-11T20:18:21.369" v="4808" actId="1076"/>
          <ac:grpSpMkLst>
            <pc:docMk/>
            <pc:sldMk cId="846809997" sldId="4257"/>
            <ac:grpSpMk id="165" creationId="{688D12D8-7CBA-423C-8031-36268CBD0F8B}"/>
          </ac:grpSpMkLst>
        </pc:grpChg>
        <pc:cxnChg chg="mod">
          <ac:chgData name="Gregory Fuller" userId="b63c1727-5d73-4e63-96f5-37726e61ed3d" providerId="ADAL" clId="{1F768DF2-6288-4A02-99AE-18C16124FC02}" dt="2018-12-11T20:18:21.369" v="4808" actId="1076"/>
          <ac:cxnSpMkLst>
            <pc:docMk/>
            <pc:sldMk cId="846809997" sldId="4257"/>
            <ac:cxnSpMk id="63" creationId="{07F91532-CA1C-4FE0-845C-1FA4640D8E4A}"/>
          </ac:cxnSpMkLst>
        </pc:cxnChg>
        <pc:cxnChg chg="mod">
          <ac:chgData name="Gregory Fuller" userId="b63c1727-5d73-4e63-96f5-37726e61ed3d" providerId="ADAL" clId="{1F768DF2-6288-4A02-99AE-18C16124FC02}" dt="2018-12-11T20:18:21.369" v="4808" actId="1076"/>
          <ac:cxnSpMkLst>
            <pc:docMk/>
            <pc:sldMk cId="846809997" sldId="4257"/>
            <ac:cxnSpMk id="65" creationId="{7B1BA4D0-DE7B-411B-8772-BAD368B5CC76}"/>
          </ac:cxnSpMkLst>
        </pc:cxnChg>
        <pc:cxnChg chg="mod">
          <ac:chgData name="Gregory Fuller" userId="b63c1727-5d73-4e63-96f5-37726e61ed3d" providerId="ADAL" clId="{1F768DF2-6288-4A02-99AE-18C16124FC02}" dt="2018-12-11T20:18:21.369" v="4808" actId="1076"/>
          <ac:cxnSpMkLst>
            <pc:docMk/>
            <pc:sldMk cId="846809997" sldId="4257"/>
            <ac:cxnSpMk id="67" creationId="{A37639FD-B83F-4BD4-81BF-775627572889}"/>
          </ac:cxnSpMkLst>
        </pc:cxnChg>
        <pc:cxnChg chg="mod">
          <ac:chgData name="Gregory Fuller" userId="b63c1727-5d73-4e63-96f5-37726e61ed3d" providerId="ADAL" clId="{1F768DF2-6288-4A02-99AE-18C16124FC02}" dt="2018-12-11T20:18:21.369" v="4808" actId="1076"/>
          <ac:cxnSpMkLst>
            <pc:docMk/>
            <pc:sldMk cId="846809997" sldId="4257"/>
            <ac:cxnSpMk id="92" creationId="{30B4BECD-62D4-43F4-AA0D-B20416BE8642}"/>
          </ac:cxnSpMkLst>
        </pc:cxnChg>
        <pc:cxnChg chg="mod">
          <ac:chgData name="Gregory Fuller" userId="b63c1727-5d73-4e63-96f5-37726e61ed3d" providerId="ADAL" clId="{1F768DF2-6288-4A02-99AE-18C16124FC02}" dt="2018-12-11T20:18:21.369" v="4808" actId="1076"/>
          <ac:cxnSpMkLst>
            <pc:docMk/>
            <pc:sldMk cId="846809997" sldId="4257"/>
            <ac:cxnSpMk id="94" creationId="{7BED7369-0EF2-4CC3-BFB5-85D8C7F64D47}"/>
          </ac:cxnSpMkLst>
        </pc:cxnChg>
        <pc:cxnChg chg="mod">
          <ac:chgData name="Gregory Fuller" userId="b63c1727-5d73-4e63-96f5-37726e61ed3d" providerId="ADAL" clId="{1F768DF2-6288-4A02-99AE-18C16124FC02}" dt="2018-12-11T20:18:21.369" v="4808" actId="1076"/>
          <ac:cxnSpMkLst>
            <pc:docMk/>
            <pc:sldMk cId="846809997" sldId="4257"/>
            <ac:cxnSpMk id="114" creationId="{577E518F-822D-44E9-A06C-FC74F8FC9CDC}"/>
          </ac:cxnSpMkLst>
        </pc:cxnChg>
      </pc:sldChg>
      <pc:sldChg chg="addSp modSp">
        <pc:chgData name="Gregory Fuller" userId="b63c1727-5d73-4e63-96f5-37726e61ed3d" providerId="ADAL" clId="{1F768DF2-6288-4A02-99AE-18C16124FC02}" dt="2018-12-11T20:53:31.312" v="5603"/>
        <pc:sldMkLst>
          <pc:docMk/>
          <pc:sldMk cId="3265313685" sldId="4258"/>
        </pc:sldMkLst>
        <pc:spChg chg="mod">
          <ac:chgData name="Gregory Fuller" userId="b63c1727-5d73-4e63-96f5-37726e61ed3d" providerId="ADAL" clId="{1F768DF2-6288-4A02-99AE-18C16124FC02}" dt="2018-12-11T20:48:44.128" v="5273" actId="1076"/>
          <ac:spMkLst>
            <pc:docMk/>
            <pc:sldMk cId="3265313685" sldId="4258"/>
            <ac:spMk id="41" creationId="{A2C93E83-7E59-4518-BAAA-F7CA635AD5DA}"/>
          </ac:spMkLst>
        </pc:spChg>
        <pc:spChg chg="mod">
          <ac:chgData name="Gregory Fuller" userId="b63c1727-5d73-4e63-96f5-37726e61ed3d" providerId="ADAL" clId="{1F768DF2-6288-4A02-99AE-18C16124FC02}" dt="2018-12-11T20:48:44.128" v="5273" actId="1076"/>
          <ac:spMkLst>
            <pc:docMk/>
            <pc:sldMk cId="3265313685" sldId="4258"/>
            <ac:spMk id="45" creationId="{3BE1B88C-D7A4-4A64-9C6E-F6ED8DABE833}"/>
          </ac:spMkLst>
        </pc:spChg>
        <pc:spChg chg="mod">
          <ac:chgData name="Gregory Fuller" userId="b63c1727-5d73-4e63-96f5-37726e61ed3d" providerId="ADAL" clId="{1F768DF2-6288-4A02-99AE-18C16124FC02}" dt="2018-12-11T20:48:44.128" v="5273" actId="1076"/>
          <ac:spMkLst>
            <pc:docMk/>
            <pc:sldMk cId="3265313685" sldId="4258"/>
            <ac:spMk id="51" creationId="{C1BC870E-B6B2-4079-9696-4B497EC90BB9}"/>
          </ac:spMkLst>
        </pc:spChg>
        <pc:spChg chg="mod">
          <ac:chgData name="Gregory Fuller" userId="b63c1727-5d73-4e63-96f5-37726e61ed3d" providerId="ADAL" clId="{1F768DF2-6288-4A02-99AE-18C16124FC02}" dt="2018-12-11T20:48:44.128" v="5273" actId="1076"/>
          <ac:spMkLst>
            <pc:docMk/>
            <pc:sldMk cId="3265313685" sldId="4258"/>
            <ac:spMk id="52" creationId="{C1F10919-6558-4C80-9F5C-9A596C41E594}"/>
          </ac:spMkLst>
        </pc:spChg>
        <pc:spChg chg="mod">
          <ac:chgData name="Gregory Fuller" userId="b63c1727-5d73-4e63-96f5-37726e61ed3d" providerId="ADAL" clId="{1F768DF2-6288-4A02-99AE-18C16124FC02}" dt="2018-12-11T20:48:44.128" v="5273" actId="1076"/>
          <ac:spMkLst>
            <pc:docMk/>
            <pc:sldMk cId="3265313685" sldId="4258"/>
            <ac:spMk id="55" creationId="{C6402DF8-EF6E-4AC0-8447-BFE03A013F5A}"/>
          </ac:spMkLst>
        </pc:spChg>
        <pc:spChg chg="mod">
          <ac:chgData name="Gregory Fuller" userId="b63c1727-5d73-4e63-96f5-37726e61ed3d" providerId="ADAL" clId="{1F768DF2-6288-4A02-99AE-18C16124FC02}" dt="2018-12-11T20:48:44.128" v="5273" actId="1076"/>
          <ac:spMkLst>
            <pc:docMk/>
            <pc:sldMk cId="3265313685" sldId="4258"/>
            <ac:spMk id="56" creationId="{113564D5-1CE7-4149-9E0C-44BA2ADDCFD8}"/>
          </ac:spMkLst>
        </pc:spChg>
        <pc:spChg chg="mod">
          <ac:chgData name="Gregory Fuller" userId="b63c1727-5d73-4e63-96f5-37726e61ed3d" providerId="ADAL" clId="{1F768DF2-6288-4A02-99AE-18C16124FC02}" dt="2018-12-11T20:48:44.128" v="5273" actId="1076"/>
          <ac:spMkLst>
            <pc:docMk/>
            <pc:sldMk cId="3265313685" sldId="4258"/>
            <ac:spMk id="57" creationId="{2F745640-7176-4C71-B6E0-124544F14471}"/>
          </ac:spMkLst>
        </pc:spChg>
        <pc:spChg chg="mod">
          <ac:chgData name="Gregory Fuller" userId="b63c1727-5d73-4e63-96f5-37726e61ed3d" providerId="ADAL" clId="{1F768DF2-6288-4A02-99AE-18C16124FC02}" dt="2018-12-11T20:48:44.128" v="5273" actId="1076"/>
          <ac:spMkLst>
            <pc:docMk/>
            <pc:sldMk cId="3265313685" sldId="4258"/>
            <ac:spMk id="61" creationId="{EA1722E7-245F-456E-BC4B-82CF2C4FFD9F}"/>
          </ac:spMkLst>
        </pc:spChg>
        <pc:spChg chg="mod">
          <ac:chgData name="Gregory Fuller" userId="b63c1727-5d73-4e63-96f5-37726e61ed3d" providerId="ADAL" clId="{1F768DF2-6288-4A02-99AE-18C16124FC02}" dt="2018-12-11T20:48:44.128" v="5273" actId="1076"/>
          <ac:spMkLst>
            <pc:docMk/>
            <pc:sldMk cId="3265313685" sldId="4258"/>
            <ac:spMk id="64" creationId="{01F43370-93B1-445B-A5B6-4C128485C179}"/>
          </ac:spMkLst>
        </pc:spChg>
        <pc:spChg chg="mod">
          <ac:chgData name="Gregory Fuller" userId="b63c1727-5d73-4e63-96f5-37726e61ed3d" providerId="ADAL" clId="{1F768DF2-6288-4A02-99AE-18C16124FC02}" dt="2018-12-11T20:48:44.128" v="5273" actId="1076"/>
          <ac:spMkLst>
            <pc:docMk/>
            <pc:sldMk cId="3265313685" sldId="4258"/>
            <ac:spMk id="65" creationId="{7000DC81-06B1-4EDE-9344-D4B9D5ECAE90}"/>
          </ac:spMkLst>
        </pc:spChg>
        <pc:spChg chg="mod">
          <ac:chgData name="Gregory Fuller" userId="b63c1727-5d73-4e63-96f5-37726e61ed3d" providerId="ADAL" clId="{1F768DF2-6288-4A02-99AE-18C16124FC02}" dt="2018-12-11T20:48:44.128" v="5273" actId="1076"/>
          <ac:spMkLst>
            <pc:docMk/>
            <pc:sldMk cId="3265313685" sldId="4258"/>
            <ac:spMk id="69" creationId="{DF8025B3-E8C3-4AE3-BF73-212178EF97ED}"/>
          </ac:spMkLst>
        </pc:spChg>
        <pc:spChg chg="mod">
          <ac:chgData name="Gregory Fuller" userId="b63c1727-5d73-4e63-96f5-37726e61ed3d" providerId="ADAL" clId="{1F768DF2-6288-4A02-99AE-18C16124FC02}" dt="2018-12-11T20:48:44.128" v="5273" actId="1076"/>
          <ac:spMkLst>
            <pc:docMk/>
            <pc:sldMk cId="3265313685" sldId="4258"/>
            <ac:spMk id="71" creationId="{DD69C1E6-8305-47D8-9158-FF36D12701C2}"/>
          </ac:spMkLst>
        </pc:spChg>
        <pc:spChg chg="mod">
          <ac:chgData name="Gregory Fuller" userId="b63c1727-5d73-4e63-96f5-37726e61ed3d" providerId="ADAL" clId="{1F768DF2-6288-4A02-99AE-18C16124FC02}" dt="2018-12-11T20:48:44.128" v="5273" actId="1076"/>
          <ac:spMkLst>
            <pc:docMk/>
            <pc:sldMk cId="3265313685" sldId="4258"/>
            <ac:spMk id="74" creationId="{98CB56EF-AE43-4E65-A538-D02958690B36}"/>
          </ac:spMkLst>
        </pc:spChg>
        <pc:spChg chg="mod">
          <ac:chgData name="Gregory Fuller" userId="b63c1727-5d73-4e63-96f5-37726e61ed3d" providerId="ADAL" clId="{1F768DF2-6288-4A02-99AE-18C16124FC02}" dt="2018-12-11T20:48:44.128" v="5273" actId="1076"/>
          <ac:spMkLst>
            <pc:docMk/>
            <pc:sldMk cId="3265313685" sldId="4258"/>
            <ac:spMk id="75" creationId="{5E86040C-BE7C-4339-88B0-D6DF149B3796}"/>
          </ac:spMkLst>
        </pc:spChg>
        <pc:spChg chg="mod">
          <ac:chgData name="Gregory Fuller" userId="b63c1727-5d73-4e63-96f5-37726e61ed3d" providerId="ADAL" clId="{1F768DF2-6288-4A02-99AE-18C16124FC02}" dt="2018-12-11T20:48:44.128" v="5273" actId="1076"/>
          <ac:spMkLst>
            <pc:docMk/>
            <pc:sldMk cId="3265313685" sldId="4258"/>
            <ac:spMk id="76" creationId="{C31E4AAE-ECE8-4E31-AE61-9819DAB8DA70}"/>
          </ac:spMkLst>
        </pc:spChg>
        <pc:spChg chg="mod">
          <ac:chgData name="Gregory Fuller" userId="b63c1727-5d73-4e63-96f5-37726e61ed3d" providerId="ADAL" clId="{1F768DF2-6288-4A02-99AE-18C16124FC02}" dt="2018-12-11T20:48:44.128" v="5273" actId="1076"/>
          <ac:spMkLst>
            <pc:docMk/>
            <pc:sldMk cId="3265313685" sldId="4258"/>
            <ac:spMk id="78" creationId="{30B9F247-8FA3-49DB-A04E-CCEC28858491}"/>
          </ac:spMkLst>
        </pc:spChg>
        <pc:spChg chg="mod">
          <ac:chgData name="Gregory Fuller" userId="b63c1727-5d73-4e63-96f5-37726e61ed3d" providerId="ADAL" clId="{1F768DF2-6288-4A02-99AE-18C16124FC02}" dt="2018-12-11T20:48:44.128" v="5273" actId="1076"/>
          <ac:spMkLst>
            <pc:docMk/>
            <pc:sldMk cId="3265313685" sldId="4258"/>
            <ac:spMk id="79" creationId="{C18B8357-A033-4F1E-A35C-A40AA95BDB5C}"/>
          </ac:spMkLst>
        </pc:spChg>
        <pc:spChg chg="mod">
          <ac:chgData name="Gregory Fuller" userId="b63c1727-5d73-4e63-96f5-37726e61ed3d" providerId="ADAL" clId="{1F768DF2-6288-4A02-99AE-18C16124FC02}" dt="2018-12-11T20:48:44.128" v="5273" actId="1076"/>
          <ac:spMkLst>
            <pc:docMk/>
            <pc:sldMk cId="3265313685" sldId="4258"/>
            <ac:spMk id="80" creationId="{03C1DB04-C24E-49AE-8A76-F17ECC0EE0B7}"/>
          </ac:spMkLst>
        </pc:spChg>
        <pc:spChg chg="mod">
          <ac:chgData name="Gregory Fuller" userId="b63c1727-5d73-4e63-96f5-37726e61ed3d" providerId="ADAL" clId="{1F768DF2-6288-4A02-99AE-18C16124FC02}" dt="2018-12-11T20:48:44.128" v="5273" actId="1076"/>
          <ac:spMkLst>
            <pc:docMk/>
            <pc:sldMk cId="3265313685" sldId="4258"/>
            <ac:spMk id="84" creationId="{9D5ED302-31E6-4300-A8EA-7A6FDC55BFC1}"/>
          </ac:spMkLst>
        </pc:spChg>
        <pc:spChg chg="mod">
          <ac:chgData name="Gregory Fuller" userId="b63c1727-5d73-4e63-96f5-37726e61ed3d" providerId="ADAL" clId="{1F768DF2-6288-4A02-99AE-18C16124FC02}" dt="2018-12-11T20:48:44.128" v="5273" actId="1076"/>
          <ac:spMkLst>
            <pc:docMk/>
            <pc:sldMk cId="3265313685" sldId="4258"/>
            <ac:spMk id="88" creationId="{4FEA7318-77BD-4D45-90F1-67C3C8D2267F}"/>
          </ac:spMkLst>
        </pc:spChg>
        <pc:spChg chg="mod">
          <ac:chgData name="Gregory Fuller" userId="b63c1727-5d73-4e63-96f5-37726e61ed3d" providerId="ADAL" clId="{1F768DF2-6288-4A02-99AE-18C16124FC02}" dt="2018-12-11T20:48:44.128" v="5273" actId="1076"/>
          <ac:spMkLst>
            <pc:docMk/>
            <pc:sldMk cId="3265313685" sldId="4258"/>
            <ac:spMk id="94" creationId="{9BE1700C-C375-4D29-8496-99E41387F3C5}"/>
          </ac:spMkLst>
        </pc:spChg>
        <pc:spChg chg="mod">
          <ac:chgData name="Gregory Fuller" userId="b63c1727-5d73-4e63-96f5-37726e61ed3d" providerId="ADAL" clId="{1F768DF2-6288-4A02-99AE-18C16124FC02}" dt="2018-12-11T20:48:44.128" v="5273" actId="1076"/>
          <ac:spMkLst>
            <pc:docMk/>
            <pc:sldMk cId="3265313685" sldId="4258"/>
            <ac:spMk id="95" creationId="{C1F49FFF-5164-4C92-A086-6DD899DC6C63}"/>
          </ac:spMkLst>
        </pc:spChg>
        <pc:spChg chg="mod">
          <ac:chgData name="Gregory Fuller" userId="b63c1727-5d73-4e63-96f5-37726e61ed3d" providerId="ADAL" clId="{1F768DF2-6288-4A02-99AE-18C16124FC02}" dt="2018-12-11T20:52:38.442" v="5452" actId="14100"/>
          <ac:spMkLst>
            <pc:docMk/>
            <pc:sldMk cId="3265313685" sldId="4258"/>
            <ac:spMk id="96" creationId="{F845BF8A-F9E5-41D5-AF52-1FD5366F9EDB}"/>
          </ac:spMkLst>
        </pc:spChg>
        <pc:spChg chg="mod">
          <ac:chgData name="Gregory Fuller" userId="b63c1727-5d73-4e63-96f5-37726e61ed3d" providerId="ADAL" clId="{1F768DF2-6288-4A02-99AE-18C16124FC02}" dt="2018-12-11T20:53:22.622" v="5602" actId="20577"/>
          <ac:spMkLst>
            <pc:docMk/>
            <pc:sldMk cId="3265313685" sldId="4258"/>
            <ac:spMk id="105" creationId="{3A8B42BF-2718-4E4A-8F3D-399C6040D3D8}"/>
          </ac:spMkLst>
        </pc:spChg>
        <pc:spChg chg="mod">
          <ac:chgData name="Gregory Fuller" userId="b63c1727-5d73-4e63-96f5-37726e61ed3d" providerId="ADAL" clId="{1F768DF2-6288-4A02-99AE-18C16124FC02}" dt="2018-12-11T20:48:44.128" v="5273" actId="1076"/>
          <ac:spMkLst>
            <pc:docMk/>
            <pc:sldMk cId="3265313685" sldId="4258"/>
            <ac:spMk id="106" creationId="{7F3C0C30-2DD6-4F21-A8B1-16FAA550460E}"/>
          </ac:spMkLst>
        </pc:spChg>
        <pc:spChg chg="mod">
          <ac:chgData name="Gregory Fuller" userId="b63c1727-5d73-4e63-96f5-37726e61ed3d" providerId="ADAL" clId="{1F768DF2-6288-4A02-99AE-18C16124FC02}" dt="2018-12-11T20:48:44.128" v="5273" actId="1076"/>
          <ac:spMkLst>
            <pc:docMk/>
            <pc:sldMk cId="3265313685" sldId="4258"/>
            <ac:spMk id="107" creationId="{DF723443-3228-4099-AE0F-FF2949DC1D5E}"/>
          </ac:spMkLst>
        </pc:spChg>
        <pc:spChg chg="add">
          <ac:chgData name="Gregory Fuller" userId="b63c1727-5d73-4e63-96f5-37726e61ed3d" providerId="ADAL" clId="{1F768DF2-6288-4A02-99AE-18C16124FC02}" dt="2018-12-11T20:53:31.312" v="5603"/>
          <ac:spMkLst>
            <pc:docMk/>
            <pc:sldMk cId="3265313685" sldId="4258"/>
            <ac:spMk id="108" creationId="{495FACC1-564B-4C69-9FF1-ECF16F5293A3}"/>
          </ac:spMkLst>
        </pc:spChg>
        <pc:spChg chg="mod">
          <ac:chgData name="Gregory Fuller" userId="b63c1727-5d73-4e63-96f5-37726e61ed3d" providerId="ADAL" clId="{1F768DF2-6288-4A02-99AE-18C16124FC02}" dt="2018-12-11T20:48:44.128" v="5273" actId="1076"/>
          <ac:spMkLst>
            <pc:docMk/>
            <pc:sldMk cId="3265313685" sldId="4258"/>
            <ac:spMk id="110" creationId="{431BC550-6A35-4006-9D37-FDE4F50A8389}"/>
          </ac:spMkLst>
        </pc:spChg>
        <pc:spChg chg="mod">
          <ac:chgData name="Gregory Fuller" userId="b63c1727-5d73-4e63-96f5-37726e61ed3d" providerId="ADAL" clId="{1F768DF2-6288-4A02-99AE-18C16124FC02}" dt="2018-12-11T20:48:44.128" v="5273" actId="1076"/>
          <ac:spMkLst>
            <pc:docMk/>
            <pc:sldMk cId="3265313685" sldId="4258"/>
            <ac:spMk id="114" creationId="{366582FE-AD38-4541-B333-D3846528D5C3}"/>
          </ac:spMkLst>
        </pc:spChg>
        <pc:spChg chg="mod">
          <ac:chgData name="Gregory Fuller" userId="b63c1727-5d73-4e63-96f5-37726e61ed3d" providerId="ADAL" clId="{1F768DF2-6288-4A02-99AE-18C16124FC02}" dt="2018-12-11T20:48:44.128" v="5273" actId="1076"/>
          <ac:spMkLst>
            <pc:docMk/>
            <pc:sldMk cId="3265313685" sldId="4258"/>
            <ac:spMk id="128" creationId="{7414689C-3365-4AEB-BF7A-C537D0076146}"/>
          </ac:spMkLst>
        </pc:spChg>
        <pc:spChg chg="mod">
          <ac:chgData name="Gregory Fuller" userId="b63c1727-5d73-4e63-96f5-37726e61ed3d" providerId="ADAL" clId="{1F768DF2-6288-4A02-99AE-18C16124FC02}" dt="2018-12-11T20:48:44.128" v="5273" actId="1076"/>
          <ac:spMkLst>
            <pc:docMk/>
            <pc:sldMk cId="3265313685" sldId="4258"/>
            <ac:spMk id="165" creationId="{89236C1F-4C49-4095-84C5-701AE353CBD9}"/>
          </ac:spMkLst>
        </pc:spChg>
        <pc:spChg chg="mod">
          <ac:chgData name="Gregory Fuller" userId="b63c1727-5d73-4e63-96f5-37726e61ed3d" providerId="ADAL" clId="{1F768DF2-6288-4A02-99AE-18C16124FC02}" dt="2018-12-11T20:48:44.128" v="5273" actId="1076"/>
          <ac:spMkLst>
            <pc:docMk/>
            <pc:sldMk cId="3265313685" sldId="4258"/>
            <ac:spMk id="184" creationId="{4F485C99-2D0D-40B3-A5B0-849E60008C06}"/>
          </ac:spMkLst>
        </pc:spChg>
        <pc:grpChg chg="mod">
          <ac:chgData name="Gregory Fuller" userId="b63c1727-5d73-4e63-96f5-37726e61ed3d" providerId="ADAL" clId="{1F768DF2-6288-4A02-99AE-18C16124FC02}" dt="2018-12-11T20:48:44.128" v="5273" actId="1076"/>
          <ac:grpSpMkLst>
            <pc:docMk/>
            <pc:sldMk cId="3265313685" sldId="4258"/>
            <ac:grpSpMk id="6" creationId="{A0FE78EA-CF6B-4BD6-9AAE-1AF915947A22}"/>
          </ac:grpSpMkLst>
        </pc:grpChg>
        <pc:grpChg chg="mod">
          <ac:chgData name="Gregory Fuller" userId="b63c1727-5d73-4e63-96f5-37726e61ed3d" providerId="ADAL" clId="{1F768DF2-6288-4A02-99AE-18C16124FC02}" dt="2018-12-11T20:48:44.128" v="5273" actId="1076"/>
          <ac:grpSpMkLst>
            <pc:docMk/>
            <pc:sldMk cId="3265313685" sldId="4258"/>
            <ac:grpSpMk id="9" creationId="{39F2B108-BA8E-4BA0-A9F6-5AC7962AF0DD}"/>
          </ac:grpSpMkLst>
        </pc:grpChg>
        <pc:grpChg chg="mod">
          <ac:chgData name="Gregory Fuller" userId="b63c1727-5d73-4e63-96f5-37726e61ed3d" providerId="ADAL" clId="{1F768DF2-6288-4A02-99AE-18C16124FC02}" dt="2018-12-11T20:50:29.781" v="5283" actId="1076"/>
          <ac:grpSpMkLst>
            <pc:docMk/>
            <pc:sldMk cId="3265313685" sldId="4258"/>
            <ac:grpSpMk id="47" creationId="{ECCEE77F-A311-4B42-AA0F-F7A61D6E37EA}"/>
          </ac:grpSpMkLst>
        </pc:grpChg>
        <pc:grpChg chg="mod">
          <ac:chgData name="Gregory Fuller" userId="b63c1727-5d73-4e63-96f5-37726e61ed3d" providerId="ADAL" clId="{1F768DF2-6288-4A02-99AE-18C16124FC02}" dt="2018-12-11T20:48:44.128" v="5273" actId="1076"/>
          <ac:grpSpMkLst>
            <pc:docMk/>
            <pc:sldMk cId="3265313685" sldId="4258"/>
            <ac:grpSpMk id="66" creationId="{F89BBAC6-38A4-47B1-B62E-DF73BF21E98B}"/>
          </ac:grpSpMkLst>
        </pc:grpChg>
        <pc:grpChg chg="mod">
          <ac:chgData name="Gregory Fuller" userId="b63c1727-5d73-4e63-96f5-37726e61ed3d" providerId="ADAL" clId="{1F768DF2-6288-4A02-99AE-18C16124FC02}" dt="2018-12-11T20:48:44.128" v="5273" actId="1076"/>
          <ac:grpSpMkLst>
            <pc:docMk/>
            <pc:sldMk cId="3265313685" sldId="4258"/>
            <ac:grpSpMk id="98" creationId="{F021F200-298E-4BFA-BB26-B5C1A3999F9D}"/>
          </ac:grpSpMkLst>
        </pc:grpChg>
        <pc:grpChg chg="mod">
          <ac:chgData name="Gregory Fuller" userId="b63c1727-5d73-4e63-96f5-37726e61ed3d" providerId="ADAL" clId="{1F768DF2-6288-4A02-99AE-18C16124FC02}" dt="2018-12-11T20:48:44.128" v="5273" actId="1076"/>
          <ac:grpSpMkLst>
            <pc:docMk/>
            <pc:sldMk cId="3265313685" sldId="4258"/>
            <ac:grpSpMk id="115" creationId="{D941AFA3-F0F5-405A-82D1-8E24EE144ECC}"/>
          </ac:grpSpMkLst>
        </pc:grpChg>
        <pc:grpChg chg="mod">
          <ac:chgData name="Gregory Fuller" userId="b63c1727-5d73-4e63-96f5-37726e61ed3d" providerId="ADAL" clId="{1F768DF2-6288-4A02-99AE-18C16124FC02}" dt="2018-12-11T20:48:44.128" v="5273" actId="1076"/>
          <ac:grpSpMkLst>
            <pc:docMk/>
            <pc:sldMk cId="3265313685" sldId="4258"/>
            <ac:grpSpMk id="148" creationId="{47BE9848-423A-4176-9946-BD4486FA720E}"/>
          </ac:grpSpMkLst>
        </pc:grpChg>
        <pc:grpChg chg="mod">
          <ac:chgData name="Gregory Fuller" userId="b63c1727-5d73-4e63-96f5-37726e61ed3d" providerId="ADAL" clId="{1F768DF2-6288-4A02-99AE-18C16124FC02}" dt="2018-12-11T20:48:44.128" v="5273" actId="1076"/>
          <ac:grpSpMkLst>
            <pc:docMk/>
            <pc:sldMk cId="3265313685" sldId="4258"/>
            <ac:grpSpMk id="154" creationId="{CB7CAADF-7DF3-41AA-BA62-0490FF39F80F}"/>
          </ac:grpSpMkLst>
        </pc:grpChg>
        <pc:grpChg chg="mod">
          <ac:chgData name="Gregory Fuller" userId="b63c1727-5d73-4e63-96f5-37726e61ed3d" providerId="ADAL" clId="{1F768DF2-6288-4A02-99AE-18C16124FC02}" dt="2018-12-11T20:48:44.128" v="5273" actId="1076"/>
          <ac:grpSpMkLst>
            <pc:docMk/>
            <pc:sldMk cId="3265313685" sldId="4258"/>
            <ac:grpSpMk id="185" creationId="{ACD7DA0F-ECA5-4789-A030-6A2EC2647CA9}"/>
          </ac:grpSpMkLst>
        </pc:grpChg>
        <pc:cxnChg chg="mod">
          <ac:chgData name="Gregory Fuller" userId="b63c1727-5d73-4e63-96f5-37726e61ed3d" providerId="ADAL" clId="{1F768DF2-6288-4A02-99AE-18C16124FC02}" dt="2018-12-11T20:48:44.128" v="5273" actId="1076"/>
          <ac:cxnSpMkLst>
            <pc:docMk/>
            <pc:sldMk cId="3265313685" sldId="4258"/>
            <ac:cxnSpMk id="17" creationId="{83B76D60-7C03-4A86-8AAD-49274C49D108}"/>
          </ac:cxnSpMkLst>
        </pc:cxnChg>
        <pc:cxnChg chg="mod">
          <ac:chgData name="Gregory Fuller" userId="b63c1727-5d73-4e63-96f5-37726e61ed3d" providerId="ADAL" clId="{1F768DF2-6288-4A02-99AE-18C16124FC02}" dt="2018-12-11T20:48:44.128" v="5273" actId="1076"/>
          <ac:cxnSpMkLst>
            <pc:docMk/>
            <pc:sldMk cId="3265313685" sldId="4258"/>
            <ac:cxnSpMk id="28" creationId="{E874EC07-7154-4C4C-A720-DBDF8546E937}"/>
          </ac:cxnSpMkLst>
        </pc:cxnChg>
        <pc:cxnChg chg="mod">
          <ac:chgData name="Gregory Fuller" userId="b63c1727-5d73-4e63-96f5-37726e61ed3d" providerId="ADAL" clId="{1F768DF2-6288-4A02-99AE-18C16124FC02}" dt="2018-12-11T20:48:44.128" v="5273" actId="1076"/>
          <ac:cxnSpMkLst>
            <pc:docMk/>
            <pc:sldMk cId="3265313685" sldId="4258"/>
            <ac:cxnSpMk id="53" creationId="{595EEA1C-7177-4489-8D33-4871947A4AD8}"/>
          </ac:cxnSpMkLst>
        </pc:cxnChg>
        <pc:cxnChg chg="mod">
          <ac:chgData name="Gregory Fuller" userId="b63c1727-5d73-4e63-96f5-37726e61ed3d" providerId="ADAL" clId="{1F768DF2-6288-4A02-99AE-18C16124FC02}" dt="2018-12-11T20:48:44.128" v="5273" actId="1076"/>
          <ac:cxnSpMkLst>
            <pc:docMk/>
            <pc:sldMk cId="3265313685" sldId="4258"/>
            <ac:cxnSpMk id="54" creationId="{D6A16437-C9CB-42B1-8E44-E3003F72CEE5}"/>
          </ac:cxnSpMkLst>
        </pc:cxnChg>
        <pc:cxnChg chg="mod">
          <ac:chgData name="Gregory Fuller" userId="b63c1727-5d73-4e63-96f5-37726e61ed3d" providerId="ADAL" clId="{1F768DF2-6288-4A02-99AE-18C16124FC02}" dt="2018-12-11T20:48:44.128" v="5273" actId="1076"/>
          <ac:cxnSpMkLst>
            <pc:docMk/>
            <pc:sldMk cId="3265313685" sldId="4258"/>
            <ac:cxnSpMk id="62" creationId="{488F99B4-E204-47CB-B40A-E990A871F940}"/>
          </ac:cxnSpMkLst>
        </pc:cxnChg>
        <pc:cxnChg chg="mod">
          <ac:chgData name="Gregory Fuller" userId="b63c1727-5d73-4e63-96f5-37726e61ed3d" providerId="ADAL" clId="{1F768DF2-6288-4A02-99AE-18C16124FC02}" dt="2018-12-11T20:48:44.128" v="5273" actId="1076"/>
          <ac:cxnSpMkLst>
            <pc:docMk/>
            <pc:sldMk cId="3265313685" sldId="4258"/>
            <ac:cxnSpMk id="77" creationId="{080755E6-BBFF-407D-BC3A-65F94349ED75}"/>
          </ac:cxnSpMkLst>
        </pc:cxnChg>
        <pc:cxnChg chg="mod">
          <ac:chgData name="Gregory Fuller" userId="b63c1727-5d73-4e63-96f5-37726e61ed3d" providerId="ADAL" clId="{1F768DF2-6288-4A02-99AE-18C16124FC02}" dt="2018-12-11T20:48:44.128" v="5273" actId="1076"/>
          <ac:cxnSpMkLst>
            <pc:docMk/>
            <pc:sldMk cId="3265313685" sldId="4258"/>
            <ac:cxnSpMk id="127" creationId="{A8C8310B-61BE-450B-8FA4-ACA0BA283EA4}"/>
          </ac:cxnSpMkLst>
        </pc:cxnChg>
      </pc:sldChg>
      <pc:sldChg chg="addSp modSp">
        <pc:chgData name="Gregory Fuller" userId="b63c1727-5d73-4e63-96f5-37726e61ed3d" providerId="ADAL" clId="{1F768DF2-6288-4A02-99AE-18C16124FC02}" dt="2018-12-11T20:46:01.964" v="5248"/>
        <pc:sldMkLst>
          <pc:docMk/>
          <pc:sldMk cId="1637786780" sldId="4259"/>
        </pc:sldMkLst>
        <pc:spChg chg="mod">
          <ac:chgData name="Gregory Fuller" userId="b63c1727-5d73-4e63-96f5-37726e61ed3d" providerId="ADAL" clId="{1F768DF2-6288-4A02-99AE-18C16124FC02}" dt="2018-12-11T20:44:38.623" v="5201" actId="1076"/>
          <ac:spMkLst>
            <pc:docMk/>
            <pc:sldMk cId="1637786780" sldId="4259"/>
            <ac:spMk id="50" creationId="{40CB5054-9971-4771-BDCF-382BB855B8F4}"/>
          </ac:spMkLst>
        </pc:spChg>
        <pc:spChg chg="mod">
          <ac:chgData name="Gregory Fuller" userId="b63c1727-5d73-4e63-96f5-37726e61ed3d" providerId="ADAL" clId="{1F768DF2-6288-4A02-99AE-18C16124FC02}" dt="2018-12-11T20:22:37.035" v="5061" actId="1076"/>
          <ac:spMkLst>
            <pc:docMk/>
            <pc:sldMk cId="1637786780" sldId="4259"/>
            <ac:spMk id="60" creationId="{A6ECE84E-1480-4C6A-B304-1B41808ED282}"/>
          </ac:spMkLst>
        </pc:spChg>
        <pc:spChg chg="mod">
          <ac:chgData name="Gregory Fuller" userId="b63c1727-5d73-4e63-96f5-37726e61ed3d" providerId="ADAL" clId="{1F768DF2-6288-4A02-99AE-18C16124FC02}" dt="2018-12-11T20:22:37.035" v="5061" actId="1076"/>
          <ac:spMkLst>
            <pc:docMk/>
            <pc:sldMk cId="1637786780" sldId="4259"/>
            <ac:spMk id="61" creationId="{4666497F-2655-4487-9236-04CA72DC4E0F}"/>
          </ac:spMkLst>
        </pc:spChg>
        <pc:spChg chg="mod">
          <ac:chgData name="Gregory Fuller" userId="b63c1727-5d73-4e63-96f5-37726e61ed3d" providerId="ADAL" clId="{1F768DF2-6288-4A02-99AE-18C16124FC02}" dt="2018-12-11T20:22:37.035" v="5061" actId="1076"/>
          <ac:spMkLst>
            <pc:docMk/>
            <pc:sldMk cId="1637786780" sldId="4259"/>
            <ac:spMk id="62" creationId="{A355334C-AF90-41D8-A40A-B1263CC92912}"/>
          </ac:spMkLst>
        </pc:spChg>
        <pc:spChg chg="mod">
          <ac:chgData name="Gregory Fuller" userId="b63c1727-5d73-4e63-96f5-37726e61ed3d" providerId="ADAL" clId="{1F768DF2-6288-4A02-99AE-18C16124FC02}" dt="2018-12-11T20:22:37.035" v="5061" actId="1076"/>
          <ac:spMkLst>
            <pc:docMk/>
            <pc:sldMk cId="1637786780" sldId="4259"/>
            <ac:spMk id="63" creationId="{1F3EEF6D-FBCC-45CA-BF85-473CD69AC202}"/>
          </ac:spMkLst>
        </pc:spChg>
        <pc:spChg chg="mod">
          <ac:chgData name="Gregory Fuller" userId="b63c1727-5d73-4e63-96f5-37726e61ed3d" providerId="ADAL" clId="{1F768DF2-6288-4A02-99AE-18C16124FC02}" dt="2018-12-11T20:22:37.035" v="5061" actId="1076"/>
          <ac:spMkLst>
            <pc:docMk/>
            <pc:sldMk cId="1637786780" sldId="4259"/>
            <ac:spMk id="64" creationId="{EE471911-842B-458F-833B-4029879F8353}"/>
          </ac:spMkLst>
        </pc:spChg>
        <pc:spChg chg="mod">
          <ac:chgData name="Gregory Fuller" userId="b63c1727-5d73-4e63-96f5-37726e61ed3d" providerId="ADAL" clId="{1F768DF2-6288-4A02-99AE-18C16124FC02}" dt="2018-12-11T20:22:37.035" v="5061" actId="1076"/>
          <ac:spMkLst>
            <pc:docMk/>
            <pc:sldMk cId="1637786780" sldId="4259"/>
            <ac:spMk id="65" creationId="{2D46BBDC-2C92-462C-8E4D-227866246225}"/>
          </ac:spMkLst>
        </pc:spChg>
        <pc:spChg chg="mod">
          <ac:chgData name="Gregory Fuller" userId="b63c1727-5d73-4e63-96f5-37726e61ed3d" providerId="ADAL" clId="{1F768DF2-6288-4A02-99AE-18C16124FC02}" dt="2018-12-11T20:22:37.035" v="5061" actId="1076"/>
          <ac:spMkLst>
            <pc:docMk/>
            <pc:sldMk cId="1637786780" sldId="4259"/>
            <ac:spMk id="66" creationId="{63E85F5A-BF89-41F0-9C97-6B14DE5F0AF5}"/>
          </ac:spMkLst>
        </pc:spChg>
        <pc:spChg chg="mod">
          <ac:chgData name="Gregory Fuller" userId="b63c1727-5d73-4e63-96f5-37726e61ed3d" providerId="ADAL" clId="{1F768DF2-6288-4A02-99AE-18C16124FC02}" dt="2018-12-11T20:22:37.035" v="5061" actId="1076"/>
          <ac:spMkLst>
            <pc:docMk/>
            <pc:sldMk cId="1637786780" sldId="4259"/>
            <ac:spMk id="67" creationId="{A69025D0-14CE-4D51-B6AD-BCDD2099B686}"/>
          </ac:spMkLst>
        </pc:spChg>
        <pc:spChg chg="mod">
          <ac:chgData name="Gregory Fuller" userId="b63c1727-5d73-4e63-96f5-37726e61ed3d" providerId="ADAL" clId="{1F768DF2-6288-4A02-99AE-18C16124FC02}" dt="2018-12-11T20:22:37.035" v="5061" actId="1076"/>
          <ac:spMkLst>
            <pc:docMk/>
            <pc:sldMk cId="1637786780" sldId="4259"/>
            <ac:spMk id="68" creationId="{AEBA10DB-0054-4A50-A319-977EB3182CAC}"/>
          </ac:spMkLst>
        </pc:spChg>
        <pc:spChg chg="mod">
          <ac:chgData name="Gregory Fuller" userId="b63c1727-5d73-4e63-96f5-37726e61ed3d" providerId="ADAL" clId="{1F768DF2-6288-4A02-99AE-18C16124FC02}" dt="2018-12-11T20:22:37.035" v="5061" actId="1076"/>
          <ac:spMkLst>
            <pc:docMk/>
            <pc:sldMk cId="1637786780" sldId="4259"/>
            <ac:spMk id="69" creationId="{497F3552-9E64-44C4-A0EC-B7F7BAF03773}"/>
          </ac:spMkLst>
        </pc:spChg>
        <pc:spChg chg="mod">
          <ac:chgData name="Gregory Fuller" userId="b63c1727-5d73-4e63-96f5-37726e61ed3d" providerId="ADAL" clId="{1F768DF2-6288-4A02-99AE-18C16124FC02}" dt="2018-12-11T20:22:37.035" v="5061" actId="1076"/>
          <ac:spMkLst>
            <pc:docMk/>
            <pc:sldMk cId="1637786780" sldId="4259"/>
            <ac:spMk id="79" creationId="{31751157-80F4-40BA-A879-145B2F14F966}"/>
          </ac:spMkLst>
        </pc:spChg>
        <pc:spChg chg="mod">
          <ac:chgData name="Gregory Fuller" userId="b63c1727-5d73-4e63-96f5-37726e61ed3d" providerId="ADAL" clId="{1F768DF2-6288-4A02-99AE-18C16124FC02}" dt="2018-12-11T20:22:37.035" v="5061" actId="1076"/>
          <ac:spMkLst>
            <pc:docMk/>
            <pc:sldMk cId="1637786780" sldId="4259"/>
            <ac:spMk id="80" creationId="{F24F5709-273C-4C7B-9322-8DE41374781B}"/>
          </ac:spMkLst>
        </pc:spChg>
        <pc:spChg chg="mod">
          <ac:chgData name="Gregory Fuller" userId="b63c1727-5d73-4e63-96f5-37726e61ed3d" providerId="ADAL" clId="{1F768DF2-6288-4A02-99AE-18C16124FC02}" dt="2018-12-11T20:22:37.035" v="5061" actId="1076"/>
          <ac:spMkLst>
            <pc:docMk/>
            <pc:sldMk cId="1637786780" sldId="4259"/>
            <ac:spMk id="90" creationId="{4E7C443D-1B34-45C3-81E3-90EBB3715FB6}"/>
          </ac:spMkLst>
        </pc:spChg>
        <pc:spChg chg="mod">
          <ac:chgData name="Gregory Fuller" userId="b63c1727-5d73-4e63-96f5-37726e61ed3d" providerId="ADAL" clId="{1F768DF2-6288-4A02-99AE-18C16124FC02}" dt="2018-12-11T20:22:37.035" v="5061" actId="1076"/>
          <ac:spMkLst>
            <pc:docMk/>
            <pc:sldMk cId="1637786780" sldId="4259"/>
            <ac:spMk id="91" creationId="{C9E093F2-11C1-4CA3-AA58-3C15083AE704}"/>
          </ac:spMkLst>
        </pc:spChg>
        <pc:spChg chg="mod">
          <ac:chgData name="Gregory Fuller" userId="b63c1727-5d73-4e63-96f5-37726e61ed3d" providerId="ADAL" clId="{1F768DF2-6288-4A02-99AE-18C16124FC02}" dt="2018-12-11T20:44:46.901" v="5203" actId="14100"/>
          <ac:spMkLst>
            <pc:docMk/>
            <pc:sldMk cId="1637786780" sldId="4259"/>
            <ac:spMk id="92" creationId="{20C2E6E0-12E4-4B10-954C-CB9AFFC019CD}"/>
          </ac:spMkLst>
        </pc:spChg>
        <pc:spChg chg="add">
          <ac:chgData name="Gregory Fuller" userId="b63c1727-5d73-4e63-96f5-37726e61ed3d" providerId="ADAL" clId="{1F768DF2-6288-4A02-99AE-18C16124FC02}" dt="2018-12-11T20:46:01.964" v="5248"/>
          <ac:spMkLst>
            <pc:docMk/>
            <pc:sldMk cId="1637786780" sldId="4259"/>
            <ac:spMk id="93" creationId="{28F4D030-40A2-4339-A8F5-87AD4429C9B4}"/>
          </ac:spMkLst>
        </pc:spChg>
        <pc:spChg chg="mod">
          <ac:chgData name="Gregory Fuller" userId="b63c1727-5d73-4e63-96f5-37726e61ed3d" providerId="ADAL" clId="{1F768DF2-6288-4A02-99AE-18C16124FC02}" dt="2018-12-11T20:44:42.822" v="5202" actId="1076"/>
          <ac:spMkLst>
            <pc:docMk/>
            <pc:sldMk cId="1637786780" sldId="4259"/>
            <ac:spMk id="105" creationId="{B67B25ED-A4FA-44AC-BD7A-F8ED3BDF5895}"/>
          </ac:spMkLst>
        </pc:spChg>
        <pc:spChg chg="mod">
          <ac:chgData name="Gregory Fuller" userId="b63c1727-5d73-4e63-96f5-37726e61ed3d" providerId="ADAL" clId="{1F768DF2-6288-4A02-99AE-18C16124FC02}" dt="2018-12-11T20:22:37.035" v="5061" actId="1076"/>
          <ac:spMkLst>
            <pc:docMk/>
            <pc:sldMk cId="1637786780" sldId="4259"/>
            <ac:spMk id="106" creationId="{54DF214B-7709-48B0-92AA-8B8ACA4C8849}"/>
          </ac:spMkLst>
        </pc:spChg>
        <pc:spChg chg="mod">
          <ac:chgData name="Gregory Fuller" userId="b63c1727-5d73-4e63-96f5-37726e61ed3d" providerId="ADAL" clId="{1F768DF2-6288-4A02-99AE-18C16124FC02}" dt="2018-12-11T20:22:37.035" v="5061" actId="1076"/>
          <ac:spMkLst>
            <pc:docMk/>
            <pc:sldMk cId="1637786780" sldId="4259"/>
            <ac:spMk id="107" creationId="{D0DA26C2-75EE-4428-8360-A0061363D9A5}"/>
          </ac:spMkLst>
        </pc:spChg>
        <pc:spChg chg="mod">
          <ac:chgData name="Gregory Fuller" userId="b63c1727-5d73-4e63-96f5-37726e61ed3d" providerId="ADAL" clId="{1F768DF2-6288-4A02-99AE-18C16124FC02}" dt="2018-12-11T20:45:44.788" v="5247" actId="20577"/>
          <ac:spMkLst>
            <pc:docMk/>
            <pc:sldMk cId="1637786780" sldId="4259"/>
            <ac:spMk id="108" creationId="{119B6498-7B4C-462D-87D1-BC329647AE72}"/>
          </ac:spMkLst>
        </pc:spChg>
        <pc:spChg chg="mod">
          <ac:chgData name="Gregory Fuller" userId="b63c1727-5d73-4e63-96f5-37726e61ed3d" providerId="ADAL" clId="{1F768DF2-6288-4A02-99AE-18C16124FC02}" dt="2018-12-11T20:22:37.035" v="5061" actId="1076"/>
          <ac:spMkLst>
            <pc:docMk/>
            <pc:sldMk cId="1637786780" sldId="4259"/>
            <ac:spMk id="111" creationId="{28F950B3-0E17-4918-B92A-CF8E159CC60A}"/>
          </ac:spMkLst>
        </pc:spChg>
        <pc:spChg chg="mod">
          <ac:chgData name="Gregory Fuller" userId="b63c1727-5d73-4e63-96f5-37726e61ed3d" providerId="ADAL" clId="{1F768DF2-6288-4A02-99AE-18C16124FC02}" dt="2018-12-11T20:22:37.035" v="5061" actId="1076"/>
          <ac:spMkLst>
            <pc:docMk/>
            <pc:sldMk cId="1637786780" sldId="4259"/>
            <ac:spMk id="121" creationId="{DFD0BFF2-6542-4354-8344-C24FA08EDA01}"/>
          </ac:spMkLst>
        </pc:spChg>
        <pc:spChg chg="mod">
          <ac:chgData name="Gregory Fuller" userId="b63c1727-5d73-4e63-96f5-37726e61ed3d" providerId="ADAL" clId="{1F768DF2-6288-4A02-99AE-18C16124FC02}" dt="2018-12-11T20:22:37.035" v="5061" actId="1076"/>
          <ac:spMkLst>
            <pc:docMk/>
            <pc:sldMk cId="1637786780" sldId="4259"/>
            <ac:spMk id="129" creationId="{7B5FD233-7F52-4151-AC4F-D26B12C20ED8}"/>
          </ac:spMkLst>
        </pc:spChg>
        <pc:spChg chg="mod">
          <ac:chgData name="Gregory Fuller" userId="b63c1727-5d73-4e63-96f5-37726e61ed3d" providerId="ADAL" clId="{1F768DF2-6288-4A02-99AE-18C16124FC02}" dt="2018-12-11T20:22:37.035" v="5061" actId="1076"/>
          <ac:spMkLst>
            <pc:docMk/>
            <pc:sldMk cId="1637786780" sldId="4259"/>
            <ac:spMk id="132" creationId="{6A12D6B3-EBB4-4CE5-B887-45E02477B39B}"/>
          </ac:spMkLst>
        </pc:spChg>
        <pc:spChg chg="mod">
          <ac:chgData name="Gregory Fuller" userId="b63c1727-5d73-4e63-96f5-37726e61ed3d" providerId="ADAL" clId="{1F768DF2-6288-4A02-99AE-18C16124FC02}" dt="2018-12-11T20:22:37.035" v="5061" actId="1076"/>
          <ac:spMkLst>
            <pc:docMk/>
            <pc:sldMk cId="1637786780" sldId="4259"/>
            <ac:spMk id="134" creationId="{DC4D3768-8551-4B9E-9183-69340646E379}"/>
          </ac:spMkLst>
        </pc:spChg>
        <pc:spChg chg="mod">
          <ac:chgData name="Gregory Fuller" userId="b63c1727-5d73-4e63-96f5-37726e61ed3d" providerId="ADAL" clId="{1F768DF2-6288-4A02-99AE-18C16124FC02}" dt="2018-12-11T20:22:37.035" v="5061" actId="1076"/>
          <ac:spMkLst>
            <pc:docMk/>
            <pc:sldMk cId="1637786780" sldId="4259"/>
            <ac:spMk id="138" creationId="{8A5DBAAB-F74B-4CEE-B16F-939DF6438222}"/>
          </ac:spMkLst>
        </pc:spChg>
        <pc:grpChg chg="mod">
          <ac:chgData name="Gregory Fuller" userId="b63c1727-5d73-4e63-96f5-37726e61ed3d" providerId="ADAL" clId="{1F768DF2-6288-4A02-99AE-18C16124FC02}" dt="2018-12-11T20:22:37.035" v="5061" actId="1076"/>
          <ac:grpSpMkLst>
            <pc:docMk/>
            <pc:sldMk cId="1637786780" sldId="4259"/>
            <ac:grpSpMk id="4" creationId="{585CDC6F-1CAB-4C84-89AD-D769379745CA}"/>
          </ac:grpSpMkLst>
        </pc:grpChg>
        <pc:grpChg chg="mod">
          <ac:chgData name="Gregory Fuller" userId="b63c1727-5d73-4e63-96f5-37726e61ed3d" providerId="ADAL" clId="{1F768DF2-6288-4A02-99AE-18C16124FC02}" dt="2018-12-11T20:22:37.035" v="5061" actId="1076"/>
          <ac:grpSpMkLst>
            <pc:docMk/>
            <pc:sldMk cId="1637786780" sldId="4259"/>
            <ac:grpSpMk id="13" creationId="{6A7C506E-0290-4C82-BC48-CC52F03AC72F}"/>
          </ac:grpSpMkLst>
        </pc:grpChg>
        <pc:grpChg chg="mod">
          <ac:chgData name="Gregory Fuller" userId="b63c1727-5d73-4e63-96f5-37726e61ed3d" providerId="ADAL" clId="{1F768DF2-6288-4A02-99AE-18C16124FC02}" dt="2018-12-11T20:22:37.035" v="5061" actId="1076"/>
          <ac:grpSpMkLst>
            <pc:docMk/>
            <pc:sldMk cId="1637786780" sldId="4259"/>
            <ac:grpSpMk id="94" creationId="{781FC65C-342F-4E06-8C28-6FA7AA1EE720}"/>
          </ac:grpSpMkLst>
        </pc:grpChg>
        <pc:grpChg chg="mod">
          <ac:chgData name="Gregory Fuller" userId="b63c1727-5d73-4e63-96f5-37726e61ed3d" providerId="ADAL" clId="{1F768DF2-6288-4A02-99AE-18C16124FC02}" dt="2018-12-11T20:22:37.035" v="5061" actId="1076"/>
          <ac:grpSpMkLst>
            <pc:docMk/>
            <pc:sldMk cId="1637786780" sldId="4259"/>
            <ac:grpSpMk id="98" creationId="{67C8C217-28A5-4967-8782-06D6611433A5}"/>
          </ac:grpSpMkLst>
        </pc:grpChg>
        <pc:grpChg chg="mod">
          <ac:chgData name="Gregory Fuller" userId="b63c1727-5d73-4e63-96f5-37726e61ed3d" providerId="ADAL" clId="{1F768DF2-6288-4A02-99AE-18C16124FC02}" dt="2018-12-11T20:22:37.035" v="5061" actId="1076"/>
          <ac:grpSpMkLst>
            <pc:docMk/>
            <pc:sldMk cId="1637786780" sldId="4259"/>
            <ac:grpSpMk id="139" creationId="{3AF8C067-F0C5-4332-AB1E-81097FF7F91D}"/>
          </ac:grpSpMkLst>
        </pc:grpChg>
        <pc:grpChg chg="mod">
          <ac:chgData name="Gregory Fuller" userId="b63c1727-5d73-4e63-96f5-37726e61ed3d" providerId="ADAL" clId="{1F768DF2-6288-4A02-99AE-18C16124FC02}" dt="2018-12-11T20:22:37.035" v="5061" actId="1076"/>
          <ac:grpSpMkLst>
            <pc:docMk/>
            <pc:sldMk cId="1637786780" sldId="4259"/>
            <ac:grpSpMk id="147" creationId="{4BECDE66-0285-44E2-A1D0-DE51F8E0CCE1}"/>
          </ac:grpSpMkLst>
        </pc:grpChg>
        <pc:grpChg chg="mod">
          <ac:chgData name="Gregory Fuller" userId="b63c1727-5d73-4e63-96f5-37726e61ed3d" providerId="ADAL" clId="{1F768DF2-6288-4A02-99AE-18C16124FC02}" dt="2018-12-11T20:22:37.035" v="5061" actId="1076"/>
          <ac:grpSpMkLst>
            <pc:docMk/>
            <pc:sldMk cId="1637786780" sldId="4259"/>
            <ac:grpSpMk id="154" creationId="{402DE1CD-E93E-400C-A27D-D0DAFB032428}"/>
          </ac:grpSpMkLst>
        </pc:grpChg>
        <pc:grpChg chg="mod">
          <ac:chgData name="Gregory Fuller" userId="b63c1727-5d73-4e63-96f5-37726e61ed3d" providerId="ADAL" clId="{1F768DF2-6288-4A02-99AE-18C16124FC02}" dt="2018-12-11T20:22:37.035" v="5061" actId="1076"/>
          <ac:grpSpMkLst>
            <pc:docMk/>
            <pc:sldMk cId="1637786780" sldId="4259"/>
            <ac:grpSpMk id="161" creationId="{9E9945EB-6D29-469D-9388-AB7941AE7F75}"/>
          </ac:grpSpMkLst>
        </pc:grpChg>
        <pc:grpChg chg="mod">
          <ac:chgData name="Gregory Fuller" userId="b63c1727-5d73-4e63-96f5-37726e61ed3d" providerId="ADAL" clId="{1F768DF2-6288-4A02-99AE-18C16124FC02}" dt="2018-12-11T20:22:37.035" v="5061" actId="1076"/>
          <ac:grpSpMkLst>
            <pc:docMk/>
            <pc:sldMk cId="1637786780" sldId="4259"/>
            <ac:grpSpMk id="164" creationId="{338DFC20-3BDF-4A31-91F2-3A42EA5E5563}"/>
          </ac:grpSpMkLst>
        </pc:grpChg>
        <pc:cxnChg chg="mod">
          <ac:chgData name="Gregory Fuller" userId="b63c1727-5d73-4e63-96f5-37726e61ed3d" providerId="ADAL" clId="{1F768DF2-6288-4A02-99AE-18C16124FC02}" dt="2018-12-11T20:22:37.035" v="5061" actId="1076"/>
          <ac:cxnSpMkLst>
            <pc:docMk/>
            <pc:sldMk cId="1637786780" sldId="4259"/>
            <ac:cxnSpMk id="5" creationId="{8CC805F9-217A-4C1E-B23E-CE15E771FE06}"/>
          </ac:cxnSpMkLst>
        </pc:cxnChg>
        <pc:cxnChg chg="mod">
          <ac:chgData name="Gregory Fuller" userId="b63c1727-5d73-4e63-96f5-37726e61ed3d" providerId="ADAL" clId="{1F768DF2-6288-4A02-99AE-18C16124FC02}" dt="2018-12-11T20:22:37.035" v="5061" actId="1076"/>
          <ac:cxnSpMkLst>
            <pc:docMk/>
            <pc:sldMk cId="1637786780" sldId="4259"/>
            <ac:cxnSpMk id="89" creationId="{61030A30-7FA0-463C-8C20-59E2F8756804}"/>
          </ac:cxnSpMkLst>
        </pc:cxnChg>
        <pc:cxnChg chg="mod">
          <ac:chgData name="Gregory Fuller" userId="b63c1727-5d73-4e63-96f5-37726e61ed3d" providerId="ADAL" clId="{1F768DF2-6288-4A02-99AE-18C16124FC02}" dt="2018-12-11T20:22:37.035" v="5061" actId="1076"/>
          <ac:cxnSpMkLst>
            <pc:docMk/>
            <pc:sldMk cId="1637786780" sldId="4259"/>
            <ac:cxnSpMk id="103" creationId="{86634241-5E7F-4295-884A-6474B7FF17DE}"/>
          </ac:cxnSpMkLst>
        </pc:cxnChg>
        <pc:cxnChg chg="mod">
          <ac:chgData name="Gregory Fuller" userId="b63c1727-5d73-4e63-96f5-37726e61ed3d" providerId="ADAL" clId="{1F768DF2-6288-4A02-99AE-18C16124FC02}" dt="2018-12-11T20:22:37.035" v="5061" actId="1076"/>
          <ac:cxnSpMkLst>
            <pc:docMk/>
            <pc:sldMk cId="1637786780" sldId="4259"/>
            <ac:cxnSpMk id="114" creationId="{1813DF08-120B-4FEA-B233-E002F0F581F4}"/>
          </ac:cxnSpMkLst>
        </pc:cxnChg>
        <pc:cxnChg chg="mod">
          <ac:chgData name="Gregory Fuller" userId="b63c1727-5d73-4e63-96f5-37726e61ed3d" providerId="ADAL" clId="{1F768DF2-6288-4A02-99AE-18C16124FC02}" dt="2018-12-11T20:22:37.035" v="5061" actId="1076"/>
          <ac:cxnSpMkLst>
            <pc:docMk/>
            <pc:sldMk cId="1637786780" sldId="4259"/>
            <ac:cxnSpMk id="123" creationId="{0CEDA18E-4DA6-40D6-8447-195C0616DB94}"/>
          </ac:cxnSpMkLst>
        </pc:cxnChg>
        <pc:cxnChg chg="mod">
          <ac:chgData name="Gregory Fuller" userId="b63c1727-5d73-4e63-96f5-37726e61ed3d" providerId="ADAL" clId="{1F768DF2-6288-4A02-99AE-18C16124FC02}" dt="2018-12-11T20:22:37.035" v="5061" actId="1076"/>
          <ac:cxnSpMkLst>
            <pc:docMk/>
            <pc:sldMk cId="1637786780" sldId="4259"/>
            <ac:cxnSpMk id="127" creationId="{F75B1065-93B0-43C4-96F1-1CE9A051A35E}"/>
          </ac:cxnSpMkLst>
        </pc:cxnChg>
        <pc:cxnChg chg="mod">
          <ac:chgData name="Gregory Fuller" userId="b63c1727-5d73-4e63-96f5-37726e61ed3d" providerId="ADAL" clId="{1F768DF2-6288-4A02-99AE-18C16124FC02}" dt="2018-12-11T20:22:37.035" v="5061" actId="1076"/>
          <ac:cxnSpMkLst>
            <pc:docMk/>
            <pc:sldMk cId="1637786780" sldId="4259"/>
            <ac:cxnSpMk id="130" creationId="{330EABE2-5522-4D5E-8818-1CA4E15BE2D2}"/>
          </ac:cxnSpMkLst>
        </pc:cxnChg>
      </pc:sldChg>
      <pc:sldChg chg="delSp">
        <pc:chgData name="Gregory Fuller" userId="b63c1727-5d73-4e63-96f5-37726e61ed3d" providerId="ADAL" clId="{1F768DF2-6288-4A02-99AE-18C16124FC02}" dt="2018-12-05T02:27:09.113" v="1076"/>
        <pc:sldMkLst>
          <pc:docMk/>
          <pc:sldMk cId="1988437336" sldId="8109"/>
        </pc:sldMkLst>
        <pc:spChg chg="del">
          <ac:chgData name="Gregory Fuller" userId="b63c1727-5d73-4e63-96f5-37726e61ed3d" providerId="ADAL" clId="{1F768DF2-6288-4A02-99AE-18C16124FC02}" dt="2018-12-05T02:25:51.198" v="1073"/>
          <ac:spMkLst>
            <pc:docMk/>
            <pc:sldMk cId="1988437336" sldId="8109"/>
            <ac:spMk id="4" creationId="{B650287F-2863-45CF-86F7-F483EA0E549C}"/>
          </ac:spMkLst>
        </pc:spChg>
        <pc:spChg chg="del">
          <ac:chgData name="Gregory Fuller" userId="b63c1727-5d73-4e63-96f5-37726e61ed3d" providerId="ADAL" clId="{1F768DF2-6288-4A02-99AE-18C16124FC02}" dt="2018-12-05T02:26:19.103" v="1074"/>
          <ac:spMkLst>
            <pc:docMk/>
            <pc:sldMk cId="1988437336" sldId="8109"/>
            <ac:spMk id="5" creationId="{A3B3DC4A-2C60-4670-BD77-243E34AD48C7}"/>
          </ac:spMkLst>
        </pc:spChg>
        <pc:spChg chg="del">
          <ac:chgData name="Gregory Fuller" userId="b63c1727-5d73-4e63-96f5-37726e61ed3d" providerId="ADAL" clId="{1F768DF2-6288-4A02-99AE-18C16124FC02}" dt="2018-12-05T02:26:35.227" v="1075"/>
          <ac:spMkLst>
            <pc:docMk/>
            <pc:sldMk cId="1988437336" sldId="8109"/>
            <ac:spMk id="6" creationId="{0BB6B62F-DC7B-4614-8224-CDC07CDDD8D3}"/>
          </ac:spMkLst>
        </pc:spChg>
        <pc:spChg chg="del">
          <ac:chgData name="Gregory Fuller" userId="b63c1727-5d73-4e63-96f5-37726e61ed3d" providerId="ADAL" clId="{1F768DF2-6288-4A02-99AE-18C16124FC02}" dt="2018-12-05T02:27:09.113" v="1076"/>
          <ac:spMkLst>
            <pc:docMk/>
            <pc:sldMk cId="1988437336" sldId="8109"/>
            <ac:spMk id="7" creationId="{CD778116-18DD-46E9-A415-CAC899F22D55}"/>
          </ac:spMkLst>
        </pc:spChg>
      </pc:sldChg>
      <pc:sldChg chg="delSp modSp">
        <pc:chgData name="Gregory Fuller" userId="b63c1727-5d73-4e63-96f5-37726e61ed3d" providerId="ADAL" clId="{1F768DF2-6288-4A02-99AE-18C16124FC02}" dt="2018-12-07T21:22:20.757" v="3606" actId="20577"/>
        <pc:sldMkLst>
          <pc:docMk/>
          <pc:sldMk cId="1977394622" sldId="8120"/>
        </pc:sldMkLst>
        <pc:spChg chg="del">
          <ac:chgData name="Gregory Fuller" userId="b63c1727-5d73-4e63-96f5-37726e61ed3d" providerId="ADAL" clId="{1F768DF2-6288-4A02-99AE-18C16124FC02}" dt="2018-12-05T02:10:34.890" v="921" actId="478"/>
          <ac:spMkLst>
            <pc:docMk/>
            <pc:sldMk cId="1977394622" sldId="8120"/>
            <ac:spMk id="13" creationId="{0B811BF8-DA8E-4DF3-B828-2C2403690D69}"/>
          </ac:spMkLst>
        </pc:spChg>
        <pc:spChg chg="mod">
          <ac:chgData name="Gregory Fuller" userId="b63c1727-5d73-4e63-96f5-37726e61ed3d" providerId="ADAL" clId="{1F768DF2-6288-4A02-99AE-18C16124FC02}" dt="2018-12-07T21:22:20.757" v="3606" actId="20577"/>
          <ac:spMkLst>
            <pc:docMk/>
            <pc:sldMk cId="1977394622" sldId="8120"/>
            <ac:spMk id="15" creationId="{C3DBDC4B-6983-416C-9D8B-C61974F07B8D}"/>
          </ac:spMkLst>
        </pc:spChg>
      </pc:sldChg>
      <pc:sldChg chg="modSp">
        <pc:chgData name="Gregory Fuller" userId="b63c1727-5d73-4e63-96f5-37726e61ed3d" providerId="ADAL" clId="{1F768DF2-6288-4A02-99AE-18C16124FC02}" dt="2018-12-05T02:11:37.560" v="944" actId="20577"/>
        <pc:sldMkLst>
          <pc:docMk/>
          <pc:sldMk cId="1748051645" sldId="8122"/>
        </pc:sldMkLst>
        <pc:spChg chg="mod">
          <ac:chgData name="Gregory Fuller" userId="b63c1727-5d73-4e63-96f5-37726e61ed3d" providerId="ADAL" clId="{1F768DF2-6288-4A02-99AE-18C16124FC02}" dt="2018-12-05T02:10:52.894" v="923" actId="2711"/>
          <ac:spMkLst>
            <pc:docMk/>
            <pc:sldMk cId="1748051645" sldId="8122"/>
            <ac:spMk id="18" creationId="{90686D31-5EF5-4E68-9DEB-05591C278B1F}"/>
          </ac:spMkLst>
        </pc:spChg>
        <pc:spChg chg="mod">
          <ac:chgData name="Gregory Fuller" userId="b63c1727-5d73-4e63-96f5-37726e61ed3d" providerId="ADAL" clId="{1F768DF2-6288-4A02-99AE-18C16124FC02}" dt="2018-12-05T02:11:15.833" v="926" actId="113"/>
          <ac:spMkLst>
            <pc:docMk/>
            <pc:sldMk cId="1748051645" sldId="8122"/>
            <ac:spMk id="20" creationId="{70CD788A-181C-4413-89DA-25602E0553ED}"/>
          </ac:spMkLst>
        </pc:spChg>
        <pc:spChg chg="mod">
          <ac:chgData name="Gregory Fuller" userId="b63c1727-5d73-4e63-96f5-37726e61ed3d" providerId="ADAL" clId="{1F768DF2-6288-4A02-99AE-18C16124FC02}" dt="2018-12-05T02:10:52.894" v="923" actId="2711"/>
          <ac:spMkLst>
            <pc:docMk/>
            <pc:sldMk cId="1748051645" sldId="8122"/>
            <ac:spMk id="41" creationId="{5A77C7A3-F720-4A92-9AAF-8B1201983510}"/>
          </ac:spMkLst>
        </pc:spChg>
        <pc:spChg chg="mod">
          <ac:chgData name="Gregory Fuller" userId="b63c1727-5d73-4e63-96f5-37726e61ed3d" providerId="ADAL" clId="{1F768DF2-6288-4A02-99AE-18C16124FC02}" dt="2018-12-05T02:10:52.894" v="923" actId="2711"/>
          <ac:spMkLst>
            <pc:docMk/>
            <pc:sldMk cId="1748051645" sldId="8122"/>
            <ac:spMk id="42" creationId="{3CF4105B-F038-45C0-95F5-A4E70D4DE56E}"/>
          </ac:spMkLst>
        </pc:spChg>
        <pc:spChg chg="mod">
          <ac:chgData name="Gregory Fuller" userId="b63c1727-5d73-4e63-96f5-37726e61ed3d" providerId="ADAL" clId="{1F768DF2-6288-4A02-99AE-18C16124FC02}" dt="2018-12-05T02:10:52.894" v="923" actId="2711"/>
          <ac:spMkLst>
            <pc:docMk/>
            <pc:sldMk cId="1748051645" sldId="8122"/>
            <ac:spMk id="43" creationId="{D6EAE50D-972B-48BE-ADAE-716D654DB10D}"/>
          </ac:spMkLst>
        </pc:spChg>
        <pc:spChg chg="mod">
          <ac:chgData name="Gregory Fuller" userId="b63c1727-5d73-4e63-96f5-37726e61ed3d" providerId="ADAL" clId="{1F768DF2-6288-4A02-99AE-18C16124FC02}" dt="2018-12-05T02:11:37.560" v="944" actId="20577"/>
          <ac:spMkLst>
            <pc:docMk/>
            <pc:sldMk cId="1748051645" sldId="8122"/>
            <ac:spMk id="44" creationId="{56BC1C88-7F80-4235-B605-E09CBC5CE07F}"/>
          </ac:spMkLst>
        </pc:spChg>
        <pc:spChg chg="mod">
          <ac:chgData name="Gregory Fuller" userId="b63c1727-5d73-4e63-96f5-37726e61ed3d" providerId="ADAL" clId="{1F768DF2-6288-4A02-99AE-18C16124FC02}" dt="2018-12-05T02:10:52.894" v="923" actId="2711"/>
          <ac:spMkLst>
            <pc:docMk/>
            <pc:sldMk cId="1748051645" sldId="8122"/>
            <ac:spMk id="45" creationId="{D18B6313-AA97-4602-9DB2-5AE49551CF41}"/>
          </ac:spMkLst>
        </pc:spChg>
        <pc:spChg chg="mod">
          <ac:chgData name="Gregory Fuller" userId="b63c1727-5d73-4e63-96f5-37726e61ed3d" providerId="ADAL" clId="{1F768DF2-6288-4A02-99AE-18C16124FC02}" dt="2018-12-05T02:10:52.894" v="923" actId="2711"/>
          <ac:spMkLst>
            <pc:docMk/>
            <pc:sldMk cId="1748051645" sldId="8122"/>
            <ac:spMk id="46" creationId="{D9B4BCE1-7777-43AF-87CC-F4F65085EC4A}"/>
          </ac:spMkLst>
        </pc:spChg>
        <pc:spChg chg="mod">
          <ac:chgData name="Gregory Fuller" userId="b63c1727-5d73-4e63-96f5-37726e61ed3d" providerId="ADAL" clId="{1F768DF2-6288-4A02-99AE-18C16124FC02}" dt="2018-12-05T02:10:52.894" v="923" actId="2711"/>
          <ac:spMkLst>
            <pc:docMk/>
            <pc:sldMk cId="1748051645" sldId="8122"/>
            <ac:spMk id="47" creationId="{CABFD21D-ED86-44C2-84BD-F273B2DE626A}"/>
          </ac:spMkLst>
        </pc:spChg>
        <pc:spChg chg="mod">
          <ac:chgData name="Gregory Fuller" userId="b63c1727-5d73-4e63-96f5-37726e61ed3d" providerId="ADAL" clId="{1F768DF2-6288-4A02-99AE-18C16124FC02}" dt="2018-12-05T02:10:52.894" v="923" actId="2711"/>
          <ac:spMkLst>
            <pc:docMk/>
            <pc:sldMk cId="1748051645" sldId="8122"/>
            <ac:spMk id="48" creationId="{F03C899F-83F2-4F35-AAC5-3E7903754B5B}"/>
          </ac:spMkLst>
        </pc:spChg>
        <pc:spChg chg="mod">
          <ac:chgData name="Gregory Fuller" userId="b63c1727-5d73-4e63-96f5-37726e61ed3d" providerId="ADAL" clId="{1F768DF2-6288-4A02-99AE-18C16124FC02}" dt="2018-12-05T02:10:52.894" v="923" actId="2711"/>
          <ac:spMkLst>
            <pc:docMk/>
            <pc:sldMk cId="1748051645" sldId="8122"/>
            <ac:spMk id="49" creationId="{3311694C-A14F-4418-8507-A64A3B6F3C1F}"/>
          </ac:spMkLst>
        </pc:spChg>
        <pc:spChg chg="mod">
          <ac:chgData name="Gregory Fuller" userId="b63c1727-5d73-4e63-96f5-37726e61ed3d" providerId="ADAL" clId="{1F768DF2-6288-4A02-99AE-18C16124FC02}" dt="2018-12-05T02:10:52.894" v="923" actId="2711"/>
          <ac:spMkLst>
            <pc:docMk/>
            <pc:sldMk cId="1748051645" sldId="8122"/>
            <ac:spMk id="50" creationId="{4F476BA9-C1E0-4467-AA86-AFB2EDC6DB2F}"/>
          </ac:spMkLst>
        </pc:spChg>
        <pc:spChg chg="mod">
          <ac:chgData name="Gregory Fuller" userId="b63c1727-5d73-4e63-96f5-37726e61ed3d" providerId="ADAL" clId="{1F768DF2-6288-4A02-99AE-18C16124FC02}" dt="2018-12-05T02:10:52.894" v="923" actId="2711"/>
          <ac:spMkLst>
            <pc:docMk/>
            <pc:sldMk cId="1748051645" sldId="8122"/>
            <ac:spMk id="51" creationId="{D5FDC6BF-95C5-4E3A-9972-B142FA34C09C}"/>
          </ac:spMkLst>
        </pc:spChg>
        <pc:spChg chg="mod">
          <ac:chgData name="Gregory Fuller" userId="b63c1727-5d73-4e63-96f5-37726e61ed3d" providerId="ADAL" clId="{1F768DF2-6288-4A02-99AE-18C16124FC02}" dt="2018-12-05T02:10:52.894" v="923" actId="2711"/>
          <ac:spMkLst>
            <pc:docMk/>
            <pc:sldMk cId="1748051645" sldId="8122"/>
            <ac:spMk id="52" creationId="{A6FCFED0-A8DE-4D67-B943-4675F0AB3294}"/>
          </ac:spMkLst>
        </pc:spChg>
        <pc:spChg chg="mod">
          <ac:chgData name="Gregory Fuller" userId="b63c1727-5d73-4e63-96f5-37726e61ed3d" providerId="ADAL" clId="{1F768DF2-6288-4A02-99AE-18C16124FC02}" dt="2018-12-05T02:10:52.894" v="923" actId="2711"/>
          <ac:spMkLst>
            <pc:docMk/>
            <pc:sldMk cId="1748051645" sldId="8122"/>
            <ac:spMk id="54" creationId="{8897914E-DEE7-4C30-96AE-A846F72CB8AF}"/>
          </ac:spMkLst>
        </pc:spChg>
        <pc:spChg chg="mod">
          <ac:chgData name="Gregory Fuller" userId="b63c1727-5d73-4e63-96f5-37726e61ed3d" providerId="ADAL" clId="{1F768DF2-6288-4A02-99AE-18C16124FC02}" dt="2018-12-05T02:10:52.894" v="923" actId="2711"/>
          <ac:spMkLst>
            <pc:docMk/>
            <pc:sldMk cId="1748051645" sldId="8122"/>
            <ac:spMk id="55" creationId="{EEFE21F5-6D84-4CB9-A2E6-194821804475}"/>
          </ac:spMkLst>
        </pc:spChg>
        <pc:spChg chg="mod">
          <ac:chgData name="Gregory Fuller" userId="b63c1727-5d73-4e63-96f5-37726e61ed3d" providerId="ADAL" clId="{1F768DF2-6288-4A02-99AE-18C16124FC02}" dt="2018-12-05T02:10:52.894" v="923" actId="2711"/>
          <ac:spMkLst>
            <pc:docMk/>
            <pc:sldMk cId="1748051645" sldId="8122"/>
            <ac:spMk id="56" creationId="{BBBB1953-F8D5-4258-98F4-7602EA56FF8A}"/>
          </ac:spMkLst>
        </pc:spChg>
        <pc:spChg chg="mod">
          <ac:chgData name="Gregory Fuller" userId="b63c1727-5d73-4e63-96f5-37726e61ed3d" providerId="ADAL" clId="{1F768DF2-6288-4A02-99AE-18C16124FC02}" dt="2018-12-05T02:10:52.894" v="923" actId="2711"/>
          <ac:spMkLst>
            <pc:docMk/>
            <pc:sldMk cId="1748051645" sldId="8122"/>
            <ac:spMk id="58" creationId="{B4611EA3-4E0B-4256-B045-67ACDAB8A97D}"/>
          </ac:spMkLst>
        </pc:spChg>
        <pc:spChg chg="mod">
          <ac:chgData name="Gregory Fuller" userId="b63c1727-5d73-4e63-96f5-37726e61ed3d" providerId="ADAL" clId="{1F768DF2-6288-4A02-99AE-18C16124FC02}" dt="2018-12-05T02:10:52.894" v="923" actId="2711"/>
          <ac:spMkLst>
            <pc:docMk/>
            <pc:sldMk cId="1748051645" sldId="8122"/>
            <ac:spMk id="59" creationId="{E47AE6A7-CB73-45B8-8DD1-CCE8A5BC5449}"/>
          </ac:spMkLst>
        </pc:spChg>
        <pc:spChg chg="mod">
          <ac:chgData name="Gregory Fuller" userId="b63c1727-5d73-4e63-96f5-37726e61ed3d" providerId="ADAL" clId="{1F768DF2-6288-4A02-99AE-18C16124FC02}" dt="2018-12-05T02:10:52.894" v="923" actId="2711"/>
          <ac:spMkLst>
            <pc:docMk/>
            <pc:sldMk cId="1748051645" sldId="8122"/>
            <ac:spMk id="60" creationId="{F1084E9C-0B93-444A-B68A-3A8EF81D2ED9}"/>
          </ac:spMkLst>
        </pc:spChg>
        <pc:spChg chg="mod">
          <ac:chgData name="Gregory Fuller" userId="b63c1727-5d73-4e63-96f5-37726e61ed3d" providerId="ADAL" clId="{1F768DF2-6288-4A02-99AE-18C16124FC02}" dt="2018-12-05T02:10:52.894" v="923" actId="2711"/>
          <ac:spMkLst>
            <pc:docMk/>
            <pc:sldMk cId="1748051645" sldId="8122"/>
            <ac:spMk id="61" creationId="{32354DB1-ADDD-4451-A20B-5AE6E527E009}"/>
          </ac:spMkLst>
        </pc:spChg>
        <pc:spChg chg="mod">
          <ac:chgData name="Gregory Fuller" userId="b63c1727-5d73-4e63-96f5-37726e61ed3d" providerId="ADAL" clId="{1F768DF2-6288-4A02-99AE-18C16124FC02}" dt="2018-12-05T02:10:52.894" v="923" actId="2711"/>
          <ac:spMkLst>
            <pc:docMk/>
            <pc:sldMk cId="1748051645" sldId="8122"/>
            <ac:spMk id="63" creationId="{8491F85C-08D3-4259-BC87-B1327EBEE14F}"/>
          </ac:spMkLst>
        </pc:spChg>
        <pc:spChg chg="mod">
          <ac:chgData name="Gregory Fuller" userId="b63c1727-5d73-4e63-96f5-37726e61ed3d" providerId="ADAL" clId="{1F768DF2-6288-4A02-99AE-18C16124FC02}" dt="2018-12-05T02:10:52.894" v="923" actId="2711"/>
          <ac:spMkLst>
            <pc:docMk/>
            <pc:sldMk cId="1748051645" sldId="8122"/>
            <ac:spMk id="64" creationId="{8BBAA8F9-1B67-45E7-8B86-2AB6EBA8E6D3}"/>
          </ac:spMkLst>
        </pc:spChg>
        <pc:spChg chg="mod">
          <ac:chgData name="Gregory Fuller" userId="b63c1727-5d73-4e63-96f5-37726e61ed3d" providerId="ADAL" clId="{1F768DF2-6288-4A02-99AE-18C16124FC02}" dt="2018-12-05T02:10:52.894" v="923" actId="2711"/>
          <ac:spMkLst>
            <pc:docMk/>
            <pc:sldMk cId="1748051645" sldId="8122"/>
            <ac:spMk id="65" creationId="{E6E2EFAD-AF34-4F34-A687-9097A55D2ADB}"/>
          </ac:spMkLst>
        </pc:spChg>
        <pc:spChg chg="mod">
          <ac:chgData name="Gregory Fuller" userId="b63c1727-5d73-4e63-96f5-37726e61ed3d" providerId="ADAL" clId="{1F768DF2-6288-4A02-99AE-18C16124FC02}" dt="2018-12-05T02:10:52.894" v="923" actId="2711"/>
          <ac:spMkLst>
            <pc:docMk/>
            <pc:sldMk cId="1748051645" sldId="8122"/>
            <ac:spMk id="67" creationId="{2B92511D-9887-47F1-8AAF-83D0BDBE85FE}"/>
          </ac:spMkLst>
        </pc:spChg>
        <pc:spChg chg="mod">
          <ac:chgData name="Gregory Fuller" userId="b63c1727-5d73-4e63-96f5-37726e61ed3d" providerId="ADAL" clId="{1F768DF2-6288-4A02-99AE-18C16124FC02}" dt="2018-12-05T02:10:52.894" v="923" actId="2711"/>
          <ac:spMkLst>
            <pc:docMk/>
            <pc:sldMk cId="1748051645" sldId="8122"/>
            <ac:spMk id="68" creationId="{1797F9A3-C5D4-48D3-BC9A-D9C4115009CA}"/>
          </ac:spMkLst>
        </pc:spChg>
        <pc:spChg chg="mod">
          <ac:chgData name="Gregory Fuller" userId="b63c1727-5d73-4e63-96f5-37726e61ed3d" providerId="ADAL" clId="{1F768DF2-6288-4A02-99AE-18C16124FC02}" dt="2018-12-05T02:10:52.894" v="923" actId="2711"/>
          <ac:spMkLst>
            <pc:docMk/>
            <pc:sldMk cId="1748051645" sldId="8122"/>
            <ac:spMk id="69" creationId="{C0AF3254-0570-4BF1-93F1-954C1B524656}"/>
          </ac:spMkLst>
        </pc:spChg>
        <pc:spChg chg="mod">
          <ac:chgData name="Gregory Fuller" userId="b63c1727-5d73-4e63-96f5-37726e61ed3d" providerId="ADAL" clId="{1F768DF2-6288-4A02-99AE-18C16124FC02}" dt="2018-12-05T02:10:52.894" v="923" actId="2711"/>
          <ac:spMkLst>
            <pc:docMk/>
            <pc:sldMk cId="1748051645" sldId="8122"/>
            <ac:spMk id="70" creationId="{50D0550C-264F-4E05-965C-89031C687105}"/>
          </ac:spMkLst>
        </pc:spChg>
      </pc:sldChg>
      <pc:sldChg chg="addSp delSp modSp">
        <pc:chgData name="Gregory Fuller" userId="b63c1727-5d73-4e63-96f5-37726e61ed3d" providerId="ADAL" clId="{1F768DF2-6288-4A02-99AE-18C16124FC02}" dt="2018-12-05T18:28:29.957" v="3428" actId="20577"/>
        <pc:sldMkLst>
          <pc:docMk/>
          <pc:sldMk cId="659572265" sldId="8124"/>
        </pc:sldMkLst>
        <pc:spChg chg="add mod ord">
          <ac:chgData name="Gregory Fuller" userId="b63c1727-5d73-4e63-96f5-37726e61ed3d" providerId="ADAL" clId="{1F768DF2-6288-4A02-99AE-18C16124FC02}" dt="2018-12-05T18:26:32.772" v="3383" actId="1076"/>
          <ac:spMkLst>
            <pc:docMk/>
            <pc:sldMk cId="659572265" sldId="8124"/>
            <ac:spMk id="3" creationId="{A71CD909-FAD6-471C-8B36-F161FD9732D6}"/>
          </ac:spMkLst>
        </pc:spChg>
        <pc:spChg chg="add mod">
          <ac:chgData name="Gregory Fuller" userId="b63c1727-5d73-4e63-96f5-37726e61ed3d" providerId="ADAL" clId="{1F768DF2-6288-4A02-99AE-18C16124FC02}" dt="2018-12-05T18:26:03.131" v="3380" actId="164"/>
          <ac:spMkLst>
            <pc:docMk/>
            <pc:sldMk cId="659572265" sldId="8124"/>
            <ac:spMk id="6" creationId="{A4B340D2-DABB-40F9-A7A3-EDFEFECB161F}"/>
          </ac:spMkLst>
        </pc:spChg>
        <pc:spChg chg="add mod">
          <ac:chgData name="Gregory Fuller" userId="b63c1727-5d73-4e63-96f5-37726e61ed3d" providerId="ADAL" clId="{1F768DF2-6288-4A02-99AE-18C16124FC02}" dt="2018-12-05T18:26:47.241" v="3396" actId="20577"/>
          <ac:spMkLst>
            <pc:docMk/>
            <pc:sldMk cId="659572265" sldId="8124"/>
            <ac:spMk id="13" creationId="{42CC139E-F849-4675-AD4E-7C71510BD1E6}"/>
          </ac:spMkLst>
        </pc:spChg>
        <pc:spChg chg="del mod">
          <ac:chgData name="Gregory Fuller" userId="b63c1727-5d73-4e63-96f5-37726e61ed3d" providerId="ADAL" clId="{1F768DF2-6288-4A02-99AE-18C16124FC02}" dt="2018-12-05T15:12:56.710" v="2167" actId="478"/>
          <ac:spMkLst>
            <pc:docMk/>
            <pc:sldMk cId="659572265" sldId="8124"/>
            <ac:spMk id="17" creationId="{3567A308-E734-4F8F-8A0B-9E4E5177A4CE}"/>
          </ac:spMkLst>
        </pc:spChg>
        <pc:spChg chg="mod">
          <ac:chgData name="Gregory Fuller" userId="b63c1727-5d73-4e63-96f5-37726e61ed3d" providerId="ADAL" clId="{1F768DF2-6288-4A02-99AE-18C16124FC02}" dt="2018-12-05T15:13:01.393" v="2168" actId="14100"/>
          <ac:spMkLst>
            <pc:docMk/>
            <pc:sldMk cId="659572265" sldId="8124"/>
            <ac:spMk id="26" creationId="{00000000-0000-0000-0000-000000000000}"/>
          </ac:spMkLst>
        </pc:spChg>
        <pc:spChg chg="mod">
          <ac:chgData name="Gregory Fuller" userId="b63c1727-5d73-4e63-96f5-37726e61ed3d" providerId="ADAL" clId="{1F768DF2-6288-4A02-99AE-18C16124FC02}" dt="2018-12-05T18:28:29.957" v="3428" actId="20577"/>
          <ac:spMkLst>
            <pc:docMk/>
            <pc:sldMk cId="659572265" sldId="8124"/>
            <ac:spMk id="27" creationId="{00000000-0000-0000-0000-000000000000}"/>
          </ac:spMkLst>
        </pc:spChg>
        <pc:grpChg chg="add mod">
          <ac:chgData name="Gregory Fuller" userId="b63c1727-5d73-4e63-96f5-37726e61ed3d" providerId="ADAL" clId="{1F768DF2-6288-4A02-99AE-18C16124FC02}" dt="2018-12-05T18:26:03.131" v="3380" actId="164"/>
          <ac:grpSpMkLst>
            <pc:docMk/>
            <pc:sldMk cId="659572265" sldId="8124"/>
            <ac:grpSpMk id="7" creationId="{9BF2EE69-139C-4804-A279-029810400D62}"/>
          </ac:grpSpMkLst>
        </pc:grpChg>
        <pc:picChg chg="add del">
          <ac:chgData name="Gregory Fuller" userId="b63c1727-5d73-4e63-96f5-37726e61ed3d" providerId="ADAL" clId="{1F768DF2-6288-4A02-99AE-18C16124FC02}" dt="2018-12-05T15:13:13.040" v="2172" actId="478"/>
          <ac:picMkLst>
            <pc:docMk/>
            <pc:sldMk cId="659572265" sldId="8124"/>
            <ac:picMk id="2" creationId="{C00F67EF-CF5A-4CDE-B84B-1BE69DAEC431}"/>
          </ac:picMkLst>
        </pc:picChg>
        <pc:picChg chg="del mod">
          <ac:chgData name="Gregory Fuller" userId="b63c1727-5d73-4e63-96f5-37726e61ed3d" providerId="ADAL" clId="{1F768DF2-6288-4A02-99AE-18C16124FC02}" dt="2018-12-05T18:25:28.720" v="3372" actId="478"/>
          <ac:picMkLst>
            <pc:docMk/>
            <pc:sldMk cId="659572265" sldId="8124"/>
            <ac:picMk id="4" creationId="{6AB6DD85-7FD0-4492-80EF-E49C6B50F8EB}"/>
          </ac:picMkLst>
        </pc:picChg>
        <pc:picChg chg="add mod">
          <ac:chgData name="Gregory Fuller" userId="b63c1727-5d73-4e63-96f5-37726e61ed3d" providerId="ADAL" clId="{1F768DF2-6288-4A02-99AE-18C16124FC02}" dt="2018-12-05T18:26:03.131" v="3380" actId="164"/>
          <ac:picMkLst>
            <pc:docMk/>
            <pc:sldMk cId="659572265" sldId="8124"/>
            <ac:picMk id="5" creationId="{DB571F81-07BF-4F70-9B9F-D0F47E08DBE4}"/>
          </ac:picMkLst>
        </pc:picChg>
      </pc:sldChg>
      <pc:sldChg chg="addSp modSp">
        <pc:chgData name="Gregory Fuller" userId="b63c1727-5d73-4e63-96f5-37726e61ed3d" providerId="ADAL" clId="{1F768DF2-6288-4A02-99AE-18C16124FC02}" dt="2018-12-05T18:28:47.350" v="3445" actId="20577"/>
        <pc:sldMkLst>
          <pc:docMk/>
          <pc:sldMk cId="4115194590" sldId="8125"/>
        </pc:sldMkLst>
        <pc:spChg chg="add mod">
          <ac:chgData name="Gregory Fuller" userId="b63c1727-5d73-4e63-96f5-37726e61ed3d" providerId="ADAL" clId="{1F768DF2-6288-4A02-99AE-18C16124FC02}" dt="2018-12-05T18:28:47.350" v="3445" actId="20577"/>
          <ac:spMkLst>
            <pc:docMk/>
            <pc:sldMk cId="4115194590" sldId="8125"/>
            <ac:spMk id="12" creationId="{BE13E3B9-0DD6-4BAB-8525-ACB99275F5D7}"/>
          </ac:spMkLst>
        </pc:spChg>
        <pc:spChg chg="mod">
          <ac:chgData name="Gregory Fuller" userId="b63c1727-5d73-4e63-96f5-37726e61ed3d" providerId="ADAL" clId="{1F768DF2-6288-4A02-99AE-18C16124FC02}" dt="2018-12-05T15:10:51.098" v="2143" actId="207"/>
          <ac:spMkLst>
            <pc:docMk/>
            <pc:sldMk cId="4115194590" sldId="8125"/>
            <ac:spMk id="26" creationId="{00000000-0000-0000-0000-000000000000}"/>
          </ac:spMkLst>
        </pc:spChg>
      </pc:sldChg>
      <pc:sldChg chg="delSp">
        <pc:chgData name="Gregory Fuller" userId="b63c1727-5d73-4e63-96f5-37726e61ed3d" providerId="ADAL" clId="{1F768DF2-6288-4A02-99AE-18C16124FC02}" dt="2018-12-05T03:09:49.218" v="1710" actId="478"/>
        <pc:sldMkLst>
          <pc:docMk/>
          <pc:sldMk cId="1131270749" sldId="8126"/>
        </pc:sldMkLst>
        <pc:spChg chg="del">
          <ac:chgData name="Gregory Fuller" userId="b63c1727-5d73-4e63-96f5-37726e61ed3d" providerId="ADAL" clId="{1F768DF2-6288-4A02-99AE-18C16124FC02}" dt="2018-12-05T03:09:49.218" v="1710" actId="478"/>
          <ac:spMkLst>
            <pc:docMk/>
            <pc:sldMk cId="1131270749" sldId="8126"/>
            <ac:spMk id="61" creationId="{167B6DA7-72F8-4F17-B733-6BB86D9C1EA0}"/>
          </ac:spMkLst>
        </pc:spChg>
      </pc:sldChg>
      <pc:sldChg chg="delSp modSp">
        <pc:chgData name="Gregory Fuller" userId="b63c1727-5d73-4e63-96f5-37726e61ed3d" providerId="ADAL" clId="{1F768DF2-6288-4A02-99AE-18C16124FC02}" dt="2018-12-05T03:13:36.238" v="1831" actId="1038"/>
        <pc:sldMkLst>
          <pc:docMk/>
          <pc:sldMk cId="2945519729" sldId="8127"/>
        </pc:sldMkLst>
        <pc:spChg chg="mod">
          <ac:chgData name="Gregory Fuller" userId="b63c1727-5d73-4e63-96f5-37726e61ed3d" providerId="ADAL" clId="{1F768DF2-6288-4A02-99AE-18C16124FC02}" dt="2018-12-05T03:13:36.238" v="1831" actId="1038"/>
          <ac:spMkLst>
            <pc:docMk/>
            <pc:sldMk cId="2945519729" sldId="8127"/>
            <ac:spMk id="13" creationId="{8BFC0159-1B6E-464B-95CF-FF878027DDBB}"/>
          </ac:spMkLst>
        </pc:spChg>
        <pc:spChg chg="mod">
          <ac:chgData name="Gregory Fuller" userId="b63c1727-5d73-4e63-96f5-37726e61ed3d" providerId="ADAL" clId="{1F768DF2-6288-4A02-99AE-18C16124FC02}" dt="2018-12-05T03:13:32.378" v="1828" actId="1038"/>
          <ac:spMkLst>
            <pc:docMk/>
            <pc:sldMk cId="2945519729" sldId="8127"/>
            <ac:spMk id="18" creationId="{898B8501-4BB6-4A85-86C0-5D1EF84D1A4F}"/>
          </ac:spMkLst>
        </pc:spChg>
        <pc:spChg chg="mod">
          <ac:chgData name="Gregory Fuller" userId="b63c1727-5d73-4e63-96f5-37726e61ed3d" providerId="ADAL" clId="{1F768DF2-6288-4A02-99AE-18C16124FC02}" dt="2018-12-05T03:13:26.730" v="1821" actId="1038"/>
          <ac:spMkLst>
            <pc:docMk/>
            <pc:sldMk cId="2945519729" sldId="8127"/>
            <ac:spMk id="22" creationId="{F3EE5F3D-B98D-4C3D-8E0D-DA9D74E74CB1}"/>
          </ac:spMkLst>
        </pc:spChg>
        <pc:spChg chg="mod">
          <ac:chgData name="Gregory Fuller" userId="b63c1727-5d73-4e63-96f5-37726e61ed3d" providerId="ADAL" clId="{1F768DF2-6288-4A02-99AE-18C16124FC02}" dt="2018-12-05T03:10:34.341" v="1735" actId="1036"/>
          <ac:spMkLst>
            <pc:docMk/>
            <pc:sldMk cId="2945519729" sldId="8127"/>
            <ac:spMk id="24" creationId="{7582EDDC-C114-49BE-8A82-6A6E551FE834}"/>
          </ac:spMkLst>
        </pc:spChg>
        <pc:spChg chg="mod">
          <ac:chgData name="Gregory Fuller" userId="b63c1727-5d73-4e63-96f5-37726e61ed3d" providerId="ADAL" clId="{1F768DF2-6288-4A02-99AE-18C16124FC02}" dt="2018-12-05T03:10:34.341" v="1735" actId="1036"/>
          <ac:spMkLst>
            <pc:docMk/>
            <pc:sldMk cId="2945519729" sldId="8127"/>
            <ac:spMk id="29" creationId="{9BBF92AE-F61C-460D-B370-8C83D0E5C44B}"/>
          </ac:spMkLst>
        </pc:spChg>
        <pc:spChg chg="del">
          <ac:chgData name="Gregory Fuller" userId="b63c1727-5d73-4e63-96f5-37726e61ed3d" providerId="ADAL" clId="{1F768DF2-6288-4A02-99AE-18C16124FC02}" dt="2018-12-05T03:10:20.906" v="1711" actId="478"/>
          <ac:spMkLst>
            <pc:docMk/>
            <pc:sldMk cId="2945519729" sldId="8127"/>
            <ac:spMk id="39" creationId="{5C25F107-318F-4A25-A2B7-B9E4D4398E7E}"/>
          </ac:spMkLst>
        </pc:spChg>
        <pc:spChg chg="mod">
          <ac:chgData name="Gregory Fuller" userId="b63c1727-5d73-4e63-96f5-37726e61ed3d" providerId="ADAL" clId="{1F768DF2-6288-4A02-99AE-18C16124FC02}" dt="2018-12-05T03:13:07.257" v="1802" actId="1038"/>
          <ac:spMkLst>
            <pc:docMk/>
            <pc:sldMk cId="2945519729" sldId="8127"/>
            <ac:spMk id="48" creationId="{EF19B846-8A6F-42AE-8FEA-6333E52B1634}"/>
          </ac:spMkLst>
        </pc:spChg>
        <pc:spChg chg="mod">
          <ac:chgData name="Gregory Fuller" userId="b63c1727-5d73-4e63-96f5-37726e61ed3d" providerId="ADAL" clId="{1F768DF2-6288-4A02-99AE-18C16124FC02}" dt="2018-12-05T03:13:32.378" v="1828" actId="1038"/>
          <ac:spMkLst>
            <pc:docMk/>
            <pc:sldMk cId="2945519729" sldId="8127"/>
            <ac:spMk id="49" creationId="{B463CC31-1559-4E43-992E-DD26B0FE2091}"/>
          </ac:spMkLst>
        </pc:spChg>
        <pc:spChg chg="mod">
          <ac:chgData name="Gregory Fuller" userId="b63c1727-5d73-4e63-96f5-37726e61ed3d" providerId="ADAL" clId="{1F768DF2-6288-4A02-99AE-18C16124FC02}" dt="2018-12-05T03:13:26.730" v="1821" actId="1038"/>
          <ac:spMkLst>
            <pc:docMk/>
            <pc:sldMk cId="2945519729" sldId="8127"/>
            <ac:spMk id="50" creationId="{FD3C63C3-32FE-4644-9099-B84FB1234000}"/>
          </ac:spMkLst>
        </pc:spChg>
        <pc:spChg chg="mod">
          <ac:chgData name="Gregory Fuller" userId="b63c1727-5d73-4e63-96f5-37726e61ed3d" providerId="ADAL" clId="{1F768DF2-6288-4A02-99AE-18C16124FC02}" dt="2018-12-05T03:13:19.537" v="1813" actId="1038"/>
          <ac:spMkLst>
            <pc:docMk/>
            <pc:sldMk cId="2945519729" sldId="8127"/>
            <ac:spMk id="51" creationId="{BEE39390-7406-46DE-A69F-B8F64AFF7071}"/>
          </ac:spMkLst>
        </pc:spChg>
        <pc:spChg chg="mod">
          <ac:chgData name="Gregory Fuller" userId="b63c1727-5d73-4e63-96f5-37726e61ed3d" providerId="ADAL" clId="{1F768DF2-6288-4A02-99AE-18C16124FC02}" dt="2018-12-05T03:10:44.898" v="1764" actId="1036"/>
          <ac:spMkLst>
            <pc:docMk/>
            <pc:sldMk cId="2945519729" sldId="8127"/>
            <ac:spMk id="56" creationId="{0200E6B4-B0AB-4468-823D-7E35471A028A}"/>
          </ac:spMkLst>
        </pc:spChg>
        <pc:spChg chg="mod">
          <ac:chgData name="Gregory Fuller" userId="b63c1727-5d73-4e63-96f5-37726e61ed3d" providerId="ADAL" clId="{1F768DF2-6288-4A02-99AE-18C16124FC02}" dt="2018-12-05T03:13:19.537" v="1813" actId="1038"/>
          <ac:spMkLst>
            <pc:docMk/>
            <pc:sldMk cId="2945519729" sldId="8127"/>
            <ac:spMk id="58" creationId="{ED7407E5-ABE1-41AE-85EB-6AA24D6890E3}"/>
          </ac:spMkLst>
        </pc:spChg>
        <pc:spChg chg="mod">
          <ac:chgData name="Gregory Fuller" userId="b63c1727-5d73-4e63-96f5-37726e61ed3d" providerId="ADAL" clId="{1F768DF2-6288-4A02-99AE-18C16124FC02}" dt="2018-12-05T03:10:34.341" v="1735" actId="1036"/>
          <ac:spMkLst>
            <pc:docMk/>
            <pc:sldMk cId="2945519729" sldId="8127"/>
            <ac:spMk id="59" creationId="{B7B65848-AF01-480B-BFB5-379CCAD9C393}"/>
          </ac:spMkLst>
        </pc:spChg>
        <pc:spChg chg="mod">
          <ac:chgData name="Gregory Fuller" userId="b63c1727-5d73-4e63-96f5-37726e61ed3d" providerId="ADAL" clId="{1F768DF2-6288-4A02-99AE-18C16124FC02}" dt="2018-12-05T03:13:32.378" v="1828" actId="1038"/>
          <ac:spMkLst>
            <pc:docMk/>
            <pc:sldMk cId="2945519729" sldId="8127"/>
            <ac:spMk id="61" creationId="{5CDD0544-39A6-448E-B5D8-BDF14467B2CA}"/>
          </ac:spMkLst>
        </pc:spChg>
        <pc:spChg chg="mod">
          <ac:chgData name="Gregory Fuller" userId="b63c1727-5d73-4e63-96f5-37726e61ed3d" providerId="ADAL" clId="{1F768DF2-6288-4A02-99AE-18C16124FC02}" dt="2018-12-05T03:13:26.730" v="1821" actId="1038"/>
          <ac:spMkLst>
            <pc:docMk/>
            <pc:sldMk cId="2945519729" sldId="8127"/>
            <ac:spMk id="62" creationId="{4BBC63B5-5DE6-4E4F-8F9C-1E62A9B561D0}"/>
          </ac:spMkLst>
        </pc:spChg>
        <pc:spChg chg="mod">
          <ac:chgData name="Gregory Fuller" userId="b63c1727-5d73-4e63-96f5-37726e61ed3d" providerId="ADAL" clId="{1F768DF2-6288-4A02-99AE-18C16124FC02}" dt="2018-12-05T03:13:19.537" v="1813" actId="1038"/>
          <ac:spMkLst>
            <pc:docMk/>
            <pc:sldMk cId="2945519729" sldId="8127"/>
            <ac:spMk id="65" creationId="{A2E66846-CFCF-4FAD-86FC-CD0C73112410}"/>
          </ac:spMkLst>
        </pc:spChg>
        <pc:cxnChg chg="mod">
          <ac:chgData name="Gregory Fuller" userId="b63c1727-5d73-4e63-96f5-37726e61ed3d" providerId="ADAL" clId="{1F768DF2-6288-4A02-99AE-18C16124FC02}" dt="2018-12-05T03:10:34.341" v="1735" actId="1036"/>
          <ac:cxnSpMkLst>
            <pc:docMk/>
            <pc:sldMk cId="2945519729" sldId="8127"/>
            <ac:cxnSpMk id="4" creationId="{2BAFBEFB-CBA9-4EDF-ADEB-1D9374DF6527}"/>
          </ac:cxnSpMkLst>
        </pc:cxnChg>
        <pc:cxnChg chg="mod">
          <ac:chgData name="Gregory Fuller" userId="b63c1727-5d73-4e63-96f5-37726e61ed3d" providerId="ADAL" clId="{1F768DF2-6288-4A02-99AE-18C16124FC02}" dt="2018-12-05T03:13:26.730" v="1821" actId="1038"/>
          <ac:cxnSpMkLst>
            <pc:docMk/>
            <pc:sldMk cId="2945519729" sldId="8127"/>
            <ac:cxnSpMk id="54" creationId="{C63C38F4-5544-4E42-93AE-9BB4593BE35F}"/>
          </ac:cxnSpMkLst>
        </pc:cxnChg>
      </pc:sldChg>
      <pc:sldChg chg="addSp modSp">
        <pc:chgData name="Gregory Fuller" userId="b63c1727-5d73-4e63-96f5-37726e61ed3d" providerId="ADAL" clId="{1F768DF2-6288-4A02-99AE-18C16124FC02}" dt="2018-12-05T01:29:54.287" v="443" actId="1076"/>
        <pc:sldMkLst>
          <pc:docMk/>
          <pc:sldMk cId="1520678876" sldId="8129"/>
        </pc:sldMkLst>
        <pc:spChg chg="mod">
          <ac:chgData name="Gregory Fuller" userId="b63c1727-5d73-4e63-96f5-37726e61ed3d" providerId="ADAL" clId="{1F768DF2-6288-4A02-99AE-18C16124FC02}" dt="2018-12-05T01:28:16.242" v="384" actId="947"/>
          <ac:spMkLst>
            <pc:docMk/>
            <pc:sldMk cId="1520678876" sldId="8129"/>
            <ac:spMk id="2" creationId="{E0E88D62-7960-49C7-9805-BC53373172AE}"/>
          </ac:spMkLst>
        </pc:spChg>
        <pc:spChg chg="add mod">
          <ac:chgData name="Gregory Fuller" userId="b63c1727-5d73-4e63-96f5-37726e61ed3d" providerId="ADAL" clId="{1F768DF2-6288-4A02-99AE-18C16124FC02}" dt="2018-12-05T01:29:54.287" v="443" actId="1076"/>
          <ac:spMkLst>
            <pc:docMk/>
            <pc:sldMk cId="1520678876" sldId="8129"/>
            <ac:spMk id="4" creationId="{A51093F9-021A-44E8-B6FB-6931687E2358}"/>
          </ac:spMkLst>
        </pc:spChg>
      </pc:sldChg>
      <pc:sldChg chg="addSp delSp modSp ord modNotesTx">
        <pc:chgData name="Gregory Fuller" userId="b63c1727-5d73-4e63-96f5-37726e61ed3d" providerId="ADAL" clId="{1F768DF2-6288-4A02-99AE-18C16124FC02}" dt="2018-12-05T03:26:17.347" v="2138" actId="20577"/>
        <pc:sldMkLst>
          <pc:docMk/>
          <pc:sldMk cId="3100949915" sldId="8130"/>
        </pc:sldMkLst>
        <pc:spChg chg="mod">
          <ac:chgData name="Gregory Fuller" userId="b63c1727-5d73-4e63-96f5-37726e61ed3d" providerId="ADAL" clId="{1F768DF2-6288-4A02-99AE-18C16124FC02}" dt="2018-12-05T03:22:39.274" v="2109" actId="14100"/>
          <ac:spMkLst>
            <pc:docMk/>
            <pc:sldMk cId="3100949915" sldId="8130"/>
            <ac:spMk id="5" creationId="{00000000-0000-0000-0000-000000000000}"/>
          </ac:spMkLst>
        </pc:spChg>
        <pc:spChg chg="add mod">
          <ac:chgData name="Gregory Fuller" userId="b63c1727-5d73-4e63-96f5-37726e61ed3d" providerId="ADAL" clId="{1F768DF2-6288-4A02-99AE-18C16124FC02}" dt="2018-12-05T03:24:23.646" v="2134" actId="113"/>
          <ac:spMkLst>
            <pc:docMk/>
            <pc:sldMk cId="3100949915" sldId="8130"/>
            <ac:spMk id="7" creationId="{ADD83DDE-6E17-497D-8F3E-A0E834B5227B}"/>
          </ac:spMkLst>
        </pc:spChg>
        <pc:spChg chg="del">
          <ac:chgData name="Gregory Fuller" userId="b63c1727-5d73-4e63-96f5-37726e61ed3d" providerId="ADAL" clId="{1F768DF2-6288-4A02-99AE-18C16124FC02}" dt="2018-12-05T03:24:57.487" v="2135" actId="478"/>
          <ac:spMkLst>
            <pc:docMk/>
            <pc:sldMk cId="3100949915" sldId="8130"/>
            <ac:spMk id="10" creationId="{69574EF1-03FA-4C3F-BEA3-BE8190B1FCC9}"/>
          </ac:spMkLst>
        </pc:spChg>
        <pc:spChg chg="mod">
          <ac:chgData name="Gregory Fuller" userId="b63c1727-5d73-4e63-96f5-37726e61ed3d" providerId="ADAL" clId="{1F768DF2-6288-4A02-99AE-18C16124FC02}" dt="2018-12-05T03:24:13.690" v="2131" actId="20577"/>
          <ac:spMkLst>
            <pc:docMk/>
            <pc:sldMk cId="3100949915" sldId="8130"/>
            <ac:spMk id="12" creationId="{F7FFF5F5-12B3-4056-9516-8C06313C82B9}"/>
          </ac:spMkLst>
        </pc:spChg>
      </pc:sldChg>
      <pc:sldChg chg="ord">
        <pc:chgData name="Gregory Fuller" userId="b63c1727-5d73-4e63-96f5-37726e61ed3d" providerId="ADAL" clId="{1F768DF2-6288-4A02-99AE-18C16124FC02}" dt="2018-12-05T18:29:43.556" v="3447"/>
        <pc:sldMkLst>
          <pc:docMk/>
          <pc:sldMk cId="2947830414" sldId="8132"/>
        </pc:sldMkLst>
      </pc:sldChg>
      <pc:sldChg chg="addSp modSp add">
        <pc:chgData name="Gregory Fuller" userId="b63c1727-5d73-4e63-96f5-37726e61ed3d" providerId="ADAL" clId="{1F768DF2-6288-4A02-99AE-18C16124FC02}" dt="2018-12-08T01:22:55.940" v="3925" actId="20577"/>
        <pc:sldMkLst>
          <pc:docMk/>
          <pc:sldMk cId="4030070806" sldId="8134"/>
        </pc:sldMkLst>
        <pc:spChg chg="mod">
          <ac:chgData name="Gregory Fuller" userId="b63c1727-5d73-4e63-96f5-37726e61ed3d" providerId="ADAL" clId="{1F768DF2-6288-4A02-99AE-18C16124FC02}" dt="2018-12-08T01:21:39.535" v="3918" actId="1076"/>
          <ac:spMkLst>
            <pc:docMk/>
            <pc:sldMk cId="4030070806" sldId="8134"/>
            <ac:spMk id="2" creationId="{A7EBC83C-5B10-4E8C-B235-B55E6C8148D0}"/>
          </ac:spMkLst>
        </pc:spChg>
        <pc:spChg chg="add mod">
          <ac:chgData name="Gregory Fuller" userId="b63c1727-5d73-4e63-96f5-37726e61ed3d" providerId="ADAL" clId="{1F768DF2-6288-4A02-99AE-18C16124FC02}" dt="2018-12-08T01:22:55.940" v="3925" actId="20577"/>
          <ac:spMkLst>
            <pc:docMk/>
            <pc:sldMk cId="4030070806" sldId="8134"/>
            <ac:spMk id="3" creationId="{421AA1E6-87F8-48DE-A8D4-21CA71C4115E}"/>
          </ac:spMkLst>
        </pc:spChg>
        <pc:picChg chg="add mod ord">
          <ac:chgData name="Gregory Fuller" userId="b63c1727-5d73-4e63-96f5-37726e61ed3d" providerId="ADAL" clId="{1F768DF2-6288-4A02-99AE-18C16124FC02}" dt="2018-12-08T01:21:53.822" v="3921" actId="167"/>
          <ac:picMkLst>
            <pc:docMk/>
            <pc:sldMk cId="4030070806" sldId="8134"/>
            <ac:picMk id="1026" creationId="{B8C50486-BA72-44B7-917D-BD2C094A7989}"/>
          </ac:picMkLst>
        </pc:picChg>
      </pc:sldChg>
      <pc:sldChg chg="modSp add">
        <pc:chgData name="Gregory Fuller" userId="b63c1727-5d73-4e63-96f5-37726e61ed3d" providerId="ADAL" clId="{1F768DF2-6288-4A02-99AE-18C16124FC02}" dt="2018-12-05T01:32:01.138" v="765" actId="20577"/>
        <pc:sldMkLst>
          <pc:docMk/>
          <pc:sldMk cId="818712834" sldId="8135"/>
        </pc:sldMkLst>
        <pc:spChg chg="mod">
          <ac:chgData name="Gregory Fuller" userId="b63c1727-5d73-4e63-96f5-37726e61ed3d" providerId="ADAL" clId="{1F768DF2-6288-4A02-99AE-18C16124FC02}" dt="2018-12-05T01:31:32.898" v="713" actId="20577"/>
          <ac:spMkLst>
            <pc:docMk/>
            <pc:sldMk cId="818712834" sldId="8135"/>
            <ac:spMk id="2" creationId="{E0E88D62-7960-49C7-9805-BC53373172AE}"/>
          </ac:spMkLst>
        </pc:spChg>
        <pc:spChg chg="mod">
          <ac:chgData name="Gregory Fuller" userId="b63c1727-5d73-4e63-96f5-37726e61ed3d" providerId="ADAL" clId="{1F768DF2-6288-4A02-99AE-18C16124FC02}" dt="2018-12-05T01:32:01.138" v="765" actId="20577"/>
          <ac:spMkLst>
            <pc:docMk/>
            <pc:sldMk cId="818712834" sldId="8135"/>
            <ac:spMk id="4" creationId="{A51093F9-021A-44E8-B6FB-6931687E2358}"/>
          </ac:spMkLst>
        </pc:spChg>
      </pc:sldChg>
      <pc:sldChg chg="addSp delSp modSp add delAnim modAnim">
        <pc:chgData name="Gregory Fuller" userId="b63c1727-5d73-4e63-96f5-37726e61ed3d" providerId="ADAL" clId="{1F768DF2-6288-4A02-99AE-18C16124FC02}" dt="2018-12-05T18:30:40.183" v="3521" actId="1076"/>
        <pc:sldMkLst>
          <pc:docMk/>
          <pc:sldMk cId="496740884" sldId="8136"/>
        </pc:sldMkLst>
        <pc:spChg chg="add mod">
          <ac:chgData name="Gregory Fuller" userId="b63c1727-5d73-4e63-96f5-37726e61ed3d" providerId="ADAL" clId="{1F768DF2-6288-4A02-99AE-18C16124FC02}" dt="2018-12-05T02:09:08.220" v="919" actId="1076"/>
          <ac:spMkLst>
            <pc:docMk/>
            <pc:sldMk cId="496740884" sldId="8136"/>
            <ac:spMk id="90" creationId="{254CFB61-59A9-4174-AB78-D8374AFD6101}"/>
          </ac:spMkLst>
        </pc:spChg>
        <pc:spChg chg="add mod">
          <ac:chgData name="Gregory Fuller" userId="b63c1727-5d73-4e63-96f5-37726e61ed3d" providerId="ADAL" clId="{1F768DF2-6288-4A02-99AE-18C16124FC02}" dt="2018-12-05T18:30:40.183" v="3521" actId="1076"/>
          <ac:spMkLst>
            <pc:docMk/>
            <pc:sldMk cId="496740884" sldId="8136"/>
            <ac:spMk id="92" creationId="{39AE39CC-3AAA-486D-8026-DBB2FE1E90D0}"/>
          </ac:spMkLst>
        </pc:spChg>
        <pc:spChg chg="mod">
          <ac:chgData name="Gregory Fuller" userId="b63c1727-5d73-4e63-96f5-37726e61ed3d" providerId="ADAL" clId="{1F768DF2-6288-4A02-99AE-18C16124FC02}" dt="2018-12-05T02:08:38.828" v="907" actId="1076"/>
          <ac:spMkLst>
            <pc:docMk/>
            <pc:sldMk cId="496740884" sldId="8136"/>
            <ac:spMk id="187" creationId="{CE4D90E0-AFC8-44D0-B6DD-9E804477A257}"/>
          </ac:spMkLst>
        </pc:spChg>
        <pc:spChg chg="mod">
          <ac:chgData name="Gregory Fuller" userId="b63c1727-5d73-4e63-96f5-37726e61ed3d" providerId="ADAL" clId="{1F768DF2-6288-4A02-99AE-18C16124FC02}" dt="2018-12-05T02:08:38.828" v="907" actId="1076"/>
          <ac:spMkLst>
            <pc:docMk/>
            <pc:sldMk cId="496740884" sldId="8136"/>
            <ac:spMk id="188" creationId="{63FAEA9E-3B45-4FCB-9BD0-3A31D245F869}"/>
          </ac:spMkLst>
        </pc:spChg>
        <pc:spChg chg="mod">
          <ac:chgData name="Gregory Fuller" userId="b63c1727-5d73-4e63-96f5-37726e61ed3d" providerId="ADAL" clId="{1F768DF2-6288-4A02-99AE-18C16124FC02}" dt="2018-12-05T02:23:05.489" v="1072" actId="14100"/>
          <ac:spMkLst>
            <pc:docMk/>
            <pc:sldMk cId="496740884" sldId="8136"/>
            <ac:spMk id="189" creationId="{CF3FCBDF-0349-4739-A4BB-606E9EF41A6E}"/>
          </ac:spMkLst>
        </pc:spChg>
        <pc:spChg chg="mod">
          <ac:chgData name="Gregory Fuller" userId="b63c1727-5d73-4e63-96f5-37726e61ed3d" providerId="ADAL" clId="{1F768DF2-6288-4A02-99AE-18C16124FC02}" dt="2018-12-05T02:08:38.828" v="907" actId="1076"/>
          <ac:spMkLst>
            <pc:docMk/>
            <pc:sldMk cId="496740884" sldId="8136"/>
            <ac:spMk id="190" creationId="{9AB343B9-9112-4619-9953-458B03BC7D02}"/>
          </ac:spMkLst>
        </pc:spChg>
        <pc:spChg chg="mod">
          <ac:chgData name="Gregory Fuller" userId="b63c1727-5d73-4e63-96f5-37726e61ed3d" providerId="ADAL" clId="{1F768DF2-6288-4A02-99AE-18C16124FC02}" dt="2018-12-05T02:07:31.634" v="895" actId="20577"/>
          <ac:spMkLst>
            <pc:docMk/>
            <pc:sldMk cId="496740884" sldId="8136"/>
            <ac:spMk id="195" creationId="{79224A56-C3C8-4A40-B996-633B1EE60DD3}"/>
          </ac:spMkLst>
        </pc:spChg>
        <pc:spChg chg="mod">
          <ac:chgData name="Gregory Fuller" userId="b63c1727-5d73-4e63-96f5-37726e61ed3d" providerId="ADAL" clId="{1F768DF2-6288-4A02-99AE-18C16124FC02}" dt="2018-12-05T02:08:38.828" v="907" actId="1076"/>
          <ac:spMkLst>
            <pc:docMk/>
            <pc:sldMk cId="496740884" sldId="8136"/>
            <ac:spMk id="216" creationId="{8B1E6E65-CCD7-41B8-B9A7-4370F420FC07}"/>
          </ac:spMkLst>
        </pc:spChg>
        <pc:spChg chg="mod topLvl">
          <ac:chgData name="Gregory Fuller" userId="b63c1727-5d73-4e63-96f5-37726e61ed3d" providerId="ADAL" clId="{1F768DF2-6288-4A02-99AE-18C16124FC02}" dt="2018-12-05T02:08:38.828" v="907" actId="1076"/>
          <ac:spMkLst>
            <pc:docMk/>
            <pc:sldMk cId="496740884" sldId="8136"/>
            <ac:spMk id="218" creationId="{155D31F7-AB20-4B76-8AF7-989A0993C857}"/>
          </ac:spMkLst>
        </pc:spChg>
        <pc:spChg chg="mod topLvl">
          <ac:chgData name="Gregory Fuller" userId="b63c1727-5d73-4e63-96f5-37726e61ed3d" providerId="ADAL" clId="{1F768DF2-6288-4A02-99AE-18C16124FC02}" dt="2018-12-05T02:08:38.828" v="907" actId="1076"/>
          <ac:spMkLst>
            <pc:docMk/>
            <pc:sldMk cId="496740884" sldId="8136"/>
            <ac:spMk id="219" creationId="{1AE689AF-21DB-4021-B4F4-3FA803A04730}"/>
          </ac:spMkLst>
        </pc:spChg>
        <pc:spChg chg="mod topLvl">
          <ac:chgData name="Gregory Fuller" userId="b63c1727-5d73-4e63-96f5-37726e61ed3d" providerId="ADAL" clId="{1F768DF2-6288-4A02-99AE-18C16124FC02}" dt="2018-12-05T02:19:11.120" v="966" actId="20577"/>
          <ac:spMkLst>
            <pc:docMk/>
            <pc:sldMk cId="496740884" sldId="8136"/>
            <ac:spMk id="221" creationId="{2E6C5DE6-4E0B-4960-83C3-C62E3675B10E}"/>
          </ac:spMkLst>
        </pc:spChg>
        <pc:spChg chg="mod">
          <ac:chgData name="Gregory Fuller" userId="b63c1727-5d73-4e63-96f5-37726e61ed3d" providerId="ADAL" clId="{1F768DF2-6288-4A02-99AE-18C16124FC02}" dt="2018-12-05T02:08:38.828" v="907" actId="1076"/>
          <ac:spMkLst>
            <pc:docMk/>
            <pc:sldMk cId="496740884" sldId="8136"/>
            <ac:spMk id="237" creationId="{4B49B36A-D8B6-43BB-AF3F-D107F9C29A1A}"/>
          </ac:spMkLst>
        </pc:spChg>
        <pc:spChg chg="mod">
          <ac:chgData name="Gregory Fuller" userId="b63c1727-5d73-4e63-96f5-37726e61ed3d" providerId="ADAL" clId="{1F768DF2-6288-4A02-99AE-18C16124FC02}" dt="2018-12-05T02:08:38.828" v="907" actId="1076"/>
          <ac:spMkLst>
            <pc:docMk/>
            <pc:sldMk cId="496740884" sldId="8136"/>
            <ac:spMk id="238" creationId="{FE39383A-4A76-48B8-93CB-F3BD671604AF}"/>
          </ac:spMkLst>
        </pc:spChg>
        <pc:spChg chg="del">
          <ac:chgData name="Gregory Fuller" userId="b63c1727-5d73-4e63-96f5-37726e61ed3d" providerId="ADAL" clId="{1F768DF2-6288-4A02-99AE-18C16124FC02}" dt="2018-12-05T02:06:08.855" v="878" actId="478"/>
          <ac:spMkLst>
            <pc:docMk/>
            <pc:sldMk cId="496740884" sldId="8136"/>
            <ac:spMk id="243" creationId="{F68D3C1F-B5C5-474F-9AD1-BFBB5834958D}"/>
          </ac:spMkLst>
        </pc:spChg>
        <pc:spChg chg="del">
          <ac:chgData name="Gregory Fuller" userId="b63c1727-5d73-4e63-96f5-37726e61ed3d" providerId="ADAL" clId="{1F768DF2-6288-4A02-99AE-18C16124FC02}" dt="2018-12-05T02:06:08.855" v="878" actId="478"/>
          <ac:spMkLst>
            <pc:docMk/>
            <pc:sldMk cId="496740884" sldId="8136"/>
            <ac:spMk id="244" creationId="{299E1E1B-B906-4CF8-ADA3-D0A831692E79}"/>
          </ac:spMkLst>
        </pc:spChg>
        <pc:spChg chg="del">
          <ac:chgData name="Gregory Fuller" userId="b63c1727-5d73-4e63-96f5-37726e61ed3d" providerId="ADAL" clId="{1F768DF2-6288-4A02-99AE-18C16124FC02}" dt="2018-12-05T02:06:08.855" v="878" actId="478"/>
          <ac:spMkLst>
            <pc:docMk/>
            <pc:sldMk cId="496740884" sldId="8136"/>
            <ac:spMk id="265" creationId="{19542246-1B85-4884-B224-EBCC0393D203}"/>
          </ac:spMkLst>
        </pc:spChg>
        <pc:grpChg chg="mod">
          <ac:chgData name="Gregory Fuller" userId="b63c1727-5d73-4e63-96f5-37726e61ed3d" providerId="ADAL" clId="{1F768DF2-6288-4A02-99AE-18C16124FC02}" dt="2018-12-05T02:08:38.828" v="907" actId="1076"/>
          <ac:grpSpMkLst>
            <pc:docMk/>
            <pc:sldMk cId="496740884" sldId="8136"/>
            <ac:grpSpMk id="194" creationId="{23976186-A535-439A-999D-B04BCFDB6E99}"/>
          </ac:grpSpMkLst>
        </pc:grpChg>
        <pc:grpChg chg="mod">
          <ac:chgData name="Gregory Fuller" userId="b63c1727-5d73-4e63-96f5-37726e61ed3d" providerId="ADAL" clId="{1F768DF2-6288-4A02-99AE-18C16124FC02}" dt="2018-12-05T02:08:38.828" v="907" actId="1076"/>
          <ac:grpSpMkLst>
            <pc:docMk/>
            <pc:sldMk cId="496740884" sldId="8136"/>
            <ac:grpSpMk id="197" creationId="{A27FFE33-EF7B-4E55-9B85-5C98A8BF5CE4}"/>
          </ac:grpSpMkLst>
        </pc:grpChg>
        <pc:grpChg chg="del mod">
          <ac:chgData name="Gregory Fuller" userId="b63c1727-5d73-4e63-96f5-37726e61ed3d" providerId="ADAL" clId="{1F768DF2-6288-4A02-99AE-18C16124FC02}" dt="2018-12-05T02:07:19.735" v="886" actId="165"/>
          <ac:grpSpMkLst>
            <pc:docMk/>
            <pc:sldMk cId="496740884" sldId="8136"/>
            <ac:grpSpMk id="217" creationId="{70DAE11A-D7E9-4F3F-8D7C-C8B5BA9F3CE9}"/>
          </ac:grpSpMkLst>
        </pc:grpChg>
        <pc:grpChg chg="mod topLvl">
          <ac:chgData name="Gregory Fuller" userId="b63c1727-5d73-4e63-96f5-37726e61ed3d" providerId="ADAL" clId="{1F768DF2-6288-4A02-99AE-18C16124FC02}" dt="2018-12-05T02:08:38.828" v="907" actId="1076"/>
          <ac:grpSpMkLst>
            <pc:docMk/>
            <pc:sldMk cId="496740884" sldId="8136"/>
            <ac:grpSpMk id="222" creationId="{41A6CE3C-F7AF-41BE-8332-3E0A4F1D83BA}"/>
          </ac:grpSpMkLst>
        </pc:grpChg>
        <pc:grpChg chg="mod topLvl">
          <ac:chgData name="Gregory Fuller" userId="b63c1727-5d73-4e63-96f5-37726e61ed3d" providerId="ADAL" clId="{1F768DF2-6288-4A02-99AE-18C16124FC02}" dt="2018-12-05T02:08:38.828" v="907" actId="1076"/>
          <ac:grpSpMkLst>
            <pc:docMk/>
            <pc:sldMk cId="496740884" sldId="8136"/>
            <ac:grpSpMk id="223" creationId="{98DC7A94-2EA1-49C5-AEB2-4EF00A51A15C}"/>
          </ac:grpSpMkLst>
        </pc:grpChg>
        <pc:grpChg chg="mod">
          <ac:chgData name="Gregory Fuller" userId="b63c1727-5d73-4e63-96f5-37726e61ed3d" providerId="ADAL" clId="{1F768DF2-6288-4A02-99AE-18C16124FC02}" dt="2018-12-05T02:08:38.828" v="907" actId="1076"/>
          <ac:grpSpMkLst>
            <pc:docMk/>
            <pc:sldMk cId="496740884" sldId="8136"/>
            <ac:grpSpMk id="234" creationId="{0B806783-60DC-4BC0-8450-DFB83F2AF90C}"/>
          </ac:grpSpMkLst>
        </pc:grpChg>
        <pc:grpChg chg="mod">
          <ac:chgData name="Gregory Fuller" userId="b63c1727-5d73-4e63-96f5-37726e61ed3d" providerId="ADAL" clId="{1F768DF2-6288-4A02-99AE-18C16124FC02}" dt="2018-12-05T02:08:38.828" v="907" actId="1076"/>
          <ac:grpSpMkLst>
            <pc:docMk/>
            <pc:sldMk cId="496740884" sldId="8136"/>
            <ac:grpSpMk id="239" creationId="{8AC1403A-6974-4E39-903F-E50124E1586B}"/>
          </ac:grpSpMkLst>
        </pc:grpChg>
        <pc:grpChg chg="del">
          <ac:chgData name="Gregory Fuller" userId="b63c1727-5d73-4e63-96f5-37726e61ed3d" providerId="ADAL" clId="{1F768DF2-6288-4A02-99AE-18C16124FC02}" dt="2018-12-05T02:06:08.855" v="878" actId="478"/>
          <ac:grpSpMkLst>
            <pc:docMk/>
            <pc:sldMk cId="496740884" sldId="8136"/>
            <ac:grpSpMk id="246" creationId="{B92F8D42-692C-4E03-ABE0-0D29E066A2D0}"/>
          </ac:grpSpMkLst>
        </pc:grpChg>
        <pc:grpChg chg="del">
          <ac:chgData name="Gregory Fuller" userId="b63c1727-5d73-4e63-96f5-37726e61ed3d" providerId="ADAL" clId="{1F768DF2-6288-4A02-99AE-18C16124FC02}" dt="2018-12-05T02:06:56.925" v="880" actId="478"/>
          <ac:grpSpMkLst>
            <pc:docMk/>
            <pc:sldMk cId="496740884" sldId="8136"/>
            <ac:grpSpMk id="266" creationId="{269E5E06-74B4-4C61-8AEA-7EC69DDA8EBE}"/>
          </ac:grpSpMkLst>
        </pc:grpChg>
        <pc:picChg chg="add del">
          <ac:chgData name="Gregory Fuller" userId="b63c1727-5d73-4e63-96f5-37726e61ed3d" providerId="ADAL" clId="{1F768DF2-6288-4A02-99AE-18C16124FC02}" dt="2018-12-05T18:30:11.062" v="3449" actId="478"/>
          <ac:picMkLst>
            <pc:docMk/>
            <pc:sldMk cId="496740884" sldId="8136"/>
            <ac:picMk id="91" creationId="{776F05C4-B38B-4F97-B49A-B2C927553CC3}"/>
          </ac:picMkLst>
        </pc:picChg>
        <pc:cxnChg chg="mod">
          <ac:chgData name="Gregory Fuller" userId="b63c1727-5d73-4e63-96f5-37726e61ed3d" providerId="ADAL" clId="{1F768DF2-6288-4A02-99AE-18C16124FC02}" dt="2018-12-05T02:08:38.828" v="907" actId="1076"/>
          <ac:cxnSpMkLst>
            <pc:docMk/>
            <pc:sldMk cId="496740884" sldId="8136"/>
            <ac:cxnSpMk id="191" creationId="{C5FD5DDF-C98B-487C-B4E9-B322F333FF4A}"/>
          </ac:cxnSpMkLst>
        </pc:cxnChg>
        <pc:cxnChg chg="mod">
          <ac:chgData name="Gregory Fuller" userId="b63c1727-5d73-4e63-96f5-37726e61ed3d" providerId="ADAL" clId="{1F768DF2-6288-4A02-99AE-18C16124FC02}" dt="2018-12-05T02:08:38.828" v="907" actId="1076"/>
          <ac:cxnSpMkLst>
            <pc:docMk/>
            <pc:sldMk cId="496740884" sldId="8136"/>
            <ac:cxnSpMk id="192" creationId="{077F6623-7090-463D-8EC4-3D9DA38501AD}"/>
          </ac:cxnSpMkLst>
        </pc:cxnChg>
        <pc:cxnChg chg="del mod">
          <ac:chgData name="Gregory Fuller" userId="b63c1727-5d73-4e63-96f5-37726e61ed3d" providerId="ADAL" clId="{1F768DF2-6288-4A02-99AE-18C16124FC02}" dt="2018-12-05T02:08:21.098" v="905" actId="478"/>
          <ac:cxnSpMkLst>
            <pc:docMk/>
            <pc:sldMk cId="496740884" sldId="8136"/>
            <ac:cxnSpMk id="193" creationId="{2F556EBF-CE1F-4985-BDC3-A033A7C3C7EB}"/>
          </ac:cxnSpMkLst>
        </pc:cxnChg>
        <pc:cxnChg chg="del mod topLvl">
          <ac:chgData name="Gregory Fuller" userId="b63c1727-5d73-4e63-96f5-37726e61ed3d" providerId="ADAL" clId="{1F768DF2-6288-4A02-99AE-18C16124FC02}" dt="2018-12-05T02:07:47.982" v="899" actId="478"/>
          <ac:cxnSpMkLst>
            <pc:docMk/>
            <pc:sldMk cId="496740884" sldId="8136"/>
            <ac:cxnSpMk id="220" creationId="{BC3A8063-DDC1-4B47-86B4-E9DE9B107FA0}"/>
          </ac:cxnSpMkLst>
        </pc:cxnChg>
        <pc:cxnChg chg="del">
          <ac:chgData name="Gregory Fuller" userId="b63c1727-5d73-4e63-96f5-37726e61ed3d" providerId="ADAL" clId="{1F768DF2-6288-4A02-99AE-18C16124FC02}" dt="2018-12-05T02:06:08.855" v="878" actId="478"/>
          <ac:cxnSpMkLst>
            <pc:docMk/>
            <pc:sldMk cId="496740884" sldId="8136"/>
            <ac:cxnSpMk id="245" creationId="{347ABDF8-1A4F-44C5-844E-83B8F4156957}"/>
          </ac:cxnSpMkLst>
        </pc:cxnChg>
        <pc:cxnChg chg="del mod">
          <ac:chgData name="Gregory Fuller" userId="b63c1727-5d73-4e63-96f5-37726e61ed3d" providerId="ADAL" clId="{1F768DF2-6288-4A02-99AE-18C16124FC02}" dt="2018-12-05T02:08:18.903" v="904" actId="478"/>
          <ac:cxnSpMkLst>
            <pc:docMk/>
            <pc:sldMk cId="496740884" sldId="8136"/>
            <ac:cxnSpMk id="272" creationId="{5B7291C0-47DA-4154-8EC3-98BCA6A71B4D}"/>
          </ac:cxnSpMkLst>
        </pc:cxnChg>
      </pc:sldChg>
      <pc:sldChg chg="modSp add">
        <pc:chgData name="Gregory Fuller" userId="b63c1727-5d73-4e63-96f5-37726e61ed3d" providerId="ADAL" clId="{1F768DF2-6288-4A02-99AE-18C16124FC02}" dt="2018-12-05T02:42:13.473" v="1274" actId="20577"/>
        <pc:sldMkLst>
          <pc:docMk/>
          <pc:sldMk cId="1840508204" sldId="8137"/>
        </pc:sldMkLst>
        <pc:spChg chg="mod">
          <ac:chgData name="Gregory Fuller" userId="b63c1727-5d73-4e63-96f5-37726e61ed3d" providerId="ADAL" clId="{1F768DF2-6288-4A02-99AE-18C16124FC02}" dt="2018-12-05T02:31:22.228" v="1141"/>
          <ac:spMkLst>
            <pc:docMk/>
            <pc:sldMk cId="1840508204" sldId="8137"/>
            <ac:spMk id="5" creationId="{00000000-0000-0000-0000-000000000000}"/>
          </ac:spMkLst>
        </pc:spChg>
        <pc:spChg chg="mod">
          <ac:chgData name="Gregory Fuller" userId="b63c1727-5d73-4e63-96f5-37726e61ed3d" providerId="ADAL" clId="{1F768DF2-6288-4A02-99AE-18C16124FC02}" dt="2018-12-05T02:42:13.473" v="1274" actId="20577"/>
          <ac:spMkLst>
            <pc:docMk/>
            <pc:sldMk cId="1840508204" sldId="8137"/>
            <ac:spMk id="12" creationId="{F7FFF5F5-12B3-4056-9516-8C06313C82B9}"/>
          </ac:spMkLst>
        </pc:spChg>
      </pc:sldChg>
      <pc:sldChg chg="addSp modSp add">
        <pc:chgData name="Gregory Fuller" userId="b63c1727-5d73-4e63-96f5-37726e61ed3d" providerId="ADAL" clId="{1F768DF2-6288-4A02-99AE-18C16124FC02}" dt="2018-12-05T17:37:58.324" v="2301" actId="1076"/>
        <pc:sldMkLst>
          <pc:docMk/>
          <pc:sldMk cId="2548039390" sldId="8138"/>
        </pc:sldMkLst>
        <pc:spChg chg="mod">
          <ac:chgData name="Gregory Fuller" userId="b63c1727-5d73-4e63-96f5-37726e61ed3d" providerId="ADAL" clId="{1F768DF2-6288-4A02-99AE-18C16124FC02}" dt="2018-12-05T17:37:31.823" v="2222" actId="20577"/>
          <ac:spMkLst>
            <pc:docMk/>
            <pc:sldMk cId="2548039390" sldId="8138"/>
            <ac:spMk id="2" creationId="{BFCE8D4F-9831-4C46-99AB-37F637107CB5}"/>
          </ac:spMkLst>
        </pc:spChg>
        <pc:spChg chg="add mod">
          <ac:chgData name="Gregory Fuller" userId="b63c1727-5d73-4e63-96f5-37726e61ed3d" providerId="ADAL" clId="{1F768DF2-6288-4A02-99AE-18C16124FC02}" dt="2018-12-05T17:37:58.324" v="2301" actId="1076"/>
          <ac:spMkLst>
            <pc:docMk/>
            <pc:sldMk cId="2548039390" sldId="8138"/>
            <ac:spMk id="3" creationId="{334946FB-6054-4F0E-A2E6-4990B28A9D2B}"/>
          </ac:spMkLst>
        </pc:spChg>
      </pc:sldChg>
      <pc:sldChg chg="addSp modSp ord">
        <pc:chgData name="Gregory Fuller" userId="b63c1727-5d73-4e63-96f5-37726e61ed3d" providerId="ADAL" clId="{1F768DF2-6288-4A02-99AE-18C16124FC02}" dt="2018-12-11T23:11:01.619" v="5828" actId="1076"/>
        <pc:sldMkLst>
          <pc:docMk/>
          <pc:sldMk cId="357016989" sldId="8143"/>
        </pc:sldMkLst>
        <pc:spChg chg="mod">
          <ac:chgData name="Gregory Fuller" userId="b63c1727-5d73-4e63-96f5-37726e61ed3d" providerId="ADAL" clId="{1F768DF2-6288-4A02-99AE-18C16124FC02}" dt="2018-12-11T23:10:48.231" v="5823" actId="1076"/>
          <ac:spMkLst>
            <pc:docMk/>
            <pc:sldMk cId="357016989" sldId="8143"/>
            <ac:spMk id="2" creationId="{E0E88D62-7960-49C7-9805-BC53373172AE}"/>
          </ac:spMkLst>
        </pc:spChg>
        <pc:spChg chg="add mod">
          <ac:chgData name="Gregory Fuller" userId="b63c1727-5d73-4e63-96f5-37726e61ed3d" providerId="ADAL" clId="{1F768DF2-6288-4A02-99AE-18C16124FC02}" dt="2018-12-11T20:56:04.361" v="5738" actId="13926"/>
          <ac:spMkLst>
            <pc:docMk/>
            <pc:sldMk cId="357016989" sldId="8143"/>
            <ac:spMk id="3" creationId="{F5D23726-19AD-49AE-A984-778DD1319A9D}"/>
          </ac:spMkLst>
        </pc:spChg>
        <pc:spChg chg="mod">
          <ac:chgData name="Gregory Fuller" userId="b63c1727-5d73-4e63-96f5-37726e61ed3d" providerId="ADAL" clId="{1F768DF2-6288-4A02-99AE-18C16124FC02}" dt="2018-12-11T23:11:01.619" v="5828" actId="1076"/>
          <ac:spMkLst>
            <pc:docMk/>
            <pc:sldMk cId="357016989" sldId="8143"/>
            <ac:spMk id="4" creationId="{1A9B76CA-CBE9-457F-BB09-7713F124642A}"/>
          </ac:spMkLst>
        </pc:spChg>
      </pc:sldChg>
      <pc:sldChg chg="modSp">
        <pc:chgData name="Gregory Fuller" userId="b63c1727-5d73-4e63-96f5-37726e61ed3d" providerId="ADAL" clId="{1F768DF2-6288-4A02-99AE-18C16124FC02}" dt="2018-12-07T22:43:21.484" v="3620" actId="1076"/>
        <pc:sldMkLst>
          <pc:docMk/>
          <pc:sldMk cId="3635774934" sldId="8144"/>
        </pc:sldMkLst>
        <pc:spChg chg="mod">
          <ac:chgData name="Gregory Fuller" userId="b63c1727-5d73-4e63-96f5-37726e61ed3d" providerId="ADAL" clId="{1F768DF2-6288-4A02-99AE-18C16124FC02}" dt="2018-12-07T22:43:07.893" v="3617" actId="1076"/>
          <ac:spMkLst>
            <pc:docMk/>
            <pc:sldMk cId="3635774934" sldId="8144"/>
            <ac:spMk id="235" creationId="{1A0893ED-66F9-4A30-884D-2811E9083B21}"/>
          </ac:spMkLst>
        </pc:spChg>
        <pc:spChg chg="mod">
          <ac:chgData name="Gregory Fuller" userId="b63c1727-5d73-4e63-96f5-37726e61ed3d" providerId="ADAL" clId="{1F768DF2-6288-4A02-99AE-18C16124FC02}" dt="2018-12-07T22:43:03.221" v="3615" actId="1076"/>
          <ac:spMkLst>
            <pc:docMk/>
            <pc:sldMk cId="3635774934" sldId="8144"/>
            <ac:spMk id="236" creationId="{472ADACA-5118-410C-A877-13FE7F565B1D}"/>
          </ac:spMkLst>
        </pc:spChg>
        <pc:grpChg chg="mod">
          <ac:chgData name="Gregory Fuller" userId="b63c1727-5d73-4e63-96f5-37726e61ed3d" providerId="ADAL" clId="{1F768DF2-6288-4A02-99AE-18C16124FC02}" dt="2018-12-07T22:42:55.969" v="3613" actId="1076"/>
          <ac:grpSpMkLst>
            <pc:docMk/>
            <pc:sldMk cId="3635774934" sldId="8144"/>
            <ac:grpSpMk id="194" creationId="{23976186-A535-439A-999D-B04BCFDB6E99}"/>
          </ac:grpSpMkLst>
        </pc:grpChg>
        <pc:grpChg chg="mod">
          <ac:chgData name="Gregory Fuller" userId="b63c1727-5d73-4e63-96f5-37726e61ed3d" providerId="ADAL" clId="{1F768DF2-6288-4A02-99AE-18C16124FC02}" dt="2018-12-07T22:43:21.484" v="3620" actId="1076"/>
          <ac:grpSpMkLst>
            <pc:docMk/>
            <pc:sldMk cId="3635774934" sldId="8144"/>
            <ac:grpSpMk id="234" creationId="{0B806783-60DC-4BC0-8450-DFB83F2AF90C}"/>
          </ac:grpSpMkLst>
        </pc:grpChg>
      </pc:sldChg>
      <pc:sldChg chg="delSp modSp modTransition">
        <pc:chgData name="Gregory Fuller" userId="b63c1727-5d73-4e63-96f5-37726e61ed3d" providerId="ADAL" clId="{1F768DF2-6288-4A02-99AE-18C16124FC02}" dt="2018-12-11T01:20:06.622" v="3957" actId="478"/>
        <pc:sldMkLst>
          <pc:docMk/>
          <pc:sldMk cId="1214537133" sldId="8150"/>
        </pc:sldMkLst>
        <pc:spChg chg="mod">
          <ac:chgData name="Gregory Fuller" userId="b63c1727-5d73-4e63-96f5-37726e61ed3d" providerId="ADAL" clId="{1F768DF2-6288-4A02-99AE-18C16124FC02}" dt="2018-12-11T01:18:40.501" v="3928" actId="20577"/>
          <ac:spMkLst>
            <pc:docMk/>
            <pc:sldMk cId="1214537133" sldId="8150"/>
            <ac:spMk id="2" creationId="{48E207A8-FAB7-4AB7-99C5-F585186800CF}"/>
          </ac:spMkLst>
        </pc:spChg>
        <pc:spChg chg="mod">
          <ac:chgData name="Gregory Fuller" userId="b63c1727-5d73-4e63-96f5-37726e61ed3d" providerId="ADAL" clId="{1F768DF2-6288-4A02-99AE-18C16124FC02}" dt="2018-12-11T01:18:49.590" v="3938" actId="20577"/>
          <ac:spMkLst>
            <pc:docMk/>
            <pc:sldMk cId="1214537133" sldId="8150"/>
            <ac:spMk id="8" creationId="{D80A8C82-7FB5-4500-A7CF-D522289183CF}"/>
          </ac:spMkLst>
        </pc:spChg>
        <pc:spChg chg="mod">
          <ac:chgData name="Gregory Fuller" userId="b63c1727-5d73-4e63-96f5-37726e61ed3d" providerId="ADAL" clId="{1F768DF2-6288-4A02-99AE-18C16124FC02}" dt="2018-12-11T01:19:54.646" v="3954" actId="20577"/>
          <ac:spMkLst>
            <pc:docMk/>
            <pc:sldMk cId="1214537133" sldId="8150"/>
            <ac:spMk id="9" creationId="{BF3D46F8-8C86-404A-B033-B6FAD1A9B432}"/>
          </ac:spMkLst>
        </pc:spChg>
        <pc:spChg chg="mod">
          <ac:chgData name="Gregory Fuller" userId="b63c1727-5d73-4e63-96f5-37726e61ed3d" providerId="ADAL" clId="{1F768DF2-6288-4A02-99AE-18C16124FC02}" dt="2018-12-11T01:19:59.175" v="3956" actId="20577"/>
          <ac:spMkLst>
            <pc:docMk/>
            <pc:sldMk cId="1214537133" sldId="8150"/>
            <ac:spMk id="10" creationId="{42EA7D76-8687-45F3-AA8E-8E9147BA12C7}"/>
          </ac:spMkLst>
        </pc:spChg>
        <pc:picChg chg="del">
          <ac:chgData name="Gregory Fuller" userId="b63c1727-5d73-4e63-96f5-37726e61ed3d" providerId="ADAL" clId="{1F768DF2-6288-4A02-99AE-18C16124FC02}" dt="2018-12-11T01:20:06.622" v="3957" actId="478"/>
          <ac:picMkLst>
            <pc:docMk/>
            <pc:sldMk cId="1214537133" sldId="8150"/>
            <ac:picMk id="11" creationId="{0689C5DD-EAE7-42EC-B486-138F8277ECF2}"/>
          </ac:picMkLst>
        </pc:picChg>
      </pc:sldChg>
      <pc:sldChg chg="add">
        <pc:chgData name="Gregory Fuller" userId="b63c1727-5d73-4e63-96f5-37726e61ed3d" providerId="ADAL" clId="{1F768DF2-6288-4A02-99AE-18C16124FC02}" dt="2018-12-11T01:18:23.088" v="3926"/>
        <pc:sldMkLst>
          <pc:docMk/>
          <pc:sldMk cId="2275988816" sldId="8283"/>
        </pc:sldMkLst>
      </pc:sldChg>
      <pc:sldChg chg="modSp ord">
        <pc:chgData name="Gregory Fuller" userId="b63c1727-5d73-4e63-96f5-37726e61ed3d" providerId="ADAL" clId="{1F768DF2-6288-4A02-99AE-18C16124FC02}" dt="2018-12-11T20:55:10.826" v="5655" actId="20577"/>
        <pc:sldMkLst>
          <pc:docMk/>
          <pc:sldMk cId="2806137602" sldId="8286"/>
        </pc:sldMkLst>
        <pc:spChg chg="mod">
          <ac:chgData name="Gregory Fuller" userId="b63c1727-5d73-4e63-96f5-37726e61ed3d" providerId="ADAL" clId="{1F768DF2-6288-4A02-99AE-18C16124FC02}" dt="2018-12-11T20:54:48.160" v="5631" actId="20577"/>
          <ac:spMkLst>
            <pc:docMk/>
            <pc:sldMk cId="2806137602" sldId="8286"/>
            <ac:spMk id="2" creationId="{3E453B6A-FF75-46DA-9C4B-12B74F065166}"/>
          </ac:spMkLst>
        </pc:spChg>
        <pc:spChg chg="mod">
          <ac:chgData name="Gregory Fuller" userId="b63c1727-5d73-4e63-96f5-37726e61ed3d" providerId="ADAL" clId="{1F768DF2-6288-4A02-99AE-18C16124FC02}" dt="2018-12-11T20:55:10.826" v="5655" actId="20577"/>
          <ac:spMkLst>
            <pc:docMk/>
            <pc:sldMk cId="2806137602" sldId="8286"/>
            <ac:spMk id="3" creationId="{EF5427CE-917D-4993-97F4-615C88A71584}"/>
          </ac:spMkLst>
        </pc:spChg>
      </pc:sldChg>
      <pc:sldChg chg="addSp delSp modSp add">
        <pc:chgData name="Gregory Fuller" userId="b63c1727-5d73-4e63-96f5-37726e61ed3d" providerId="ADAL" clId="{1F768DF2-6288-4A02-99AE-18C16124FC02}" dt="2018-12-11T23:12:14.654" v="5829" actId="1076"/>
        <pc:sldMkLst>
          <pc:docMk/>
          <pc:sldMk cId="701168643" sldId="8287"/>
        </pc:sldMkLst>
        <pc:spChg chg="mod topLvl">
          <ac:chgData name="Gregory Fuller" userId="b63c1727-5d73-4e63-96f5-37726e61ed3d" providerId="ADAL" clId="{1F768DF2-6288-4A02-99AE-18C16124FC02}" dt="2018-12-11T20:15:48.730" v="4638" actId="14100"/>
          <ac:spMkLst>
            <pc:docMk/>
            <pc:sldMk cId="701168643" sldId="8287"/>
            <ac:spMk id="3" creationId="{5A69E429-F458-47AA-99D2-848EB58DD9D6}"/>
          </ac:spMkLst>
        </pc:spChg>
        <pc:spChg chg="del">
          <ac:chgData name="Gregory Fuller" userId="b63c1727-5d73-4e63-96f5-37726e61ed3d" providerId="ADAL" clId="{1F768DF2-6288-4A02-99AE-18C16124FC02}" dt="2018-12-11T20:13:46.477" v="4592" actId="478"/>
          <ac:spMkLst>
            <pc:docMk/>
            <pc:sldMk cId="701168643" sldId="8287"/>
            <ac:spMk id="4" creationId="{16A8CC57-BFFE-4937-ABA3-7FE82C039511}"/>
          </ac:spMkLst>
        </pc:spChg>
        <pc:spChg chg="mod">
          <ac:chgData name="Gregory Fuller" userId="b63c1727-5d73-4e63-96f5-37726e61ed3d" providerId="ADAL" clId="{1F768DF2-6288-4A02-99AE-18C16124FC02}" dt="2018-12-11T20:14:10.602" v="4595" actId="1076"/>
          <ac:spMkLst>
            <pc:docMk/>
            <pc:sldMk cId="701168643" sldId="8287"/>
            <ac:spMk id="18" creationId="{10565816-FB16-4A4C-977F-14F2E5433641}"/>
          </ac:spMkLst>
        </pc:spChg>
        <pc:spChg chg="mod">
          <ac:chgData name="Gregory Fuller" userId="b63c1727-5d73-4e63-96f5-37726e61ed3d" providerId="ADAL" clId="{1F768DF2-6288-4A02-99AE-18C16124FC02}" dt="2018-12-11T20:14:10.602" v="4595" actId="1076"/>
          <ac:spMkLst>
            <pc:docMk/>
            <pc:sldMk cId="701168643" sldId="8287"/>
            <ac:spMk id="26" creationId="{E25C45A2-346D-4106-ACBE-67FDC4B14DCD}"/>
          </ac:spMkLst>
        </pc:spChg>
        <pc:spChg chg="mod">
          <ac:chgData name="Gregory Fuller" userId="b63c1727-5d73-4e63-96f5-37726e61ed3d" providerId="ADAL" clId="{1F768DF2-6288-4A02-99AE-18C16124FC02}" dt="2018-12-11T20:14:10.602" v="4595" actId="1076"/>
          <ac:spMkLst>
            <pc:docMk/>
            <pc:sldMk cId="701168643" sldId="8287"/>
            <ac:spMk id="27" creationId="{3D28665C-BECA-4DA6-81C1-52927D59D5C1}"/>
          </ac:spMkLst>
        </pc:spChg>
        <pc:spChg chg="mod">
          <ac:chgData name="Gregory Fuller" userId="b63c1727-5d73-4e63-96f5-37726e61ed3d" providerId="ADAL" clId="{1F768DF2-6288-4A02-99AE-18C16124FC02}" dt="2018-12-11T20:14:10.602" v="4595" actId="1076"/>
          <ac:spMkLst>
            <pc:docMk/>
            <pc:sldMk cId="701168643" sldId="8287"/>
            <ac:spMk id="28" creationId="{1670E5CA-E52B-4604-89E5-26A5790748EA}"/>
          </ac:spMkLst>
        </pc:spChg>
        <pc:spChg chg="mod">
          <ac:chgData name="Gregory Fuller" userId="b63c1727-5d73-4e63-96f5-37726e61ed3d" providerId="ADAL" clId="{1F768DF2-6288-4A02-99AE-18C16124FC02}" dt="2018-12-11T20:14:10.602" v="4595" actId="1076"/>
          <ac:spMkLst>
            <pc:docMk/>
            <pc:sldMk cId="701168643" sldId="8287"/>
            <ac:spMk id="29" creationId="{65AC649C-DA08-46C6-959F-1DE16BBDA53A}"/>
          </ac:spMkLst>
        </pc:spChg>
        <pc:spChg chg="mod">
          <ac:chgData name="Gregory Fuller" userId="b63c1727-5d73-4e63-96f5-37726e61ed3d" providerId="ADAL" clId="{1F768DF2-6288-4A02-99AE-18C16124FC02}" dt="2018-12-11T20:14:10.602" v="4595" actId="1076"/>
          <ac:spMkLst>
            <pc:docMk/>
            <pc:sldMk cId="701168643" sldId="8287"/>
            <ac:spMk id="33" creationId="{EFECB64D-7877-4EC7-A0D9-9BC43FCEDD61}"/>
          </ac:spMkLst>
        </pc:spChg>
        <pc:spChg chg="mod">
          <ac:chgData name="Gregory Fuller" userId="b63c1727-5d73-4e63-96f5-37726e61ed3d" providerId="ADAL" clId="{1F768DF2-6288-4A02-99AE-18C16124FC02}" dt="2018-12-11T20:14:10.602" v="4595" actId="1076"/>
          <ac:spMkLst>
            <pc:docMk/>
            <pc:sldMk cId="701168643" sldId="8287"/>
            <ac:spMk id="34" creationId="{DCEF9906-E7C4-4CA9-BEA8-D1E0289C5582}"/>
          </ac:spMkLst>
        </pc:spChg>
        <pc:spChg chg="mod">
          <ac:chgData name="Gregory Fuller" userId="b63c1727-5d73-4e63-96f5-37726e61ed3d" providerId="ADAL" clId="{1F768DF2-6288-4A02-99AE-18C16124FC02}" dt="2018-12-11T20:14:10.602" v="4595" actId="1076"/>
          <ac:spMkLst>
            <pc:docMk/>
            <pc:sldMk cId="701168643" sldId="8287"/>
            <ac:spMk id="39" creationId="{2BBA87E5-1FC6-46AF-92B4-684C969D658C}"/>
          </ac:spMkLst>
        </pc:spChg>
        <pc:spChg chg="mod">
          <ac:chgData name="Gregory Fuller" userId="b63c1727-5d73-4e63-96f5-37726e61ed3d" providerId="ADAL" clId="{1F768DF2-6288-4A02-99AE-18C16124FC02}" dt="2018-12-11T20:14:10.602" v="4595" actId="1076"/>
          <ac:spMkLst>
            <pc:docMk/>
            <pc:sldMk cId="701168643" sldId="8287"/>
            <ac:spMk id="40" creationId="{469D8807-8463-469D-8372-57AD1C0D3E88}"/>
          </ac:spMkLst>
        </pc:spChg>
        <pc:spChg chg="mod">
          <ac:chgData name="Gregory Fuller" userId="b63c1727-5d73-4e63-96f5-37726e61ed3d" providerId="ADAL" clId="{1F768DF2-6288-4A02-99AE-18C16124FC02}" dt="2018-12-11T23:12:14.654" v="5829" actId="1076"/>
          <ac:spMkLst>
            <pc:docMk/>
            <pc:sldMk cId="701168643" sldId="8287"/>
            <ac:spMk id="41" creationId="{57CD342B-D0F9-4515-A960-65A7CB27FDBF}"/>
          </ac:spMkLst>
        </pc:spChg>
        <pc:spChg chg="mod">
          <ac:chgData name="Gregory Fuller" userId="b63c1727-5d73-4e63-96f5-37726e61ed3d" providerId="ADAL" clId="{1F768DF2-6288-4A02-99AE-18C16124FC02}" dt="2018-12-11T20:14:10.602" v="4595" actId="1076"/>
          <ac:spMkLst>
            <pc:docMk/>
            <pc:sldMk cId="701168643" sldId="8287"/>
            <ac:spMk id="42" creationId="{BF74E383-5AC5-4204-BC34-662BC556CF25}"/>
          </ac:spMkLst>
        </pc:spChg>
        <pc:spChg chg="mod topLvl">
          <ac:chgData name="Gregory Fuller" userId="b63c1727-5d73-4e63-96f5-37726e61ed3d" providerId="ADAL" clId="{1F768DF2-6288-4A02-99AE-18C16124FC02}" dt="2018-12-11T20:15:43.353" v="4636" actId="1076"/>
          <ac:spMkLst>
            <pc:docMk/>
            <pc:sldMk cId="701168643" sldId="8287"/>
            <ac:spMk id="47" creationId="{42DB5A8B-F6A7-4CCE-BE64-C9C094C51BA9}"/>
          </ac:spMkLst>
        </pc:spChg>
        <pc:spChg chg="mod">
          <ac:chgData name="Gregory Fuller" userId="b63c1727-5d73-4e63-96f5-37726e61ed3d" providerId="ADAL" clId="{1F768DF2-6288-4A02-99AE-18C16124FC02}" dt="2018-12-11T20:14:10.602" v="4595" actId="1076"/>
          <ac:spMkLst>
            <pc:docMk/>
            <pc:sldMk cId="701168643" sldId="8287"/>
            <ac:spMk id="57" creationId="{0833F378-50DA-4BC3-B358-D6317FB092A7}"/>
          </ac:spMkLst>
        </pc:spChg>
        <pc:spChg chg="mod">
          <ac:chgData name="Gregory Fuller" userId="b63c1727-5d73-4e63-96f5-37726e61ed3d" providerId="ADAL" clId="{1F768DF2-6288-4A02-99AE-18C16124FC02}" dt="2018-12-11T20:14:10.602" v="4595" actId="1076"/>
          <ac:spMkLst>
            <pc:docMk/>
            <pc:sldMk cId="701168643" sldId="8287"/>
            <ac:spMk id="61" creationId="{BF8AB3AD-C649-441D-B5F7-477EBD23AF42}"/>
          </ac:spMkLst>
        </pc:spChg>
        <pc:spChg chg="mod">
          <ac:chgData name="Gregory Fuller" userId="b63c1727-5d73-4e63-96f5-37726e61ed3d" providerId="ADAL" clId="{1F768DF2-6288-4A02-99AE-18C16124FC02}" dt="2018-12-11T20:14:10.602" v="4595" actId="1076"/>
          <ac:spMkLst>
            <pc:docMk/>
            <pc:sldMk cId="701168643" sldId="8287"/>
            <ac:spMk id="72" creationId="{9C17764F-EA5D-49F0-A4DB-DF2374CB63F5}"/>
          </ac:spMkLst>
        </pc:spChg>
        <pc:spChg chg="mod">
          <ac:chgData name="Gregory Fuller" userId="b63c1727-5d73-4e63-96f5-37726e61ed3d" providerId="ADAL" clId="{1F768DF2-6288-4A02-99AE-18C16124FC02}" dt="2018-12-11T20:14:10.602" v="4595" actId="1076"/>
          <ac:spMkLst>
            <pc:docMk/>
            <pc:sldMk cId="701168643" sldId="8287"/>
            <ac:spMk id="111" creationId="{E5744810-87D4-4350-B383-29C66C8C239F}"/>
          </ac:spMkLst>
        </pc:spChg>
        <pc:spChg chg="mod">
          <ac:chgData name="Gregory Fuller" userId="b63c1727-5d73-4e63-96f5-37726e61ed3d" providerId="ADAL" clId="{1F768DF2-6288-4A02-99AE-18C16124FC02}" dt="2018-12-11T20:14:10.602" v="4595" actId="1076"/>
          <ac:spMkLst>
            <pc:docMk/>
            <pc:sldMk cId="701168643" sldId="8287"/>
            <ac:spMk id="122" creationId="{B0022912-9830-422A-8CBE-D708D63AEE61}"/>
          </ac:spMkLst>
        </pc:spChg>
        <pc:spChg chg="mod">
          <ac:chgData name="Gregory Fuller" userId="b63c1727-5d73-4e63-96f5-37726e61ed3d" providerId="ADAL" clId="{1F768DF2-6288-4A02-99AE-18C16124FC02}" dt="2018-12-11T20:14:10.602" v="4595" actId="1076"/>
          <ac:spMkLst>
            <pc:docMk/>
            <pc:sldMk cId="701168643" sldId="8287"/>
            <ac:spMk id="123" creationId="{8973C5A9-92F9-487A-AC93-0E8C3E69DEDD}"/>
          </ac:spMkLst>
        </pc:spChg>
        <pc:grpChg chg="add del mod">
          <ac:chgData name="Gregory Fuller" userId="b63c1727-5d73-4e63-96f5-37726e61ed3d" providerId="ADAL" clId="{1F768DF2-6288-4A02-99AE-18C16124FC02}" dt="2018-12-11T20:15:33.667" v="4633" actId="165"/>
          <ac:grpSpMkLst>
            <pc:docMk/>
            <pc:sldMk cId="701168643" sldId="8287"/>
            <ac:grpSpMk id="2" creationId="{4C7F09BB-8B98-4BC2-999C-7CC0681E853B}"/>
          </ac:grpSpMkLst>
        </pc:grpChg>
        <pc:grpChg chg="mod">
          <ac:chgData name="Gregory Fuller" userId="b63c1727-5d73-4e63-96f5-37726e61ed3d" providerId="ADAL" clId="{1F768DF2-6288-4A02-99AE-18C16124FC02}" dt="2018-12-11T20:14:10.602" v="4595" actId="1076"/>
          <ac:grpSpMkLst>
            <pc:docMk/>
            <pc:sldMk cId="701168643" sldId="8287"/>
            <ac:grpSpMk id="7" creationId="{782B65E9-BFEF-4F5F-9F4A-246D287AB288}"/>
          </ac:grpSpMkLst>
        </pc:grpChg>
        <pc:grpChg chg="mod">
          <ac:chgData name="Gregory Fuller" userId="b63c1727-5d73-4e63-96f5-37726e61ed3d" providerId="ADAL" clId="{1F768DF2-6288-4A02-99AE-18C16124FC02}" dt="2018-12-11T20:14:10.602" v="4595" actId="1076"/>
          <ac:grpSpMkLst>
            <pc:docMk/>
            <pc:sldMk cId="701168643" sldId="8287"/>
            <ac:grpSpMk id="12" creationId="{8D77CADB-71BE-44A1-B255-5128A3B94055}"/>
          </ac:grpSpMkLst>
        </pc:grpChg>
        <pc:grpChg chg="mod">
          <ac:chgData name="Gregory Fuller" userId="b63c1727-5d73-4e63-96f5-37726e61ed3d" providerId="ADAL" clId="{1F768DF2-6288-4A02-99AE-18C16124FC02}" dt="2018-12-11T20:14:10.602" v="4595" actId="1076"/>
          <ac:grpSpMkLst>
            <pc:docMk/>
            <pc:sldMk cId="701168643" sldId="8287"/>
            <ac:grpSpMk id="51" creationId="{7D8326EB-B130-464D-8807-CCD372BCC87C}"/>
          </ac:grpSpMkLst>
        </pc:grpChg>
        <pc:grpChg chg="mod">
          <ac:chgData name="Gregory Fuller" userId="b63c1727-5d73-4e63-96f5-37726e61ed3d" providerId="ADAL" clId="{1F768DF2-6288-4A02-99AE-18C16124FC02}" dt="2018-12-11T20:14:10.602" v="4595" actId="1076"/>
          <ac:grpSpMkLst>
            <pc:docMk/>
            <pc:sldMk cId="701168643" sldId="8287"/>
            <ac:grpSpMk id="54" creationId="{7A287DD1-5783-4FAC-A9E6-E9F93C48E2EE}"/>
          </ac:grpSpMkLst>
        </pc:grpChg>
        <pc:cxnChg chg="mod">
          <ac:chgData name="Gregory Fuller" userId="b63c1727-5d73-4e63-96f5-37726e61ed3d" providerId="ADAL" clId="{1F768DF2-6288-4A02-99AE-18C16124FC02}" dt="2018-12-11T20:14:10.602" v="4595" actId="1076"/>
          <ac:cxnSpMkLst>
            <pc:docMk/>
            <pc:sldMk cId="701168643" sldId="8287"/>
            <ac:cxnSpMk id="60" creationId="{0C985B03-A816-460F-82B0-BBC1FCAD2FD8}"/>
          </ac:cxnSpMkLst>
        </pc:cxnChg>
        <pc:cxnChg chg="mod">
          <ac:chgData name="Gregory Fuller" userId="b63c1727-5d73-4e63-96f5-37726e61ed3d" providerId="ADAL" clId="{1F768DF2-6288-4A02-99AE-18C16124FC02}" dt="2018-12-11T20:14:10.602" v="4595" actId="1076"/>
          <ac:cxnSpMkLst>
            <pc:docMk/>
            <pc:sldMk cId="701168643" sldId="8287"/>
            <ac:cxnSpMk id="79" creationId="{4C3E52EF-8FE6-4BF1-8A42-8D864CE29F0F}"/>
          </ac:cxnSpMkLst>
        </pc:cxnChg>
        <pc:cxnChg chg="mod">
          <ac:chgData name="Gregory Fuller" userId="b63c1727-5d73-4e63-96f5-37726e61ed3d" providerId="ADAL" clId="{1F768DF2-6288-4A02-99AE-18C16124FC02}" dt="2018-12-11T20:14:10.602" v="4595" actId="1076"/>
          <ac:cxnSpMkLst>
            <pc:docMk/>
            <pc:sldMk cId="701168643" sldId="8287"/>
            <ac:cxnSpMk id="108" creationId="{5ADACD7A-357C-4D8A-B1E6-606FEBD1CA64}"/>
          </ac:cxnSpMkLst>
        </pc:cxnChg>
      </pc:sldChg>
      <pc:sldChg chg="modSp add">
        <pc:chgData name="Gregory Fuller" userId="b63c1727-5d73-4e63-96f5-37726e61ed3d" providerId="ADAL" clId="{1F768DF2-6288-4A02-99AE-18C16124FC02}" dt="2018-12-11T23:21:10.240" v="5922" actId="20577"/>
        <pc:sldMkLst>
          <pc:docMk/>
          <pc:sldMk cId="76486188" sldId="8288"/>
        </pc:sldMkLst>
        <pc:spChg chg="mod">
          <ac:chgData name="Gregory Fuller" userId="b63c1727-5d73-4e63-96f5-37726e61ed3d" providerId="ADAL" clId="{1F768DF2-6288-4A02-99AE-18C16124FC02}" dt="2018-12-11T23:21:10.240" v="5922" actId="20577"/>
          <ac:spMkLst>
            <pc:docMk/>
            <pc:sldMk cId="76486188" sldId="8288"/>
            <ac:spMk id="126" creationId="{C3A4F5AB-B01B-48D5-83DF-56A2AFD6B846}"/>
          </ac:spMkLst>
        </pc:spChg>
      </pc:sldChg>
      <pc:sldChg chg="modSp add">
        <pc:chgData name="Gregory Fuller" userId="b63c1727-5d73-4e63-96f5-37726e61ed3d" providerId="ADAL" clId="{1F768DF2-6288-4A02-99AE-18C16124FC02}" dt="2018-12-11T23:25:27.813" v="5938" actId="20577"/>
        <pc:sldMkLst>
          <pc:docMk/>
          <pc:sldMk cId="3801494397" sldId="8289"/>
        </pc:sldMkLst>
        <pc:spChg chg="mod">
          <ac:chgData name="Gregory Fuller" userId="b63c1727-5d73-4e63-96f5-37726e61ed3d" providerId="ADAL" clId="{1F768DF2-6288-4A02-99AE-18C16124FC02}" dt="2018-12-11T23:25:27.813" v="5938" actId="20577"/>
          <ac:spMkLst>
            <pc:docMk/>
            <pc:sldMk cId="3801494397" sldId="8289"/>
            <ac:spMk id="108" creationId="{119B6498-7B4C-462D-87D1-BC329647AE72}"/>
          </ac:spMkLst>
        </pc:spChg>
      </pc:sldChg>
      <pc:sldChg chg="add">
        <pc:chgData name="Gregory Fuller" userId="b63c1727-5d73-4e63-96f5-37726e61ed3d" providerId="ADAL" clId="{1F768DF2-6288-4A02-99AE-18C16124FC02}" dt="2018-12-11T20:46:08.276" v="5249"/>
        <pc:sldMkLst>
          <pc:docMk/>
          <pc:sldMk cId="923759559" sldId="8290"/>
        </pc:sldMkLst>
      </pc:sldChg>
      <pc:sldChg chg="delSp modSp add">
        <pc:chgData name="Gregory Fuller" userId="b63c1727-5d73-4e63-96f5-37726e61ed3d" providerId="ADAL" clId="{1F768DF2-6288-4A02-99AE-18C16124FC02}" dt="2018-12-17T21:26:35.840" v="6383" actId="1076"/>
        <pc:sldMkLst>
          <pc:docMk/>
          <pc:sldMk cId="1725227356" sldId="8295"/>
        </pc:sldMkLst>
        <pc:spChg chg="mod">
          <ac:chgData name="Gregory Fuller" userId="b63c1727-5d73-4e63-96f5-37726e61ed3d" providerId="ADAL" clId="{1F768DF2-6288-4A02-99AE-18C16124FC02}" dt="2018-12-17T21:14:42.359" v="6036" actId="20577"/>
          <ac:spMkLst>
            <pc:docMk/>
            <pc:sldMk cId="1725227356" sldId="8295"/>
            <ac:spMk id="7" creationId="{40023DCA-FFE3-4ED5-8BFB-F3468C904437}"/>
          </ac:spMkLst>
        </pc:spChg>
        <pc:spChg chg="mod">
          <ac:chgData name="Gregory Fuller" userId="b63c1727-5d73-4e63-96f5-37726e61ed3d" providerId="ADAL" clId="{1F768DF2-6288-4A02-99AE-18C16124FC02}" dt="2018-12-17T21:26:35.840" v="6383" actId="1076"/>
          <ac:spMkLst>
            <pc:docMk/>
            <pc:sldMk cId="1725227356" sldId="8295"/>
            <ac:spMk id="8" creationId="{983CAB09-8B21-437E-BC10-16A14C3FAA05}"/>
          </ac:spMkLst>
        </pc:spChg>
        <pc:spChg chg="del">
          <ac:chgData name="Gregory Fuller" userId="b63c1727-5d73-4e63-96f5-37726e61ed3d" providerId="ADAL" clId="{1F768DF2-6288-4A02-99AE-18C16124FC02}" dt="2018-12-17T21:14:55.323" v="6037" actId="478"/>
          <ac:spMkLst>
            <pc:docMk/>
            <pc:sldMk cId="1725227356" sldId="8295"/>
            <ac:spMk id="12" creationId="{5CCCB3BB-B471-41C5-B75E-E96C3A984935}"/>
          </ac:spMkLst>
        </pc:spChg>
      </pc:sldChg>
    </pc:docChg>
  </pc:docChgLst>
  <pc:docChgLst>
    <pc:chgData name="Priya Gore" userId="356ef473-6434-444a-8b14-bee598a4ac57" providerId="ADAL" clId="{AD8472FD-B849-4B39-9675-1E66BAFBEB0C}"/>
    <pc:docChg chg="custSel addSld modSld">
      <pc:chgData name="Priya Gore" userId="356ef473-6434-444a-8b14-bee598a4ac57" providerId="ADAL" clId="{AD8472FD-B849-4B39-9675-1E66BAFBEB0C}" dt="2018-12-11T19:59:09.528" v="893" actId="20577"/>
      <pc:docMkLst>
        <pc:docMk/>
      </pc:docMkLst>
      <pc:sldChg chg="modNotesTx">
        <pc:chgData name="Priya Gore" userId="356ef473-6434-444a-8b14-bee598a4ac57" providerId="ADAL" clId="{AD8472FD-B849-4B39-9675-1E66BAFBEB0C}" dt="2018-12-11T19:59:09.528" v="893" actId="20577"/>
        <pc:sldMkLst>
          <pc:docMk/>
          <pc:sldMk cId="4118601710" sldId="371"/>
        </pc:sldMkLst>
      </pc:sldChg>
      <pc:sldChg chg="modNotesTx">
        <pc:chgData name="Priya Gore" userId="356ef473-6434-444a-8b14-bee598a4ac57" providerId="ADAL" clId="{AD8472FD-B849-4B39-9675-1E66BAFBEB0C}" dt="2018-12-11T19:52:26.307" v="742" actId="20577"/>
        <pc:sldMkLst>
          <pc:docMk/>
          <pc:sldMk cId="846809997" sldId="4257"/>
        </pc:sldMkLst>
      </pc:sldChg>
      <pc:sldChg chg="modNotesTx">
        <pc:chgData name="Priya Gore" userId="356ef473-6434-444a-8b14-bee598a4ac57" providerId="ADAL" clId="{AD8472FD-B849-4B39-9675-1E66BAFBEB0C}" dt="2018-12-11T19:42:13.094" v="516" actId="20577"/>
        <pc:sldMkLst>
          <pc:docMk/>
          <pc:sldMk cId="3635774934" sldId="8144"/>
        </pc:sldMkLst>
      </pc:sldChg>
      <pc:sldChg chg="modSp add">
        <pc:chgData name="Priya Gore" userId="356ef473-6434-444a-8b14-bee598a4ac57" providerId="ADAL" clId="{AD8472FD-B849-4B39-9675-1E66BAFBEB0C}" dt="2018-12-11T19:38:25.855" v="57" actId="20577"/>
        <pc:sldMkLst>
          <pc:docMk/>
          <pc:sldMk cId="2806137602" sldId="8286"/>
        </pc:sldMkLst>
        <pc:spChg chg="mod">
          <ac:chgData name="Priya Gore" userId="356ef473-6434-444a-8b14-bee598a4ac57" providerId="ADAL" clId="{AD8472FD-B849-4B39-9675-1E66BAFBEB0C}" dt="2018-12-11T19:37:40.206" v="30" actId="20577"/>
          <ac:spMkLst>
            <pc:docMk/>
            <pc:sldMk cId="2806137602" sldId="8286"/>
            <ac:spMk id="2" creationId="{3E453B6A-FF75-46DA-9C4B-12B74F065166}"/>
          </ac:spMkLst>
        </pc:spChg>
        <pc:spChg chg="mod">
          <ac:chgData name="Priya Gore" userId="356ef473-6434-444a-8b14-bee598a4ac57" providerId="ADAL" clId="{AD8472FD-B849-4B39-9675-1E66BAFBEB0C}" dt="2018-12-11T19:38:25.855" v="57" actId="20577"/>
          <ac:spMkLst>
            <pc:docMk/>
            <pc:sldMk cId="2806137602" sldId="8286"/>
            <ac:spMk id="3" creationId="{EF5427CE-917D-4993-97F4-615C88A71584}"/>
          </ac:spMkLst>
        </pc:spChg>
      </pc:sldChg>
    </pc:docChg>
  </pc:docChgLst>
  <pc:docChgLst>
    <pc:chgData name="Karlien Vanden Eynde" userId="09d738db-5940-417a-b8b1-4a3267732b0c" providerId="ADAL" clId="{EB5A8C26-AC6A-472C-9474-98F042A055EF}"/>
    <pc:docChg chg="undo custSel delSld modSld sldOrd">
      <pc:chgData name="Karlien Vanden Eynde" userId="09d738db-5940-417a-b8b1-4a3267732b0c" providerId="ADAL" clId="{EB5A8C26-AC6A-472C-9474-98F042A055EF}" dt="2018-12-12T04:40:01.604" v="940" actId="20577"/>
      <pc:docMkLst>
        <pc:docMk/>
      </pc:docMkLst>
      <pc:sldChg chg="modSp del modTransition modNotesTx">
        <pc:chgData name="Karlien Vanden Eynde" userId="09d738db-5940-417a-b8b1-4a3267732b0c" providerId="ADAL" clId="{EB5A8C26-AC6A-472C-9474-98F042A055EF}" dt="2018-12-11T23:08:28.078" v="259" actId="2696"/>
        <pc:sldMkLst>
          <pc:docMk/>
          <pc:sldMk cId="3368902027" sldId="260"/>
        </pc:sldMkLst>
        <pc:spChg chg="mod">
          <ac:chgData name="Karlien Vanden Eynde" userId="09d738db-5940-417a-b8b1-4a3267732b0c" providerId="ADAL" clId="{EB5A8C26-AC6A-472C-9474-98F042A055EF}" dt="2018-12-10T19:06:29.724" v="7" actId="20577"/>
          <ac:spMkLst>
            <pc:docMk/>
            <pc:sldMk cId="3368902027" sldId="260"/>
            <ac:spMk id="2" creationId="{EC408780-0D11-45C8-9B17-2D17BE24AC88}"/>
          </ac:spMkLst>
        </pc:spChg>
        <pc:spChg chg="mod">
          <ac:chgData name="Karlien Vanden Eynde" userId="09d738db-5940-417a-b8b1-4a3267732b0c" providerId="ADAL" clId="{EB5A8C26-AC6A-472C-9474-98F042A055EF}" dt="2018-12-10T19:14:30.414" v="8"/>
          <ac:spMkLst>
            <pc:docMk/>
            <pc:sldMk cId="3368902027" sldId="260"/>
            <ac:spMk id="3" creationId="{930EC1B6-A08A-4C8F-BAB4-778C3C69CCC5}"/>
          </ac:spMkLst>
        </pc:spChg>
      </pc:sldChg>
      <pc:sldChg chg="del modTransition">
        <pc:chgData name="Karlien Vanden Eynde" userId="09d738db-5940-417a-b8b1-4a3267732b0c" providerId="ADAL" clId="{EB5A8C26-AC6A-472C-9474-98F042A055EF}" dt="2018-12-11T23:08:19.598" v="257" actId="2696"/>
        <pc:sldMkLst>
          <pc:docMk/>
          <pc:sldMk cId="3163930182" sldId="1397"/>
        </pc:sldMkLst>
      </pc:sldChg>
      <pc:sldChg chg="addSp modSp">
        <pc:chgData name="Karlien Vanden Eynde" userId="09d738db-5940-417a-b8b1-4a3267732b0c" providerId="ADAL" clId="{EB5A8C26-AC6A-472C-9474-98F042A055EF}" dt="2018-12-10T22:50:25.862" v="233" actId="20577"/>
        <pc:sldMkLst>
          <pc:docMk/>
          <pc:sldMk cId="2548039390" sldId="8138"/>
        </pc:sldMkLst>
        <pc:spChg chg="add mod">
          <ac:chgData name="Karlien Vanden Eynde" userId="09d738db-5940-417a-b8b1-4a3267732b0c" providerId="ADAL" clId="{EB5A8C26-AC6A-472C-9474-98F042A055EF}" dt="2018-12-10T22:50:25.862" v="233" actId="20577"/>
          <ac:spMkLst>
            <pc:docMk/>
            <pc:sldMk cId="2548039390" sldId="8138"/>
            <ac:spMk id="3" creationId="{902BA845-E302-45AB-A778-791B920DEABB}"/>
          </ac:spMkLst>
        </pc:spChg>
        <pc:graphicFrameChg chg="modGraphic">
          <ac:chgData name="Karlien Vanden Eynde" userId="09d738db-5940-417a-b8b1-4a3267732b0c" providerId="ADAL" clId="{EB5A8C26-AC6A-472C-9474-98F042A055EF}" dt="2018-12-10T22:48:38.853" v="52" actId="20577"/>
          <ac:graphicFrameMkLst>
            <pc:docMk/>
            <pc:sldMk cId="2548039390" sldId="8138"/>
            <ac:graphicFrameMk id="13" creationId="{C0020E4D-D77C-46DA-ACFE-36C81995D9F2}"/>
          </ac:graphicFrameMkLst>
        </pc:graphicFrameChg>
      </pc:sldChg>
      <pc:sldChg chg="del">
        <pc:chgData name="Karlien Vanden Eynde" userId="09d738db-5940-417a-b8b1-4a3267732b0c" providerId="ADAL" clId="{EB5A8C26-AC6A-472C-9474-98F042A055EF}" dt="2018-12-10T19:30:30.080" v="14" actId="2696"/>
        <pc:sldMkLst>
          <pc:docMk/>
          <pc:sldMk cId="1929708661" sldId="8149"/>
        </pc:sldMkLst>
      </pc:sldChg>
      <pc:sldChg chg="ord modTransition">
        <pc:chgData name="Karlien Vanden Eynde" userId="09d738db-5940-417a-b8b1-4a3267732b0c" providerId="ADAL" clId="{EB5A8C26-AC6A-472C-9474-98F042A055EF}" dt="2018-12-10T19:30:19.541" v="13"/>
        <pc:sldMkLst>
          <pc:docMk/>
          <pc:sldMk cId="1214537133" sldId="8150"/>
        </pc:sldMkLst>
      </pc:sldChg>
      <pc:sldChg chg="del">
        <pc:chgData name="Karlien Vanden Eynde" userId="09d738db-5940-417a-b8b1-4a3267732b0c" providerId="ADAL" clId="{EB5A8C26-AC6A-472C-9474-98F042A055EF}" dt="2018-12-11T23:08:24.919" v="258" actId="2696"/>
        <pc:sldMkLst>
          <pc:docMk/>
          <pc:sldMk cId="2275988816" sldId="8283"/>
        </pc:sldMkLst>
      </pc:sldChg>
      <pc:sldChg chg="addSp modSp">
        <pc:chgData name="Karlien Vanden Eynde" userId="09d738db-5940-417a-b8b1-4a3267732b0c" providerId="ADAL" clId="{EB5A8C26-AC6A-472C-9474-98F042A055EF}" dt="2018-12-11T23:00:19.515" v="254" actId="1076"/>
        <pc:sldMkLst>
          <pc:docMk/>
          <pc:sldMk cId="3294012882" sldId="8291"/>
        </pc:sldMkLst>
        <pc:spChg chg="mod">
          <ac:chgData name="Karlien Vanden Eynde" userId="09d738db-5940-417a-b8b1-4a3267732b0c" providerId="ADAL" clId="{EB5A8C26-AC6A-472C-9474-98F042A055EF}" dt="2018-12-11T23:00:06.017" v="252" actId="6549"/>
          <ac:spMkLst>
            <pc:docMk/>
            <pc:sldMk cId="3294012882" sldId="8291"/>
            <ac:spMk id="8" creationId="{D80A8C82-7FB5-4500-A7CF-D522289183CF}"/>
          </ac:spMkLst>
        </pc:spChg>
        <pc:spChg chg="mod">
          <ac:chgData name="Karlien Vanden Eynde" userId="09d738db-5940-417a-b8b1-4a3267732b0c" providerId="ADAL" clId="{EB5A8C26-AC6A-472C-9474-98F042A055EF}" dt="2018-12-11T22:54:14.367" v="237"/>
          <ac:spMkLst>
            <pc:docMk/>
            <pc:sldMk cId="3294012882" sldId="8291"/>
            <ac:spMk id="9" creationId="{BF3D46F8-8C86-404A-B033-B6FAD1A9B432}"/>
          </ac:spMkLst>
        </pc:spChg>
        <pc:picChg chg="add mod">
          <ac:chgData name="Karlien Vanden Eynde" userId="09d738db-5940-417a-b8b1-4a3267732b0c" providerId="ADAL" clId="{EB5A8C26-AC6A-472C-9474-98F042A055EF}" dt="2018-12-11T23:00:19.515" v="254" actId="1076"/>
          <ac:picMkLst>
            <pc:docMk/>
            <pc:sldMk cId="3294012882" sldId="8291"/>
            <ac:picMk id="6" creationId="{254FAB57-25AD-4868-B210-C8768AA37B6A}"/>
          </ac:picMkLst>
        </pc:picChg>
      </pc:sldChg>
      <pc:sldChg chg="addSp modSp ord">
        <pc:chgData name="Karlien Vanden Eynde" userId="09d738db-5940-417a-b8b1-4a3267732b0c" providerId="ADAL" clId="{EB5A8C26-AC6A-472C-9474-98F042A055EF}" dt="2018-12-11T23:17:36.462" v="807" actId="20577"/>
        <pc:sldMkLst>
          <pc:docMk/>
          <pc:sldMk cId="3367958238" sldId="8292"/>
        </pc:sldMkLst>
        <pc:spChg chg="mod">
          <ac:chgData name="Karlien Vanden Eynde" userId="09d738db-5940-417a-b8b1-4a3267732b0c" providerId="ADAL" clId="{EB5A8C26-AC6A-472C-9474-98F042A055EF}" dt="2018-12-11T23:17:36.462" v="807" actId="20577"/>
          <ac:spMkLst>
            <pc:docMk/>
            <pc:sldMk cId="3367958238" sldId="8292"/>
            <ac:spMk id="8" creationId="{D80A8C82-7FB5-4500-A7CF-D522289183CF}"/>
          </ac:spMkLst>
        </pc:spChg>
        <pc:spChg chg="mod">
          <ac:chgData name="Karlien Vanden Eynde" userId="09d738db-5940-417a-b8b1-4a3267732b0c" providerId="ADAL" clId="{EB5A8C26-AC6A-472C-9474-98F042A055EF}" dt="2018-12-11T23:10:39.990" v="262" actId="108"/>
          <ac:spMkLst>
            <pc:docMk/>
            <pc:sldMk cId="3367958238" sldId="8292"/>
            <ac:spMk id="9" creationId="{BF3D46F8-8C86-404A-B033-B6FAD1A9B432}"/>
          </ac:spMkLst>
        </pc:spChg>
        <pc:picChg chg="add mod">
          <ac:chgData name="Karlien Vanden Eynde" userId="09d738db-5940-417a-b8b1-4a3267732b0c" providerId="ADAL" clId="{EB5A8C26-AC6A-472C-9474-98F042A055EF}" dt="2018-12-11T23:12:44.326" v="265" actId="1076"/>
          <ac:picMkLst>
            <pc:docMk/>
            <pc:sldMk cId="3367958238" sldId="8292"/>
            <ac:picMk id="2" creationId="{981618F1-9732-4376-9B7B-672DC9F1EBF4}"/>
          </ac:picMkLst>
        </pc:picChg>
      </pc:sldChg>
      <pc:sldChg chg="addSp modSp">
        <pc:chgData name="Karlien Vanden Eynde" userId="09d738db-5940-417a-b8b1-4a3267732b0c" providerId="ADAL" clId="{EB5A8C26-AC6A-472C-9474-98F042A055EF}" dt="2018-12-12T04:40:01.604" v="940" actId="20577"/>
        <pc:sldMkLst>
          <pc:docMk/>
          <pc:sldMk cId="3618142332" sldId="8293"/>
        </pc:sldMkLst>
        <pc:spChg chg="mod">
          <ac:chgData name="Karlien Vanden Eynde" userId="09d738db-5940-417a-b8b1-4a3267732b0c" providerId="ADAL" clId="{EB5A8C26-AC6A-472C-9474-98F042A055EF}" dt="2018-12-12T04:40:01.604" v="940" actId="20577"/>
          <ac:spMkLst>
            <pc:docMk/>
            <pc:sldMk cId="3618142332" sldId="8293"/>
            <ac:spMk id="8" creationId="{D80A8C82-7FB5-4500-A7CF-D522289183CF}"/>
          </ac:spMkLst>
        </pc:spChg>
        <pc:spChg chg="mod">
          <ac:chgData name="Karlien Vanden Eynde" userId="09d738db-5940-417a-b8b1-4a3267732b0c" providerId="ADAL" clId="{EB5A8C26-AC6A-472C-9474-98F042A055EF}" dt="2018-12-12T03:55:36.730" v="811" actId="108"/>
          <ac:spMkLst>
            <pc:docMk/>
            <pc:sldMk cId="3618142332" sldId="8293"/>
            <ac:spMk id="9" creationId="{BF3D46F8-8C86-404A-B033-B6FAD1A9B432}"/>
          </ac:spMkLst>
        </pc:spChg>
        <pc:picChg chg="add mod">
          <ac:chgData name="Karlien Vanden Eynde" userId="09d738db-5940-417a-b8b1-4a3267732b0c" providerId="ADAL" clId="{EB5A8C26-AC6A-472C-9474-98F042A055EF}" dt="2018-12-12T03:57:35.686" v="814" actId="1076"/>
          <ac:picMkLst>
            <pc:docMk/>
            <pc:sldMk cId="3618142332" sldId="8293"/>
            <ac:picMk id="2" creationId="{385CBAD7-ED38-4EE8-BCB9-5CD7473C8C3A}"/>
          </ac:picMkLst>
        </pc:picChg>
      </pc:sldChg>
      <pc:sldChg chg="del ord">
        <pc:chgData name="Karlien Vanden Eynde" userId="09d738db-5940-417a-b8b1-4a3267732b0c" providerId="ADAL" clId="{EB5A8C26-AC6A-472C-9474-98F042A055EF}" dt="2018-12-11T23:00:23.127" v="255" actId="2696"/>
        <pc:sldMkLst>
          <pc:docMk/>
          <pc:sldMk cId="476777575" sldId="8294"/>
        </pc:sldMkLst>
      </pc:sldChg>
      <pc:sldMasterChg chg="delSldLayout">
        <pc:chgData name="Karlien Vanden Eynde" userId="09d738db-5940-417a-b8b1-4a3267732b0c" providerId="ADAL" clId="{EB5A8C26-AC6A-472C-9474-98F042A055EF}" dt="2018-12-11T23:08:28.091" v="260" actId="2696"/>
        <pc:sldMasterMkLst>
          <pc:docMk/>
          <pc:sldMasterMk cId="3850362910" sldId="2147483987"/>
        </pc:sldMasterMkLst>
        <pc:sldLayoutChg chg="del">
          <pc:chgData name="Karlien Vanden Eynde" userId="09d738db-5940-417a-b8b1-4a3267732b0c" providerId="ADAL" clId="{EB5A8C26-AC6A-472C-9474-98F042A055EF}" dt="2018-12-11T23:08:28.091" v="260" actId="2696"/>
          <pc:sldLayoutMkLst>
            <pc:docMk/>
            <pc:sldMasterMk cId="3850362910" sldId="2147483987"/>
            <pc:sldLayoutMk cId="1812224820" sldId="2147484009"/>
          </pc:sldLayoutMkLst>
        </pc:sldLayoutChg>
      </pc:sldMasterChg>
    </pc:docChg>
  </pc:docChgLst>
  <pc:docChgLst>
    <pc:chgData name="Lisa Schnitzius" userId="S::lischnit@microsoft.com::adc2a09d-8ecc-4a9a-b08a-3814ab83a7e9" providerId="AD" clId="Web-{D52197C7-5036-4B05-8A07-C18FEC5A3F07}"/>
    <pc:docChg chg="addSld modSld">
      <pc:chgData name="Lisa Schnitzius" userId="S::lischnit@microsoft.com::adc2a09d-8ecc-4a9a-b08a-3814ab83a7e9" providerId="AD" clId="Web-{D52197C7-5036-4B05-8A07-C18FEC5A3F07}" dt="2019-01-08T20:19:39.260" v="585" actId="1076"/>
      <pc:docMkLst>
        <pc:docMk/>
      </pc:docMkLst>
      <pc:sldChg chg="modSp">
        <pc:chgData name="Lisa Schnitzius" userId="S::lischnit@microsoft.com::adc2a09d-8ecc-4a9a-b08a-3814ab83a7e9" providerId="AD" clId="Web-{D52197C7-5036-4B05-8A07-C18FEC5A3F07}" dt="2019-01-08T20:19:39.260" v="585" actId="1076"/>
        <pc:sldMkLst>
          <pc:docMk/>
          <pc:sldMk cId="873073181" sldId="289"/>
        </pc:sldMkLst>
        <pc:picChg chg="mod">
          <ac:chgData name="Lisa Schnitzius" userId="S::lischnit@microsoft.com::adc2a09d-8ecc-4a9a-b08a-3814ab83a7e9" providerId="AD" clId="Web-{D52197C7-5036-4B05-8A07-C18FEC5A3F07}" dt="2019-01-08T20:19:39.260" v="585" actId="1076"/>
          <ac:picMkLst>
            <pc:docMk/>
            <pc:sldMk cId="873073181" sldId="289"/>
            <ac:picMk id="35" creationId="{F7286082-71B8-43D3-9A39-CC8908E86967}"/>
          </ac:picMkLst>
        </pc:picChg>
      </pc:sldChg>
      <pc:sldChg chg="modSp">
        <pc:chgData name="Lisa Schnitzius" userId="S::lischnit@microsoft.com::adc2a09d-8ecc-4a9a-b08a-3814ab83a7e9" providerId="AD" clId="Web-{D52197C7-5036-4B05-8A07-C18FEC5A3F07}" dt="2019-01-08T19:58:39.800" v="12" actId="20577"/>
        <pc:sldMkLst>
          <pc:docMk/>
          <pc:sldMk cId="3629869271" sldId="8294"/>
        </pc:sldMkLst>
        <pc:spChg chg="mod">
          <ac:chgData name="Lisa Schnitzius" userId="S::lischnit@microsoft.com::adc2a09d-8ecc-4a9a-b08a-3814ab83a7e9" providerId="AD" clId="Web-{D52197C7-5036-4B05-8A07-C18FEC5A3F07}" dt="2019-01-08T19:58:39.800" v="12" actId="20577"/>
          <ac:spMkLst>
            <pc:docMk/>
            <pc:sldMk cId="3629869271" sldId="8294"/>
            <ac:spMk id="10" creationId="{42EA7D76-8687-45F3-AA8E-8E9147BA12C7}"/>
          </ac:spMkLst>
        </pc:spChg>
      </pc:sldChg>
      <pc:sldChg chg="addSp delSp modSp add replId">
        <pc:chgData name="Lisa Schnitzius" userId="S::lischnit@microsoft.com::adc2a09d-8ecc-4a9a-b08a-3814ab83a7e9" providerId="AD" clId="Web-{D52197C7-5036-4B05-8A07-C18FEC5A3F07}" dt="2019-01-08T20:18:56.307" v="583" actId="20577"/>
        <pc:sldMkLst>
          <pc:docMk/>
          <pc:sldMk cId="2007526575" sldId="8297"/>
        </pc:sldMkLst>
        <pc:spChg chg="mod">
          <ac:chgData name="Lisa Schnitzius" userId="S::lischnit@microsoft.com::adc2a09d-8ecc-4a9a-b08a-3814ab83a7e9" providerId="AD" clId="Web-{D52197C7-5036-4B05-8A07-C18FEC5A3F07}" dt="2019-01-08T20:14:55.642" v="450" actId="1076"/>
          <ac:spMkLst>
            <pc:docMk/>
            <pc:sldMk cId="2007526575" sldId="8297"/>
            <ac:spMk id="8" creationId="{D80A8C82-7FB5-4500-A7CF-D522289183CF}"/>
          </ac:spMkLst>
        </pc:spChg>
        <pc:spChg chg="mod">
          <ac:chgData name="Lisa Schnitzius" userId="S::lischnit@microsoft.com::adc2a09d-8ecc-4a9a-b08a-3814ab83a7e9" providerId="AD" clId="Web-{D52197C7-5036-4B05-8A07-C18FEC5A3F07}" dt="2019-01-08T20:18:56.307" v="583" actId="20577"/>
          <ac:spMkLst>
            <pc:docMk/>
            <pc:sldMk cId="2007526575" sldId="8297"/>
            <ac:spMk id="9" creationId="{BF3D46F8-8C86-404A-B033-B6FAD1A9B432}"/>
          </ac:spMkLst>
        </pc:spChg>
        <pc:spChg chg="mod">
          <ac:chgData name="Lisa Schnitzius" userId="S::lischnit@microsoft.com::adc2a09d-8ecc-4a9a-b08a-3814ab83a7e9" providerId="AD" clId="Web-{D52197C7-5036-4B05-8A07-C18FEC5A3F07}" dt="2019-01-08T19:59:04.660" v="15" actId="20577"/>
          <ac:spMkLst>
            <pc:docMk/>
            <pc:sldMk cId="2007526575" sldId="8297"/>
            <ac:spMk id="10" creationId="{42EA7D76-8687-45F3-AA8E-8E9147BA12C7}"/>
          </ac:spMkLst>
        </pc:spChg>
        <pc:picChg chg="del">
          <ac:chgData name="Lisa Schnitzius" userId="S::lischnit@microsoft.com::adc2a09d-8ecc-4a9a-b08a-3814ab83a7e9" providerId="AD" clId="Web-{D52197C7-5036-4B05-8A07-C18FEC5A3F07}" dt="2019-01-08T19:55:44.154" v="11"/>
          <ac:picMkLst>
            <pc:docMk/>
            <pc:sldMk cId="2007526575" sldId="8297"/>
            <ac:picMk id="2" creationId="{0A6AFD65-3A4F-4F0A-AB61-8D77030E62E0}"/>
          </ac:picMkLst>
        </pc:picChg>
        <pc:picChg chg="mod">
          <ac:chgData name="Lisa Schnitzius" userId="S::lischnit@microsoft.com::adc2a09d-8ecc-4a9a-b08a-3814ab83a7e9" providerId="AD" clId="Web-{D52197C7-5036-4B05-8A07-C18FEC5A3F07}" dt="2019-01-08T19:59:10.332" v="16" actId="14100"/>
          <ac:picMkLst>
            <pc:docMk/>
            <pc:sldMk cId="2007526575" sldId="8297"/>
            <ac:picMk id="2" creationId="{3427ACD7-6F9E-4A74-A29F-638E55D516CD}"/>
          </ac:picMkLst>
        </pc:picChg>
        <pc:picChg chg="del">
          <ac:chgData name="Lisa Schnitzius" userId="S::lischnit@microsoft.com::adc2a09d-8ecc-4a9a-b08a-3814ab83a7e9" providerId="AD" clId="Web-{D52197C7-5036-4B05-8A07-C18FEC5A3F07}" dt="2019-01-08T19:59:16.880" v="17"/>
          <ac:picMkLst>
            <pc:docMk/>
            <pc:sldMk cId="2007526575" sldId="8297"/>
            <ac:picMk id="3" creationId="{B0C8F4D8-182D-465C-91A4-B06F5117E072}"/>
          </ac:picMkLst>
        </pc:picChg>
        <pc:picChg chg="add del mod">
          <ac:chgData name="Lisa Schnitzius" userId="S::lischnit@microsoft.com::adc2a09d-8ecc-4a9a-b08a-3814ab83a7e9" providerId="AD" clId="Web-{D52197C7-5036-4B05-8A07-C18FEC5A3F07}" dt="2019-01-08T20:00:41.945" v="23"/>
          <ac:picMkLst>
            <pc:docMk/>
            <pc:sldMk cId="2007526575" sldId="8297"/>
            <ac:picMk id="4" creationId="{6BE46D07-1F3C-44FC-B6D4-A68260B8831C}"/>
          </ac:picMkLst>
        </pc:picChg>
        <pc:picChg chg="add mod">
          <ac:chgData name="Lisa Schnitzius" userId="S::lischnit@microsoft.com::adc2a09d-8ecc-4a9a-b08a-3814ab83a7e9" providerId="AD" clId="Web-{D52197C7-5036-4B05-8A07-C18FEC5A3F07}" dt="2019-01-08T20:16:53.052" v="505" actId="14100"/>
          <ac:picMkLst>
            <pc:docMk/>
            <pc:sldMk cId="2007526575" sldId="8297"/>
            <ac:picMk id="6" creationId="{AE97E0DB-6A99-4880-80EA-2C1067A70B95}"/>
          </ac:picMkLst>
        </pc:picChg>
      </pc:sldChg>
    </pc:docChg>
  </pc:docChgLst>
  <pc:docChgLst>
    <pc:chgData name="Lisa Schnitzius" userId="adc2a09d-8ecc-4a9a-b08a-3814ab83a7e9" providerId="ADAL" clId="{7EFAF6AA-6A8E-4145-8FCA-4F3E773494CE}"/>
    <pc:docChg chg="custSel addSld modSld">
      <pc:chgData name="Lisa Schnitzius" userId="adc2a09d-8ecc-4a9a-b08a-3814ab83a7e9" providerId="ADAL" clId="{7EFAF6AA-6A8E-4145-8FCA-4F3E773494CE}" dt="2018-12-12T19:35:05.922" v="120" actId="14100"/>
      <pc:docMkLst>
        <pc:docMk/>
      </pc:docMkLst>
      <pc:sldChg chg="modSp">
        <pc:chgData name="Lisa Schnitzius" userId="adc2a09d-8ecc-4a9a-b08a-3814ab83a7e9" providerId="ADAL" clId="{7EFAF6AA-6A8E-4145-8FCA-4F3E773494CE}" dt="2018-12-11T18:16:46.189" v="46" actId="20577"/>
        <pc:sldMkLst>
          <pc:docMk/>
          <pc:sldMk cId="2548039390" sldId="8138"/>
        </pc:sldMkLst>
        <pc:graphicFrameChg chg="modGraphic">
          <ac:chgData name="Lisa Schnitzius" userId="adc2a09d-8ecc-4a9a-b08a-3814ab83a7e9" providerId="ADAL" clId="{7EFAF6AA-6A8E-4145-8FCA-4F3E773494CE}" dt="2018-12-11T18:16:46.189" v="46" actId="20577"/>
          <ac:graphicFrameMkLst>
            <pc:docMk/>
            <pc:sldMk cId="2548039390" sldId="8138"/>
            <ac:graphicFrameMk id="19" creationId="{77879072-C858-4076-B24D-05EB039B7B30}"/>
          </ac:graphicFrameMkLst>
        </pc:graphicFrameChg>
      </pc:sldChg>
      <pc:sldChg chg="addSp delSp modSp add">
        <pc:chgData name="Lisa Schnitzius" userId="adc2a09d-8ecc-4a9a-b08a-3814ab83a7e9" providerId="ADAL" clId="{7EFAF6AA-6A8E-4145-8FCA-4F3E773494CE}" dt="2018-12-12T19:35:05.922" v="120" actId="14100"/>
        <pc:sldMkLst>
          <pc:docMk/>
          <pc:sldMk cId="3629869271" sldId="8294"/>
        </pc:sldMkLst>
        <pc:spChg chg="mod">
          <ac:chgData name="Lisa Schnitzius" userId="adc2a09d-8ecc-4a9a-b08a-3814ab83a7e9" providerId="ADAL" clId="{7EFAF6AA-6A8E-4145-8FCA-4F3E773494CE}" dt="2018-12-12T19:35:05.922" v="120" actId="14100"/>
          <ac:spMkLst>
            <pc:docMk/>
            <pc:sldMk cId="3629869271" sldId="8294"/>
            <ac:spMk id="8" creationId="{D80A8C82-7FB5-4500-A7CF-D522289183CF}"/>
          </ac:spMkLst>
        </pc:spChg>
        <pc:spChg chg="mod">
          <ac:chgData name="Lisa Schnitzius" userId="adc2a09d-8ecc-4a9a-b08a-3814ab83a7e9" providerId="ADAL" clId="{7EFAF6AA-6A8E-4145-8FCA-4F3E773494CE}" dt="2018-12-12T19:23:28.569" v="66" actId="20577"/>
          <ac:spMkLst>
            <pc:docMk/>
            <pc:sldMk cId="3629869271" sldId="8294"/>
            <ac:spMk id="10" creationId="{42EA7D76-8687-45F3-AA8E-8E9147BA12C7}"/>
          </ac:spMkLst>
        </pc:spChg>
        <pc:picChg chg="del">
          <ac:chgData name="Lisa Schnitzius" userId="adc2a09d-8ecc-4a9a-b08a-3814ab83a7e9" providerId="ADAL" clId="{7EFAF6AA-6A8E-4145-8FCA-4F3E773494CE}" dt="2018-12-12T19:23:20.922" v="48" actId="478"/>
          <ac:picMkLst>
            <pc:docMk/>
            <pc:sldMk cId="3629869271" sldId="8294"/>
            <ac:picMk id="2" creationId="{79B12EDD-5FF7-49BB-AA5B-3D56AA0C78DE}"/>
          </ac:picMkLst>
        </pc:picChg>
        <pc:picChg chg="add mod">
          <ac:chgData name="Lisa Schnitzius" userId="adc2a09d-8ecc-4a9a-b08a-3814ab83a7e9" providerId="ADAL" clId="{7EFAF6AA-6A8E-4145-8FCA-4F3E773494CE}" dt="2018-12-12T19:25:01.622" v="72" actId="14100"/>
          <ac:picMkLst>
            <pc:docMk/>
            <pc:sldMk cId="3629869271" sldId="8294"/>
            <ac:picMk id="3" creationId="{B0C8F4D8-182D-465C-91A4-B06F5117E072}"/>
          </ac:picMkLst>
        </pc:picChg>
        <pc:picChg chg="del">
          <ac:chgData name="Lisa Schnitzius" userId="adc2a09d-8ecc-4a9a-b08a-3814ab83a7e9" providerId="ADAL" clId="{7EFAF6AA-6A8E-4145-8FCA-4F3E773494CE}" dt="2018-12-12T19:23:32.764" v="67" actId="478"/>
          <ac:picMkLst>
            <pc:docMk/>
            <pc:sldMk cId="3629869271" sldId="8294"/>
            <ac:picMk id="4" creationId="{19138CB4-A887-4EE4-995B-6ED437929836}"/>
          </ac:picMkLst>
        </pc:picChg>
      </pc:sldChg>
    </pc:docChg>
  </pc:docChgLst>
  <pc:docChgLst>
    <pc:chgData name="Doug Gould" userId="S::dogou@microsoft.com::5954e487-b30e-486f-a68e-874a51e91610" providerId="AD" clId="Web-{CCF9777C-A50F-42FF-9BB9-C52A54C14C20}"/>
    <pc:docChg chg="sldOrd">
      <pc:chgData name="Doug Gould" userId="S::dogou@microsoft.com::5954e487-b30e-486f-a68e-874a51e91610" providerId="AD" clId="Web-{CCF9777C-A50F-42FF-9BB9-C52A54C14C20}" dt="2018-12-11T19:35:00.958" v="0"/>
      <pc:docMkLst>
        <pc:docMk/>
      </pc:docMkLst>
      <pc:sldChg chg="ord">
        <pc:chgData name="Doug Gould" userId="S::dogou@microsoft.com::5954e487-b30e-486f-a68e-874a51e91610" providerId="AD" clId="Web-{CCF9777C-A50F-42FF-9BB9-C52A54C14C20}" dt="2018-12-11T19:35:00.958" v="0"/>
        <pc:sldMkLst>
          <pc:docMk/>
          <pc:sldMk cId="3270559089" sldId="4249"/>
        </pc:sldMkLst>
      </pc:sldChg>
    </pc:docChg>
  </pc:docChgLst>
  <pc:docChgLst>
    <pc:chgData name="Lisa Schnitzius" userId="S::lischnit@microsoft.com::adc2a09d-8ecc-4a9a-b08a-3814ab83a7e9" providerId="AD" clId="Web-{C210D6BF-DA6D-4FAD-8CB2-3ACB2213E073}"/>
    <pc:docChg chg="addSld delSld modSld sldOrd">
      <pc:chgData name="Lisa Schnitzius" userId="S::lischnit@microsoft.com::adc2a09d-8ecc-4a9a-b08a-3814ab83a7e9" providerId="AD" clId="Web-{C210D6BF-DA6D-4FAD-8CB2-3ACB2213E073}" dt="2019-01-08T18:34:37.520" v="7"/>
      <pc:docMkLst>
        <pc:docMk/>
      </pc:docMkLst>
      <pc:sldChg chg="addSp modSp new ord">
        <pc:chgData name="Lisa Schnitzius" userId="S::lischnit@microsoft.com::adc2a09d-8ecc-4a9a-b08a-3814ab83a7e9" providerId="AD" clId="Web-{C210D6BF-DA6D-4FAD-8CB2-3ACB2213E073}" dt="2019-01-08T18:34:37.520" v="7"/>
        <pc:sldMkLst>
          <pc:docMk/>
          <pc:sldMk cId="1347360898" sldId="8296"/>
        </pc:sldMkLst>
        <pc:picChg chg="add mod">
          <ac:chgData name="Lisa Schnitzius" userId="S::lischnit@microsoft.com::adc2a09d-8ecc-4a9a-b08a-3814ab83a7e9" providerId="AD" clId="Web-{C210D6BF-DA6D-4FAD-8CB2-3ACB2213E073}" dt="2019-01-08T18:34:16.160" v="6" actId="14100"/>
          <ac:picMkLst>
            <pc:docMk/>
            <pc:sldMk cId="1347360898" sldId="8296"/>
            <ac:picMk id="5" creationId="{DFD1DD7E-4C42-46F4-B904-368050E84B62}"/>
          </ac:picMkLst>
        </pc:picChg>
      </pc:sldChg>
      <pc:sldChg chg="new del">
        <pc:chgData name="Lisa Schnitzius" userId="S::lischnit@microsoft.com::adc2a09d-8ecc-4a9a-b08a-3814ab83a7e9" providerId="AD" clId="Web-{C210D6BF-DA6D-4FAD-8CB2-3ACB2213E073}" dt="2019-01-08T18:33:19.517" v="1"/>
        <pc:sldMkLst>
          <pc:docMk/>
          <pc:sldMk cId="3095862896" sldId="8296"/>
        </pc:sldMkLst>
      </pc:sldChg>
    </pc:docChg>
  </pc:docChgLst>
  <pc:docChgLst>
    <pc:chgData name="Lisa Schnitzius" userId="S::lischnit@microsoft.com::adc2a09d-8ecc-4a9a-b08a-3814ab83a7e9" providerId="AD" clId="Web-{B37E88DF-2422-41BD-B715-A4528B0A7659}"/>
    <pc:docChg chg="modSld">
      <pc:chgData name="Lisa Schnitzius" userId="S::lischnit@microsoft.com::adc2a09d-8ecc-4a9a-b08a-3814ab83a7e9" providerId="AD" clId="Web-{B37E88DF-2422-41BD-B715-A4528B0A7659}" dt="2019-01-08T18:44:18.991" v="24" actId="1076"/>
      <pc:docMkLst>
        <pc:docMk/>
      </pc:docMkLst>
      <pc:sldChg chg="modSp">
        <pc:chgData name="Lisa Schnitzius" userId="S::lischnit@microsoft.com::adc2a09d-8ecc-4a9a-b08a-3814ab83a7e9" providerId="AD" clId="Web-{B37E88DF-2422-41BD-B715-A4528B0A7659}" dt="2019-01-08T18:43:02.269" v="14" actId="20577"/>
        <pc:sldMkLst>
          <pc:docMk/>
          <pc:sldMk cId="873073181" sldId="289"/>
        </pc:sldMkLst>
        <pc:spChg chg="mod">
          <ac:chgData name="Lisa Schnitzius" userId="S::lischnit@microsoft.com::adc2a09d-8ecc-4a9a-b08a-3814ab83a7e9" providerId="AD" clId="Web-{B37E88DF-2422-41BD-B715-A4528B0A7659}" dt="2019-01-08T18:43:02.269" v="14" actId="20577"/>
          <ac:spMkLst>
            <pc:docMk/>
            <pc:sldMk cId="873073181" sldId="289"/>
            <ac:spMk id="2" creationId="{81655B7C-02C3-4F48-8944-0B6D98B0BE9E}"/>
          </ac:spMkLst>
        </pc:spChg>
      </pc:sldChg>
      <pc:sldChg chg="modSp">
        <pc:chgData name="Lisa Schnitzius" userId="S::lischnit@microsoft.com::adc2a09d-8ecc-4a9a-b08a-3814ab83a7e9" providerId="AD" clId="Web-{B37E88DF-2422-41BD-B715-A4528B0A7659}" dt="2019-01-08T18:44:12.022" v="23" actId="1076"/>
        <pc:sldMkLst>
          <pc:docMk/>
          <pc:sldMk cId="1214537133" sldId="8150"/>
        </pc:sldMkLst>
        <pc:spChg chg="mod">
          <ac:chgData name="Lisa Schnitzius" userId="S::lischnit@microsoft.com::adc2a09d-8ecc-4a9a-b08a-3814ab83a7e9" providerId="AD" clId="Web-{B37E88DF-2422-41BD-B715-A4528B0A7659}" dt="2019-01-08T18:43:43.709" v="19" actId="20577"/>
          <ac:spMkLst>
            <pc:docMk/>
            <pc:sldMk cId="1214537133" sldId="8150"/>
            <ac:spMk id="12" creationId="{5CB033A5-2E3A-4627-93DD-52F03B2613BC}"/>
          </ac:spMkLst>
        </pc:spChg>
        <pc:picChg chg="mod">
          <ac:chgData name="Lisa Schnitzius" userId="S::lischnit@microsoft.com::adc2a09d-8ecc-4a9a-b08a-3814ab83a7e9" providerId="AD" clId="Web-{B37E88DF-2422-41BD-B715-A4528B0A7659}" dt="2019-01-08T18:44:12.022" v="23" actId="1076"/>
          <ac:picMkLst>
            <pc:docMk/>
            <pc:sldMk cId="1214537133" sldId="8150"/>
            <ac:picMk id="2" creationId="{2856AB80-CA7B-4FA6-9563-6ED84D077057}"/>
          </ac:picMkLst>
        </pc:picChg>
      </pc:sldChg>
      <pc:sldChg chg="modSp">
        <pc:chgData name="Lisa Schnitzius" userId="S::lischnit@microsoft.com::adc2a09d-8ecc-4a9a-b08a-3814ab83a7e9" providerId="AD" clId="Web-{B37E88DF-2422-41BD-B715-A4528B0A7659}" dt="2019-01-08T18:44:02.991" v="22" actId="1076"/>
        <pc:sldMkLst>
          <pc:docMk/>
          <pc:sldMk cId="411881949" sldId="8285"/>
        </pc:sldMkLst>
        <pc:spChg chg="mod">
          <ac:chgData name="Lisa Schnitzius" userId="S::lischnit@microsoft.com::adc2a09d-8ecc-4a9a-b08a-3814ab83a7e9" providerId="AD" clId="Web-{B37E88DF-2422-41BD-B715-A4528B0A7659}" dt="2019-01-08T18:43:58.319" v="21" actId="20577"/>
          <ac:spMkLst>
            <pc:docMk/>
            <pc:sldMk cId="411881949" sldId="8285"/>
            <ac:spMk id="12" creationId="{C68CE6E5-9738-4B57-9567-0545B0EC830F}"/>
          </ac:spMkLst>
        </pc:spChg>
        <pc:picChg chg="mod">
          <ac:chgData name="Lisa Schnitzius" userId="S::lischnit@microsoft.com::adc2a09d-8ecc-4a9a-b08a-3814ab83a7e9" providerId="AD" clId="Web-{B37E88DF-2422-41BD-B715-A4528B0A7659}" dt="2019-01-08T18:44:02.991" v="22" actId="1076"/>
          <ac:picMkLst>
            <pc:docMk/>
            <pc:sldMk cId="411881949" sldId="8285"/>
            <ac:picMk id="2" creationId="{79B12EDD-5FF7-49BB-AA5B-3D56AA0C78DE}"/>
          </ac:picMkLst>
        </pc:picChg>
      </pc:sldChg>
      <pc:sldChg chg="modSp">
        <pc:chgData name="Lisa Schnitzius" userId="S::lischnit@microsoft.com::adc2a09d-8ecc-4a9a-b08a-3814ab83a7e9" providerId="AD" clId="Web-{B37E88DF-2422-41BD-B715-A4528B0A7659}" dt="2019-01-08T18:44:18.991" v="24" actId="1076"/>
        <pc:sldMkLst>
          <pc:docMk/>
          <pc:sldMk cId="3629869271" sldId="8294"/>
        </pc:sldMkLst>
        <pc:spChg chg="mod">
          <ac:chgData name="Lisa Schnitzius" userId="S::lischnit@microsoft.com::adc2a09d-8ecc-4a9a-b08a-3814ab83a7e9" providerId="AD" clId="Web-{B37E88DF-2422-41BD-B715-A4528B0A7659}" dt="2019-01-08T18:43:18.145" v="16" actId="20577"/>
          <ac:spMkLst>
            <pc:docMk/>
            <pc:sldMk cId="3629869271" sldId="8294"/>
            <ac:spMk id="12" creationId="{C68CE6E5-9738-4B57-9567-0545B0EC830F}"/>
          </ac:spMkLst>
        </pc:spChg>
        <pc:picChg chg="mod">
          <ac:chgData name="Lisa Schnitzius" userId="S::lischnit@microsoft.com::adc2a09d-8ecc-4a9a-b08a-3814ab83a7e9" providerId="AD" clId="Web-{B37E88DF-2422-41BD-B715-A4528B0A7659}" dt="2019-01-08T18:44:18.991" v="24" actId="1076"/>
          <ac:picMkLst>
            <pc:docMk/>
            <pc:sldMk cId="3629869271" sldId="8294"/>
            <ac:picMk id="2" creationId="{0A6AFD65-3A4F-4F0A-AB61-8D77030E62E0}"/>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18-12-14T13:45:54.908" idx="1">
    <p:pos x="5931" y="3793"/>
    <p:text>Seb will communicate to App Innovation Partner Team to recruit and align App Innovation Partners. Include KM in Intelligent Experience Pitch.</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5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4A4EB9-9ECA-424D-8C66-E394288024B7}" type="datetimeFigureOut">
              <a:rPr lang="en-US" smtClean="0"/>
              <a:t>12/2/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67745F-9201-4F89-B850-D47C18CDF218}" type="slidenum">
              <a:rPr lang="en-US" smtClean="0"/>
              <a:t>‹#›</a:t>
            </a:fld>
            <a:endParaRPr lang="en-US"/>
          </a:p>
        </p:txBody>
      </p:sp>
    </p:spTree>
    <p:extLst>
      <p:ext uri="{BB962C8B-B14F-4D97-AF65-F5344CB8AC3E}">
        <p14:creationId xmlns:p14="http://schemas.microsoft.com/office/powerpoint/2010/main" val="1832923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ustomers.microsoft.com/en-us/story/canadas-largest-automobile-search-site-takes-azure-for"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canadas-largest-automobile-search-site-takes-azure-for"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canadas-largest-automobile-search-site-takes-azure-for"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canadas-largest-automobile-search-site-takes-azure-fo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0387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J + AVP</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A763D893-B32D-4E27-AA6F-D926E6CD17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930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19 5: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9389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customers.microsoft.com/en-us/story/canadas-largest-automobile-search-site-takes-azure-for</a:t>
            </a:r>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D98B3-BA03-416B-811E-9533CBC616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6244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initiative called Post Payment Audit (PPA)</a:t>
            </a:r>
          </a:p>
          <a:p>
            <a:r>
              <a:rPr lang="en-US" sz="1200"/>
              <a:t>Emails for three years of </a:t>
            </a:r>
            <a:r>
              <a:rPr lang="en-US" sz="1200" err="1"/>
              <a:t>walmart</a:t>
            </a:r>
            <a:r>
              <a:rPr lang="en-US" sz="1200"/>
              <a:t> buyers</a:t>
            </a:r>
          </a:p>
          <a:p>
            <a:r>
              <a:rPr lang="en-US" sz="1200"/>
              <a:t>Want emails to be searchable</a:t>
            </a:r>
          </a:p>
          <a:p>
            <a:r>
              <a:rPr lang="en-US" sz="1200"/>
              <a:t>Auditors need to audit this</a:t>
            </a:r>
          </a:p>
          <a:p>
            <a:r>
              <a:rPr lang="en-US" sz="1200"/>
              <a:t>Spend a lot of time searching</a:t>
            </a:r>
          </a:p>
          <a:p>
            <a:r>
              <a:rPr lang="en-US" sz="1200"/>
              <a:t>Want nearly everything there - so keyword extraction is not an option</a:t>
            </a:r>
          </a:p>
          <a:p>
            <a:r>
              <a:rPr lang="en-US" sz="1200"/>
              <a:t>Month of emails (no attachments) is 5GB, with attachments is 60 GB</a:t>
            </a:r>
          </a:p>
          <a:p>
            <a:r>
              <a:rPr lang="en-US" sz="1200"/>
              <a:t>For 36 months - 2.1 TB of index space</a:t>
            </a:r>
          </a:p>
          <a:p>
            <a:r>
              <a:rPr lang="en-US" sz="1200"/>
              <a:t>By Sept 4, have 18 months data searchable</a:t>
            </a:r>
          </a:p>
          <a:p>
            <a:r>
              <a:rPr lang="en-US" sz="1200"/>
              <a:t>Attachments need to be searchable, but not retrievable</a:t>
            </a:r>
          </a:p>
          <a:p>
            <a:r>
              <a:rPr lang="en-US" sz="1200"/>
              <a:t> </a:t>
            </a:r>
          </a:p>
          <a:p>
            <a:r>
              <a:rPr lang="en-US" sz="1200"/>
              <a:t>Latency of Search</a:t>
            </a:r>
          </a:p>
          <a:p>
            <a:pPr fontAlgn="ctr"/>
            <a:r>
              <a:rPr lang="en-US" sz="1200"/>
              <a:t>Not much slack on latency - seconds</a:t>
            </a:r>
          </a:p>
          <a:p>
            <a:pPr fontAlgn="ctr"/>
            <a:r>
              <a:rPr lang="en-US" sz="1200"/>
              <a:t>Might be able to make a recent set of data faster</a:t>
            </a:r>
          </a:p>
          <a:p>
            <a:r>
              <a:rPr lang="en-US" sz="1200"/>
              <a:t> </a:t>
            </a:r>
          </a:p>
          <a:p>
            <a:r>
              <a:rPr lang="en-US" sz="1200"/>
              <a:t>Very willing to work with us as much as possible on the big SKU</a:t>
            </a:r>
          </a:p>
          <a:p>
            <a:r>
              <a:rPr lang="en-US" sz="1200"/>
              <a:t> </a:t>
            </a:r>
          </a:p>
          <a:p>
            <a:endParaRPr lang="en-US" sz="1200"/>
          </a:p>
          <a:p>
            <a:r>
              <a:rPr lang="en-US" sz="1200"/>
              <a:t>60-100gb per month</a:t>
            </a:r>
          </a:p>
          <a:p>
            <a:r>
              <a:rPr lang="en-US" sz="1200"/>
              <a:t>- 19 months of data</a:t>
            </a:r>
          </a:p>
          <a:p>
            <a:r>
              <a:rPr lang="en-US" sz="1200"/>
              <a:t>- 1.39 TB</a:t>
            </a:r>
          </a:p>
          <a:p>
            <a:r>
              <a:rPr lang="en-US" sz="1200"/>
              <a:t>- Goal is 36 months</a:t>
            </a:r>
          </a:p>
          <a:p>
            <a:r>
              <a:rPr lang="en-US" sz="1200"/>
              <a:t>- Most of attachments are Excel - lot of data is duplicated over multiple cells</a:t>
            </a:r>
          </a:p>
          <a:p>
            <a:r>
              <a:rPr lang="en-US" sz="1200"/>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D98B3-BA03-416B-811E-9533CBC616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442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customers.microsoft.com/en-us/story/canadas-largest-automobile-search-site-takes-azure-for</a:t>
            </a:r>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D98B3-BA03-416B-811E-9533CBC616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95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customers.microsoft.com/en-us/story/canadas-largest-automobile-search-site-takes-azure-for</a:t>
            </a:r>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D98B3-BA03-416B-811E-9533CBC616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938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customers.microsoft.com/en-us/story/canadas-largest-automobile-search-site-takes-azure-for</a:t>
            </a:r>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D98B3-BA03-416B-811E-9533CBC616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7895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J + AVP</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A763D893-B32D-4E27-AA6F-D926E6CD17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918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197BAE4-5A6B-4E95-BD58-EA8E5001E91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7283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4459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J + AVP</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A763D893-B32D-4E27-AA6F-D926E6CD17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2660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197BAE4-5A6B-4E95-BD58-EA8E5001E91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732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J + AVP</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A763D893-B32D-4E27-AA6F-D926E6CD17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992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6DE022EA-76B1-46B8-9C5D-029FB65C08A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049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43987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00638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47317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11113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59578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48853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33951D6-60EF-4402-A273-C68993B19D1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8266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srgbClr val="0070C0"/>
                </a:solidFill>
                <a:latin typeface="Segoe UI Light" panose="020B0502040204020203" pitchFamily="34" charset="0"/>
                <a:cs typeface="Segoe UI Light" panose="020B0502040204020203" pitchFamily="34" charset="0"/>
              </a:rPr>
              <a:t>The use of advanced data science to understand relationships across multiple sources of structured &amp; unstructured data in a human-like fashion in order to uncover critical business insights and deliver transformational outcomes </a:t>
            </a:r>
            <a:endParaRPr lang="en-US"/>
          </a:p>
        </p:txBody>
      </p:sp>
      <p:sp>
        <p:nvSpPr>
          <p:cNvPr id="4" name="Slide Number Placeholder 3"/>
          <p:cNvSpPr>
            <a:spLocks noGrp="1"/>
          </p:cNvSpPr>
          <p:nvPr>
            <p:ph type="sldNum" sz="quarter" idx="5"/>
          </p:nvPr>
        </p:nvSpPr>
        <p:spPr/>
        <p:txBody>
          <a:bodyPr/>
          <a:lstStyle/>
          <a:p>
            <a:fld id="{5667745F-9201-4F89-B850-D47C18CDF218}" type="slidenum">
              <a:rPr lang="en-US" smtClean="0"/>
              <a:t>4</a:t>
            </a:fld>
            <a:endParaRPr lang="en-US"/>
          </a:p>
        </p:txBody>
      </p:sp>
    </p:spTree>
    <p:extLst>
      <p:ext uri="{BB962C8B-B14F-4D97-AF65-F5344CB8AC3E}">
        <p14:creationId xmlns:p14="http://schemas.microsoft.com/office/powerpoint/2010/main" val="3754644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67745F-9201-4F89-B850-D47C18CDF218}" type="slidenum">
              <a:rPr lang="en-US" smtClean="0"/>
              <a:t>39</a:t>
            </a:fld>
            <a:endParaRPr lang="en-US"/>
          </a:p>
        </p:txBody>
      </p:sp>
    </p:spTree>
    <p:extLst>
      <p:ext uri="{BB962C8B-B14F-4D97-AF65-F5344CB8AC3E}">
        <p14:creationId xmlns:p14="http://schemas.microsoft.com/office/powerpoint/2010/main" val="27330340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ow Global SI Coverage through GSIs</a:t>
            </a:r>
          </a:p>
          <a:p>
            <a:r>
              <a:rPr lang="en-US"/>
              <a:t>Develop Area SI’s: Top Local SI’s for A14</a:t>
            </a:r>
          </a:p>
          <a:p>
            <a:r>
              <a:rPr lang="en-US"/>
              <a:t>Industry: Top Industry Solution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A2FA8B5-2A93-4B68-8E92-AF5C69BC2D8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3290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J + AVP</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A763D893-B32D-4E27-AA6F-D926E6CD17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5612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2/2/19 5: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56940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J + AVP</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A763D893-B32D-4E27-AA6F-D926E6CD17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63341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2257A8-0683-4AAE-9E17-6E7AC7B9D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6704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a:t>Data &amp; AI Stack</a:t>
            </a:r>
          </a:p>
          <a:p>
            <a:endParaRPr lang="en-US"/>
          </a:p>
          <a:p>
            <a:r>
              <a:rPr lang="en-US"/>
              <a:t>Manufacturing Focused Solutions are Highlighted</a:t>
            </a:r>
          </a:p>
          <a:p>
            <a:endParaRPr lang="en-US"/>
          </a:p>
          <a:p>
            <a:r>
              <a:rPr lang="en-US"/>
              <a:t>This slide gives you an end-to-end view from Key Plays down to Offers and Industry Solutions.  The clear message here is that we have a solid set of IP and Offers to land in front of customers.   However it is super, super important that we always start with a Strategy Briefing and Envisioning Session:  With AI we often miss the larger opportunity when we don’t get the customer to invest in a strategy briefing to uncover the core business issues – missing this step can lead to a ‘one and done’ result.  The Path to Value approach should guide all of our engagements with custom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9C657C-4F29-4321-B535-2F2DC3F3F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387360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Data is growing exponentially, leading 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Challenges for outdated and manual methods of categorizing and organizing information to keep up with growt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New business problems due to the additional time it takes for employees and end-customers to comb through potentially relevant information to find what they need to make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As a result, companies/develop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Overspend or inefficiently documenting their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Fail to unlock valuable information lying latent in cont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Take too long to make decisions that are reliant on their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Impacts any company or developer needing to explore/surface a large amount of information quickly, repeatedly, and/or accurat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How these issues play out:</a:t>
            </a:r>
          </a:p>
          <a:p>
            <a:pPr lvl="1"/>
            <a:r>
              <a:rPr lang="en-US" sz="1600">
                <a:latin typeface="Segoe UI" panose="020B0502040204020203" pitchFamily="34" charset="0"/>
                <a:cs typeface="Segoe UI" panose="020B0502040204020203" pitchFamily="34" charset="0"/>
              </a:rPr>
              <a:t>Cannot leverage all of their data because of it’s format (images, handwritten text, PPT, PDF). </a:t>
            </a:r>
          </a:p>
          <a:p>
            <a:pPr lvl="1"/>
            <a:r>
              <a:rPr lang="en-US" sz="1600">
                <a:latin typeface="Segoe UI" panose="020B0502040204020203" pitchFamily="34" charset="0"/>
                <a:cs typeface="Segoe UI" panose="020B0502040204020203" pitchFamily="34" charset="0"/>
              </a:rPr>
              <a:t>Search/explore their data in very shallow ways with unsophisticated indexers that don’t understand the intent of the “searcher”</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600">
                <a:latin typeface="Segoe UI" panose="020B0502040204020203" pitchFamily="34" charset="0"/>
                <a:cs typeface="Segoe UI" panose="020B0502040204020203" pitchFamily="34" charset="0"/>
              </a:rPr>
              <a:t>Search/explore their data in very shallow ways because they couldn’t fully enrich/annotate their data</a:t>
            </a:r>
          </a:p>
          <a:p>
            <a:pPr lvl="1"/>
            <a:r>
              <a:rPr lang="en-US" sz="1600">
                <a:latin typeface="Segoe UI" panose="020B0502040204020203" pitchFamily="34" charset="0"/>
                <a:cs typeface="Segoe UI" panose="020B0502040204020203" pitchFamily="34" charset="0"/>
              </a:rPr>
              <a:t>Cannot identify relationships between documents/items within their database</a:t>
            </a:r>
          </a:p>
          <a:p>
            <a:pPr lvl="1"/>
            <a:r>
              <a:rPr lang="en-US" sz="1600">
                <a:latin typeface="Segoe UI" panose="020B0502040204020203" pitchFamily="34" charset="0"/>
                <a:cs typeface="Segoe UI" panose="020B0502040204020203" pitchFamily="34" charset="0"/>
              </a:rPr>
              <a:t>Struggle to optimize/prioritize the right content to their end users</a:t>
            </a:r>
          </a:p>
          <a:p>
            <a:pPr lvl="1"/>
            <a:r>
              <a:rPr lang="en-US" sz="1600">
                <a:latin typeface="Segoe UI" panose="020B0502040204020203" pitchFamily="34" charset="0"/>
                <a:cs typeface="Segoe UI" panose="020B0502040204020203" pitchFamily="34" charset="0"/>
              </a:rPr>
              <a:t>Must upkeep/manage/retool/apply additional logic and entity extraction to their data as it changes or if they want to explore it more deeply</a:t>
            </a:r>
          </a:p>
          <a:p>
            <a:pPr lvl="0"/>
            <a:endParaRPr lang="en-US" sz="1600">
              <a:latin typeface="Segoe UI" panose="020B0502040204020203" pitchFamily="34" charset="0"/>
              <a:cs typeface="Segoe UI" panose="020B0502040204020203" pitchFamily="34" charset="0"/>
            </a:endParaRPr>
          </a:p>
          <a:p>
            <a:pPr lvl="0"/>
            <a:r>
              <a:rPr lang="en-US" sz="1600">
                <a:latin typeface="Segoe UI" panose="020B0502040204020203" pitchFamily="34" charset="0"/>
                <a:cs typeface="Segoe UI" panose="020B0502040204020203" pitchFamily="34" charset="0"/>
              </a:rPr>
              <a:t>Links</a:t>
            </a:r>
          </a:p>
          <a:p>
            <a:pPr lvl="0"/>
            <a:r>
              <a:rPr lang="en-US" sz="1600">
                <a:latin typeface="Segoe UI" panose="020B0502040204020203" pitchFamily="34" charset="0"/>
                <a:cs typeface="Segoe UI" panose="020B0502040204020203" pitchFamily="34" charset="0"/>
              </a:rPr>
              <a:t>1. https://www.ricoh.nl/Images/IDC_Executive_Insights_January2011_t_76-4420.pdf</a:t>
            </a:r>
          </a:p>
          <a:p>
            <a:pPr lvl="0"/>
            <a:r>
              <a:rPr lang="en-US" sz="1600">
                <a:latin typeface="Segoe UI" panose="020B0502040204020203" pitchFamily="34" charset="0"/>
                <a:cs typeface="Segoe UI" panose="020B0502040204020203" pitchFamily="34" charset="0"/>
              </a:rPr>
              <a:t>2. </a:t>
            </a:r>
            <a:r>
              <a:rPr lang="en-US" sz="1200" u="sng" kern="1200">
                <a:solidFill>
                  <a:schemeClr val="tx1"/>
                </a:solidFill>
                <a:effectLst/>
                <a:latin typeface="+mn-lt"/>
                <a:ea typeface="+mn-ea"/>
                <a:cs typeface="+mn-cs"/>
                <a:hlinkClick r:id="rId3"/>
              </a:rPr>
              <a:t>http://www.marketingpilgrim.com/2014/12/in-the-next-60-seconds-300-hours-of-video-will-be-uploaded-to-youtube.html</a:t>
            </a:r>
            <a:endParaRPr lang="en-US" sz="160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4783CC-5F22-4CA8-B7C6-D362967C75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1733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clude Cosmos DB synergies here (per Alessio’s input) and why Cosmos vs. Azure SQL, DB and Cosmos (for downstream analytics scenarios)</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7745F-9201-4F89-B850-D47C18CDF2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186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PG Feedback: way too MSFT centric – if I’m a customer this doesn’t put me at the center at all – flip this slide to a customer’s ecosystem.</a:t>
            </a:r>
          </a:p>
          <a:p>
            <a:r>
              <a:rPr lang="en-US"/>
              <a:t>My data/structured and unstructured data – (graphically put that at the center of the graphic, then wheel around that the different components)</a:t>
            </a:r>
          </a:p>
          <a:p>
            <a:r>
              <a:rPr lang="en-US"/>
              <a:t>Be specific about the cognitive skills that exist that we can lever in to enrich – highlight this competitive advantag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5919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br>
              <a:rPr lang="en-US" sz="1200">
                <a:latin typeface="+mn-lt"/>
              </a:rPr>
            </a:b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387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a:solidFill>
                  <a:schemeClr val="tx1"/>
                </a:solidFill>
              </a:rPr>
              <a:t>Revenue drivers</a:t>
            </a:r>
          </a:p>
          <a:p>
            <a:endParaRPr lang="en-US" sz="1200" u="sng">
              <a:solidFill>
                <a:schemeClr val="tx1"/>
              </a:solidFill>
            </a:endParaRPr>
          </a:p>
          <a:p>
            <a:r>
              <a:rPr lang="en-US" sz="1200" u="sng">
                <a:solidFill>
                  <a:schemeClr val="tx1"/>
                </a:solidFill>
              </a:rPr>
              <a:t>Azure storage:</a:t>
            </a:r>
          </a:p>
          <a:p>
            <a:r>
              <a:rPr lang="en-US" sz="1200">
                <a:solidFill>
                  <a:schemeClr val="tx1"/>
                </a:solidFill>
              </a:rPr>
              <a:t>Total amount of data in storage</a:t>
            </a:r>
          </a:p>
          <a:p>
            <a:endParaRPr lang="en-US" sz="1200">
              <a:solidFill>
                <a:schemeClr val="tx1"/>
              </a:solidFill>
            </a:endParaRPr>
          </a:p>
          <a:p>
            <a:r>
              <a:rPr lang="en-US" sz="1200" u="sng">
                <a:solidFill>
                  <a:schemeClr val="tx1"/>
                </a:solidFill>
              </a:rPr>
              <a:t>Azure search:</a:t>
            </a:r>
          </a:p>
          <a:p>
            <a:r>
              <a:rPr lang="en-US" sz="1200">
                <a:solidFill>
                  <a:schemeClr val="tx1"/>
                </a:solidFill>
              </a:rPr>
              <a:t>Search unit by hour provisioned (not impacted by number of indexes/given amount of time)</a:t>
            </a:r>
          </a:p>
          <a:p>
            <a:endParaRPr lang="en-US" sz="1200">
              <a:solidFill>
                <a:schemeClr val="tx1"/>
              </a:solidFill>
            </a:endParaRPr>
          </a:p>
          <a:p>
            <a:r>
              <a:rPr lang="en-US" sz="1200" u="sng">
                <a:solidFill>
                  <a:schemeClr val="tx1"/>
                </a:solidFill>
              </a:rPr>
              <a:t>Azure web app</a:t>
            </a:r>
          </a:p>
          <a:p>
            <a:r>
              <a:rPr lang="en-US" sz="1200">
                <a:solidFill>
                  <a:schemeClr val="tx1"/>
                </a:solidFill>
              </a:rPr>
              <a:t>Duration of time live + Power per machine, copies, (#visitors, geo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4783CC-5F22-4CA8-B7C6-D362967C75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983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G Feedback: What kind of app here are you calling LOB app? Need clarity as we have custom apps, we have customers with salesforce, SAP and a bunch of 3</a:t>
            </a:r>
            <a:r>
              <a:rPr lang="en-US" baseline="30000"/>
              <a:t>rd</a:t>
            </a:r>
            <a:r>
              <a:rPr lang="en-US"/>
              <a:t> party LOB apps. (what apps are we talking about?)</a:t>
            </a:r>
          </a:p>
        </p:txBody>
      </p:sp>
      <p:sp>
        <p:nvSpPr>
          <p:cNvPr id="4" name="Slide Number Placeholder 3"/>
          <p:cNvSpPr>
            <a:spLocks noGrp="1"/>
          </p:cNvSpPr>
          <p:nvPr>
            <p:ph type="sldNum" sz="quarter" idx="5"/>
          </p:nvPr>
        </p:nvSpPr>
        <p:spPr/>
        <p:txBody>
          <a:bodyPr/>
          <a:lstStyle/>
          <a:p>
            <a:fld id="{5667745F-9201-4F89-B850-D47C18CDF218}" type="slidenum">
              <a:rPr lang="en-US" smtClean="0"/>
              <a:t>13</a:t>
            </a:fld>
            <a:endParaRPr lang="en-US"/>
          </a:p>
        </p:txBody>
      </p:sp>
    </p:spTree>
    <p:extLst>
      <p:ext uri="{BB962C8B-B14F-4D97-AF65-F5344CB8AC3E}">
        <p14:creationId xmlns:p14="http://schemas.microsoft.com/office/powerpoint/2010/main" val="29857018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25.emf"/></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25.emf"/></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25.emf"/></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hyperlink" Target="https://customers.microsoft.com/en-US/home?sq=&amp;ff=&amp;p=0" TargetMode="External"/><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0.jpeg"/><Relationship Id="rId1" Type="http://schemas.openxmlformats.org/officeDocument/2006/relationships/slideMaster" Target="../slideMasters/slideMaster18.xml"/><Relationship Id="rId4" Type="http://schemas.openxmlformats.org/officeDocument/2006/relationships/image" Target="../media/image51.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1.jpeg"/><Relationship Id="rId1" Type="http://schemas.openxmlformats.org/officeDocument/2006/relationships/slideMaster" Target="../slideMasters/slideMaster18.xml"/><Relationship Id="rId6" Type="http://schemas.openxmlformats.org/officeDocument/2006/relationships/image" Target="../media/image51.png"/><Relationship Id="rId5" Type="http://schemas.openxmlformats.org/officeDocument/2006/relationships/image" Target="../media/image12.png"/><Relationship Id="rId4" Type="http://schemas.microsoft.com/office/2007/relationships/hdphoto" Target="../media/hdphoto1.wdp"/></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jpe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6.jp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7.jp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0.jpeg"/><Relationship Id="rId1" Type="http://schemas.openxmlformats.org/officeDocument/2006/relationships/slideMaster" Target="../slideMasters/slideMaster18.xml"/><Relationship Id="rId4" Type="http://schemas.openxmlformats.org/officeDocument/2006/relationships/image" Target="../media/image51.pn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1.jpeg"/><Relationship Id="rId1" Type="http://schemas.openxmlformats.org/officeDocument/2006/relationships/slideMaster" Target="../slideMasters/slideMaster18.xml"/><Relationship Id="rId6" Type="http://schemas.openxmlformats.org/officeDocument/2006/relationships/image" Target="../media/image51.png"/><Relationship Id="rId5" Type="http://schemas.openxmlformats.org/officeDocument/2006/relationships/image" Target="../media/image12.png"/><Relationship Id="rId4" Type="http://schemas.microsoft.com/office/2007/relationships/hdphoto" Target="../media/hdphoto1.wdp"/></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9.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172524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22879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35025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3" name="Rectangle 2">
            <a:extLst>
              <a:ext uri="{FF2B5EF4-FFF2-40B4-BE49-F238E27FC236}">
                <a16:creationId xmlns:a16="http://schemas.microsoft.com/office/drawing/2014/main" id="{2C5D9EF9-1AD0-B542-B100-C73EDD76F9F1}"/>
              </a:ext>
            </a:extLst>
          </p:cNvPr>
          <p:cNvSpPr/>
          <p:nvPr userDrawn="1"/>
        </p:nvSpPr>
        <p:spPr bwMode="auto">
          <a:xfrm>
            <a:off x="0" y="0"/>
            <a:ext cx="12192000" cy="6858000"/>
          </a:xfrm>
          <a:prstGeom prst="rect">
            <a:avLst/>
          </a:prstGeom>
          <a:solidFill>
            <a:schemeClr val="bg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37678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8047163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68595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147102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610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08665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3457719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19627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18218116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50236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34963"/>
            <a:ext cx="11655840" cy="549986"/>
          </a:xfrm>
        </p:spPr>
        <p:txBody>
          <a:bodyPr/>
          <a:lstStyle>
            <a:lvl1pPr>
              <a:defRPr lang="en-US" sz="3600" b="1" i="0" kern="1200" cap="none" spc="0" baseline="0" dirty="0">
                <a:ln w="3175">
                  <a:noFill/>
                </a:ln>
                <a:solidFill>
                  <a:srgbClr val="000000"/>
                </a:soli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4" name="Text Placeholder 7">
            <a:extLst>
              <a:ext uri="{FF2B5EF4-FFF2-40B4-BE49-F238E27FC236}">
                <a16:creationId xmlns:a16="http://schemas.microsoft.com/office/drawing/2014/main" id="{E589A096-317B-45E8-B534-36C6CCCB39FD}"/>
              </a:ext>
            </a:extLst>
          </p:cNvPr>
          <p:cNvSpPr txBox="1">
            <a:spLocks/>
          </p:cNvSpPr>
          <p:nvPr userDrawn="1"/>
        </p:nvSpPr>
        <p:spPr>
          <a:xfrm rot="16200000">
            <a:off x="-539818" y="1340614"/>
            <a:ext cx="1536701" cy="406265"/>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200" b="0" kern="1200" cap="all" spc="0" baseline="0" dirty="0" smtClean="0">
                <a:solidFill>
                  <a:srgbClr val="0278D7"/>
                </a:solidFill>
                <a:latin typeface="Segoe UI Semibold" panose="020B0502040204020203" pitchFamily="34" charset="0"/>
                <a:ea typeface="+mn-ea"/>
                <a:cs typeface="Segoe UI Semibold"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cap="none">
                <a:solidFill>
                  <a:srgbClr val="0078D7"/>
                </a:solidFill>
              </a:rPr>
              <a:t>Use cas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3520165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44443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52700408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077755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000" b="1" i="0" cap="none" spc="0" baseline="0">
                <a:solidFill>
                  <a:srgbClr val="FFFFFF"/>
                </a:solidFill>
                <a:latin typeface="Segoe UI Semibold" panose="020B0502040204020203" pitchFamily="34" charset="0"/>
                <a:cs typeface="Segoe UI Semibold"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2000" b="1" i="0" spc="0" baseline="0">
                <a:gradFill>
                  <a:gsLst>
                    <a:gs pos="91000">
                      <a:schemeClr val="tx1"/>
                    </a:gs>
                    <a:gs pos="0">
                      <a:schemeClr val="tx1"/>
                    </a:gs>
                  </a:gsLst>
                  <a:lin ang="5400000" scaled="0"/>
                </a:gradFill>
                <a:latin typeface="Segoe UI Semibold" panose="020B0502040204020203" pitchFamily="34" charset="0"/>
                <a:cs typeface="Segoe UI Semibold" panose="020B05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90004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86790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19935557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377433865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b="1" i="0" kern="1200" cap="none" spc="0" baseline="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0712023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Gray stage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0436653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9007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1341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4609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4709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7339" y="1227277"/>
            <a:ext cx="11653523" cy="1489639"/>
          </a:xfrm>
        </p:spPr>
        <p:txBody>
          <a:bodyPr>
            <a:spAutoFit/>
          </a:bodyPr>
          <a:lstStyle>
            <a:lvl1pPr marL="0" indent="0">
              <a:buNone/>
              <a:defRPr sz="1600" b="0" i="0">
                <a:latin typeface="Segoe UI" panose="020B0502040204020203" pitchFamily="34" charset="0"/>
                <a:cs typeface="Segoe UI" panose="020B0502040204020203" pitchFamily="34" charset="0"/>
              </a:defRPr>
            </a:lvl1pPr>
            <a:lvl2pPr marL="336145" indent="0">
              <a:buNone/>
              <a:defRPr sz="1600" b="0" i="0">
                <a:latin typeface="Segoe UI" panose="020B0502040204020203" pitchFamily="34" charset="0"/>
                <a:cs typeface="Segoe UI" panose="020B0502040204020203" pitchFamily="34" charset="0"/>
              </a:defRPr>
            </a:lvl2pPr>
            <a:lvl3pPr marL="560241" indent="0">
              <a:buNone/>
              <a:defRPr sz="1600" b="0" i="0">
                <a:latin typeface="Segoe UI" panose="020B0502040204020203" pitchFamily="34" charset="0"/>
                <a:cs typeface="Segoe UI" panose="020B0502040204020203" pitchFamily="34" charset="0"/>
              </a:defRPr>
            </a:lvl3pPr>
            <a:lvl4pPr marL="784338" indent="0">
              <a:buNone/>
              <a:defRPr sz="1600" b="0" i="0">
                <a:latin typeface="Segoe UI" panose="020B0502040204020203" pitchFamily="34" charset="0"/>
                <a:cs typeface="Segoe UI" panose="020B0502040204020203" pitchFamily="34" charset="0"/>
              </a:defRPr>
            </a:lvl4pPr>
            <a:lvl5pPr marL="1008434" indent="0">
              <a:buNone/>
              <a:defRPr sz="16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307340" y="314911"/>
            <a:ext cx="11655840" cy="899665"/>
          </a:xfrm>
        </p:spPr>
        <p:txBody>
          <a:bodyPr/>
          <a:lstStyle>
            <a:lvl1pPr>
              <a:defRPr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9626154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581457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116874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42254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1996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17893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3" name="Rectangle 2">
            <a:extLst>
              <a:ext uri="{FF2B5EF4-FFF2-40B4-BE49-F238E27FC236}">
                <a16:creationId xmlns:a16="http://schemas.microsoft.com/office/drawing/2014/main" id="{2C5D9EF9-1AD0-B542-B100-C73EDD76F9F1}"/>
              </a:ext>
            </a:extLst>
          </p:cNvPr>
          <p:cNvSpPr/>
          <p:nvPr userDrawn="1"/>
        </p:nvSpPr>
        <p:spPr bwMode="auto">
          <a:xfrm>
            <a:off x="0" y="0"/>
            <a:ext cx="12192000" cy="6858000"/>
          </a:xfrm>
          <a:prstGeom prst="rect">
            <a:avLst/>
          </a:prstGeom>
          <a:solidFill>
            <a:schemeClr val="bg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30558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5068266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69298681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6249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22180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818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564222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16562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3189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207719977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34963"/>
            <a:ext cx="11655840" cy="549986"/>
          </a:xfrm>
        </p:spPr>
        <p:txBody>
          <a:bodyPr/>
          <a:lstStyle>
            <a:lvl1pPr>
              <a:defRPr lang="en-US" sz="3600" b="1" i="0" kern="1200" cap="none" spc="0" baseline="0" dirty="0">
                <a:ln w="3175">
                  <a:noFill/>
                </a:ln>
                <a:solidFill>
                  <a:srgbClr val="000000"/>
                </a:soli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4" name="Text Placeholder 7">
            <a:extLst>
              <a:ext uri="{FF2B5EF4-FFF2-40B4-BE49-F238E27FC236}">
                <a16:creationId xmlns:a16="http://schemas.microsoft.com/office/drawing/2014/main" id="{E589A096-317B-45E8-B534-36C6CCCB39FD}"/>
              </a:ext>
            </a:extLst>
          </p:cNvPr>
          <p:cNvSpPr txBox="1">
            <a:spLocks/>
          </p:cNvSpPr>
          <p:nvPr userDrawn="1"/>
        </p:nvSpPr>
        <p:spPr>
          <a:xfrm rot="16200000">
            <a:off x="-539818" y="1340614"/>
            <a:ext cx="1536701" cy="406265"/>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200" b="0" kern="1200" cap="all" spc="0" baseline="0" dirty="0" smtClean="0">
                <a:solidFill>
                  <a:srgbClr val="0278D7"/>
                </a:solidFill>
                <a:latin typeface="Segoe UI Semibold" panose="020B0502040204020203" pitchFamily="34" charset="0"/>
                <a:ea typeface="+mn-ea"/>
                <a:cs typeface="Segoe UI Semibold"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cap="none">
                <a:solidFill>
                  <a:srgbClr val="0078D7"/>
                </a:solidFill>
              </a:rPr>
              <a:t>Use cas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35076162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5056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623336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88951668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222346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000" b="1" i="0" cap="none" spc="0" baseline="0">
                <a:solidFill>
                  <a:srgbClr val="FFFFFF"/>
                </a:solidFill>
                <a:latin typeface="Segoe UI Semibold" panose="020B0502040204020203" pitchFamily="34" charset="0"/>
                <a:cs typeface="Segoe UI Semibold"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2000" b="1" i="0" spc="0" baseline="0">
                <a:gradFill>
                  <a:gsLst>
                    <a:gs pos="91000">
                      <a:schemeClr val="tx1"/>
                    </a:gs>
                    <a:gs pos="0">
                      <a:schemeClr val="tx1"/>
                    </a:gs>
                  </a:gsLst>
                  <a:lin ang="5400000" scaled="0"/>
                </a:gradFill>
                <a:latin typeface="Segoe UI Semibold" panose="020B0502040204020203" pitchFamily="34" charset="0"/>
                <a:cs typeface="Segoe UI Semibold" panose="020B05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9593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534864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43906900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19230847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b="1" i="0" kern="1200" cap="none" spc="0" baseline="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2843525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Gray stage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6988435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57918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71572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640193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74609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7339" y="1227277"/>
            <a:ext cx="11653523" cy="1489639"/>
          </a:xfrm>
        </p:spPr>
        <p:txBody>
          <a:bodyPr>
            <a:spAutoFit/>
          </a:bodyPr>
          <a:lstStyle>
            <a:lvl1pPr marL="0" indent="0">
              <a:buNone/>
              <a:defRPr sz="1600" b="0" i="0">
                <a:latin typeface="Segoe UI" panose="020B0502040204020203" pitchFamily="34" charset="0"/>
                <a:cs typeface="Segoe UI" panose="020B0502040204020203" pitchFamily="34" charset="0"/>
              </a:defRPr>
            </a:lvl1pPr>
            <a:lvl2pPr marL="336145" indent="0">
              <a:buNone/>
              <a:defRPr sz="1600" b="0" i="0">
                <a:latin typeface="Segoe UI" panose="020B0502040204020203" pitchFamily="34" charset="0"/>
                <a:cs typeface="Segoe UI" panose="020B0502040204020203" pitchFamily="34" charset="0"/>
              </a:defRPr>
            </a:lvl2pPr>
            <a:lvl3pPr marL="560241" indent="0">
              <a:buNone/>
              <a:defRPr sz="1600" b="0" i="0">
                <a:latin typeface="Segoe UI" panose="020B0502040204020203" pitchFamily="34" charset="0"/>
                <a:cs typeface="Segoe UI" panose="020B0502040204020203" pitchFamily="34" charset="0"/>
              </a:defRPr>
            </a:lvl3pPr>
            <a:lvl4pPr marL="784338" indent="0">
              <a:buNone/>
              <a:defRPr sz="1600" b="0" i="0">
                <a:latin typeface="Segoe UI" panose="020B0502040204020203" pitchFamily="34" charset="0"/>
                <a:cs typeface="Segoe UI" panose="020B0502040204020203" pitchFamily="34" charset="0"/>
              </a:defRPr>
            </a:lvl4pPr>
            <a:lvl5pPr marL="1008434" indent="0">
              <a:buNone/>
              <a:defRPr sz="16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307340" y="314911"/>
            <a:ext cx="11655840" cy="899665"/>
          </a:xfrm>
        </p:spPr>
        <p:txBody>
          <a:bodyPr/>
          <a:lstStyle>
            <a:lvl1pPr>
              <a:defRPr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707947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20737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8521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80295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821991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36478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3" name="Rectangle 2">
            <a:extLst>
              <a:ext uri="{FF2B5EF4-FFF2-40B4-BE49-F238E27FC236}">
                <a16:creationId xmlns:a16="http://schemas.microsoft.com/office/drawing/2014/main" id="{2C5D9EF9-1AD0-B542-B100-C73EDD76F9F1}"/>
              </a:ext>
            </a:extLst>
          </p:cNvPr>
          <p:cNvSpPr/>
          <p:nvPr userDrawn="1"/>
        </p:nvSpPr>
        <p:spPr bwMode="auto">
          <a:xfrm>
            <a:off x="0" y="0"/>
            <a:ext cx="12192000" cy="6858000"/>
          </a:xfrm>
          <a:prstGeom prst="rect">
            <a:avLst/>
          </a:prstGeom>
          <a:solidFill>
            <a:schemeClr val="bg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86158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181114983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88736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76378452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81049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976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308502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3270677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9626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1676916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34963"/>
            <a:ext cx="11655840" cy="549986"/>
          </a:xfrm>
        </p:spPr>
        <p:txBody>
          <a:bodyPr/>
          <a:lstStyle>
            <a:lvl1pPr>
              <a:defRPr lang="en-US" sz="3600" b="1" i="0" kern="1200" cap="none" spc="0" baseline="0" dirty="0">
                <a:ln w="3175">
                  <a:noFill/>
                </a:ln>
                <a:solidFill>
                  <a:srgbClr val="000000"/>
                </a:soli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4" name="Text Placeholder 7">
            <a:extLst>
              <a:ext uri="{FF2B5EF4-FFF2-40B4-BE49-F238E27FC236}">
                <a16:creationId xmlns:a16="http://schemas.microsoft.com/office/drawing/2014/main" id="{E589A096-317B-45E8-B534-36C6CCCB39FD}"/>
              </a:ext>
            </a:extLst>
          </p:cNvPr>
          <p:cNvSpPr txBox="1">
            <a:spLocks/>
          </p:cNvSpPr>
          <p:nvPr userDrawn="1"/>
        </p:nvSpPr>
        <p:spPr>
          <a:xfrm rot="16200000">
            <a:off x="-539818" y="1340614"/>
            <a:ext cx="1536701" cy="406265"/>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200" b="0" kern="1200" cap="all" spc="0" baseline="0" dirty="0" smtClean="0">
                <a:solidFill>
                  <a:srgbClr val="0278D7"/>
                </a:solidFill>
                <a:latin typeface="Segoe UI Semibold" panose="020B0502040204020203" pitchFamily="34" charset="0"/>
                <a:ea typeface="+mn-ea"/>
                <a:cs typeface="Segoe UI Semibold"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cap="none">
                <a:solidFill>
                  <a:srgbClr val="0078D7"/>
                </a:solidFill>
              </a:rPr>
              <a:t>Use cas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1545777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0077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94048497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570841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325648634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129843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52750775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03967194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324161"/>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826826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098567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962720"/>
            <a:ext cx="11653523" cy="932563"/>
          </a:xfrm>
          <a:noFill/>
        </p:spPr>
        <p:txBody>
          <a:bodyPr tIns="91440" bIns="91440" anchor="ctr" anchorCtr="0">
            <a:spAutoFit/>
          </a:bodyPr>
          <a:lstStyle>
            <a:lvl1pPr>
              <a:defRPr sz="5399"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114425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728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1" y="2656114"/>
            <a:ext cx="4206970" cy="1682300"/>
          </a:xfrm>
          <a:prstGeom prst="rect">
            <a:avLst/>
          </a:prstGeom>
        </p:spPr>
      </p:pic>
      <p:sp>
        <p:nvSpPr>
          <p:cNvPr id="4" name="TextBox 3"/>
          <p:cNvSpPr txBox="1">
            <a:spLocks noChangeArrowheads="1"/>
          </p:cNvSpPr>
          <p:nvPr userDrawn="1"/>
        </p:nvSpPr>
        <p:spPr bwMode="auto">
          <a:xfrm>
            <a:off x="266127" y="5819470"/>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08" tIns="143369" rIns="179208" bIns="14336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2979" fontAlgn="base">
              <a:lnSpc>
                <a:spcPts val="1173"/>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2979" fontAlgn="base">
              <a:lnSpc>
                <a:spcPts val="1173"/>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2979" fontAlgn="base">
              <a:lnSpc>
                <a:spcPts val="1173"/>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2979" fontAlgn="base">
              <a:lnSpc>
                <a:spcPts val="1173"/>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846012070"/>
      </p:ext>
    </p:extLst>
  </p:cSld>
  <p:clrMapOvr>
    <a:overrideClrMapping bg1="dk1" tx1="lt1" bg2="dk2" tx2="lt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Black Graphix">
  <p:cSld name="Black Graphix">
    <p:bg>
      <p:bgPr>
        <a:solidFill>
          <a:schemeClr val="dk1"/>
        </a:solidFill>
        <a:effectLst/>
      </p:bgPr>
    </p:bg>
    <p:spTree>
      <p:nvGrpSpPr>
        <p:cNvPr id="1" name="Shape 822"/>
        <p:cNvGrpSpPr/>
        <p:nvPr/>
      </p:nvGrpSpPr>
      <p:grpSpPr>
        <a:xfrm>
          <a:off x="0" y="0"/>
          <a:ext cx="0" cy="0"/>
          <a:chOff x="0" y="0"/>
          <a:chExt cx="0" cy="0"/>
        </a:xfrm>
      </p:grpSpPr>
      <p:sp>
        <p:nvSpPr>
          <p:cNvPr id="823" name="Shape 823"/>
          <p:cNvSpPr txBox="1">
            <a:spLocks noGrp="1"/>
          </p:cNvSpPr>
          <p:nvPr>
            <p:ph type="title"/>
          </p:nvPr>
        </p:nvSpPr>
        <p:spPr>
          <a:xfrm>
            <a:off x="361536" y="219772"/>
            <a:ext cx="11487600" cy="550000"/>
          </a:xfrm>
          <a:prstGeom prst="rect">
            <a:avLst/>
          </a:prstGeom>
          <a:noFill/>
          <a:ln>
            <a:noFill/>
          </a:ln>
        </p:spPr>
        <p:txBody>
          <a:bodyPr spcFirstLastPara="1" wrap="square" lIns="68575" tIns="68575" rIns="68575" bIns="68575" anchor="t" anchorCtr="0"/>
          <a:lstStyle>
            <a:lvl1pPr marR="0" lvl="0" algn="ctr" rtl="0">
              <a:lnSpc>
                <a:spcPct val="90000"/>
              </a:lnSpc>
              <a:spcBef>
                <a:spcPts val="800"/>
              </a:spcBef>
              <a:spcAft>
                <a:spcPts val="0"/>
              </a:spcAft>
              <a:buSzPts val="1100"/>
              <a:buNone/>
              <a:defRPr sz="4000" b="1" i="0" u="none" strike="noStrike" cap="none">
                <a:solidFill>
                  <a:schemeClr val="lt1"/>
                </a:solidFill>
                <a:latin typeface="Source Sans Pro SemiBold"/>
                <a:ea typeface="Source Sans Pro SemiBold"/>
                <a:cs typeface="Source Sans Pro SemiBold"/>
                <a:sym typeface="Source Sans Pro SemiBold"/>
              </a:defRPr>
            </a:lvl1pPr>
            <a:lvl2pPr marR="0" lvl="1" algn="l" rtl="0">
              <a:spcBef>
                <a:spcPts val="0"/>
              </a:spcBef>
              <a:spcAft>
                <a:spcPts val="0"/>
              </a:spcAft>
              <a:buSzPts val="1100"/>
              <a:buNone/>
              <a:defRPr sz="5332" b="0" i="0" u="none" strike="noStrike" cap="none">
                <a:solidFill>
                  <a:schemeClr val="dk1"/>
                </a:solidFill>
                <a:latin typeface="Arial"/>
                <a:ea typeface="Arial"/>
                <a:cs typeface="Arial"/>
                <a:sym typeface="Arial"/>
              </a:defRPr>
            </a:lvl2pPr>
            <a:lvl3pPr marR="0" lvl="2" algn="l" rtl="0">
              <a:spcBef>
                <a:spcPts val="0"/>
              </a:spcBef>
              <a:spcAft>
                <a:spcPts val="0"/>
              </a:spcAft>
              <a:buSzPts val="1100"/>
              <a:buNone/>
              <a:defRPr sz="5332" b="0" i="0" u="none" strike="noStrike" cap="none">
                <a:solidFill>
                  <a:schemeClr val="dk1"/>
                </a:solidFill>
                <a:latin typeface="Arial"/>
                <a:ea typeface="Arial"/>
                <a:cs typeface="Arial"/>
                <a:sym typeface="Arial"/>
              </a:defRPr>
            </a:lvl3pPr>
            <a:lvl4pPr marR="0" lvl="3" algn="l" rtl="0">
              <a:spcBef>
                <a:spcPts val="0"/>
              </a:spcBef>
              <a:spcAft>
                <a:spcPts val="0"/>
              </a:spcAft>
              <a:buSzPts val="1100"/>
              <a:buNone/>
              <a:defRPr sz="5332" b="0" i="0" u="none" strike="noStrike" cap="none">
                <a:solidFill>
                  <a:schemeClr val="dk1"/>
                </a:solidFill>
                <a:latin typeface="Arial"/>
                <a:ea typeface="Arial"/>
                <a:cs typeface="Arial"/>
                <a:sym typeface="Arial"/>
              </a:defRPr>
            </a:lvl4pPr>
            <a:lvl5pPr marR="0" lvl="4" algn="l" rtl="0">
              <a:spcBef>
                <a:spcPts val="0"/>
              </a:spcBef>
              <a:spcAft>
                <a:spcPts val="0"/>
              </a:spcAft>
              <a:buSzPts val="1100"/>
              <a:buNone/>
              <a:defRPr sz="5332" b="0" i="0" u="none" strike="noStrike" cap="none">
                <a:solidFill>
                  <a:schemeClr val="dk1"/>
                </a:solidFill>
                <a:latin typeface="Arial"/>
                <a:ea typeface="Arial"/>
                <a:cs typeface="Arial"/>
                <a:sym typeface="Arial"/>
              </a:defRPr>
            </a:lvl5pPr>
            <a:lvl6pPr marR="0" lvl="5" algn="l" rtl="0">
              <a:spcBef>
                <a:spcPts val="0"/>
              </a:spcBef>
              <a:spcAft>
                <a:spcPts val="0"/>
              </a:spcAft>
              <a:buSzPts val="1100"/>
              <a:buNone/>
              <a:defRPr sz="5332" b="0" i="0" u="none" strike="noStrike" cap="none">
                <a:solidFill>
                  <a:schemeClr val="dk1"/>
                </a:solidFill>
                <a:latin typeface="Arial"/>
                <a:ea typeface="Arial"/>
                <a:cs typeface="Arial"/>
                <a:sym typeface="Arial"/>
              </a:defRPr>
            </a:lvl6pPr>
            <a:lvl7pPr marR="0" lvl="6" algn="l" rtl="0">
              <a:spcBef>
                <a:spcPts val="0"/>
              </a:spcBef>
              <a:spcAft>
                <a:spcPts val="0"/>
              </a:spcAft>
              <a:buSzPts val="1100"/>
              <a:buNone/>
              <a:defRPr sz="5332" b="0" i="0" u="none" strike="noStrike" cap="none">
                <a:solidFill>
                  <a:schemeClr val="dk1"/>
                </a:solidFill>
                <a:latin typeface="Arial"/>
                <a:ea typeface="Arial"/>
                <a:cs typeface="Arial"/>
                <a:sym typeface="Arial"/>
              </a:defRPr>
            </a:lvl7pPr>
            <a:lvl8pPr marR="0" lvl="7" algn="l" rtl="0">
              <a:spcBef>
                <a:spcPts val="0"/>
              </a:spcBef>
              <a:spcAft>
                <a:spcPts val="0"/>
              </a:spcAft>
              <a:buSzPts val="1100"/>
              <a:buNone/>
              <a:defRPr sz="5332" b="0" i="0" u="none" strike="noStrike" cap="none">
                <a:solidFill>
                  <a:schemeClr val="dk1"/>
                </a:solidFill>
                <a:latin typeface="Arial"/>
                <a:ea typeface="Arial"/>
                <a:cs typeface="Arial"/>
                <a:sym typeface="Arial"/>
              </a:defRPr>
            </a:lvl8pPr>
            <a:lvl9pPr marR="0" lvl="8" algn="l" rtl="0">
              <a:spcBef>
                <a:spcPts val="0"/>
              </a:spcBef>
              <a:spcAft>
                <a:spcPts val="0"/>
              </a:spcAft>
              <a:buSzPts val="1100"/>
              <a:buNone/>
              <a:defRPr sz="5332" b="0" i="0" u="none" strike="noStrike" cap="none">
                <a:solidFill>
                  <a:schemeClr val="dk1"/>
                </a:solidFill>
                <a:latin typeface="Arial"/>
                <a:ea typeface="Arial"/>
                <a:cs typeface="Arial"/>
                <a:sym typeface="Arial"/>
              </a:defRPr>
            </a:lvl9pPr>
          </a:lstStyle>
          <a:p>
            <a:endParaRPr/>
          </a:p>
        </p:txBody>
      </p:sp>
      <p:sp>
        <p:nvSpPr>
          <p:cNvPr id="824" name="Shape 824"/>
          <p:cNvSpPr txBox="1">
            <a:spLocks noGrp="1"/>
          </p:cNvSpPr>
          <p:nvPr>
            <p:ph type="sldNum" idx="12"/>
          </p:nvPr>
        </p:nvSpPr>
        <p:spPr>
          <a:xfrm>
            <a:off x="11754355" y="6446443"/>
            <a:ext cx="342800" cy="297200"/>
          </a:xfrm>
          <a:prstGeom prst="rect">
            <a:avLst/>
          </a:prstGeom>
          <a:noFill/>
          <a:ln>
            <a:noFill/>
          </a:ln>
        </p:spPr>
        <p:txBody>
          <a:bodyPr spcFirstLastPara="1" wrap="square" lIns="68575" tIns="34275" rIns="68575" bIns="34275" anchor="b" anchorCtr="0">
            <a:noAutofit/>
          </a:bodyPr>
          <a:lstStyle>
            <a:lvl1pPr marL="0" marR="0" lvl="0" indent="0" algn="r" rtl="0">
              <a:spcBef>
                <a:spcPts val="0"/>
              </a:spcBef>
              <a:buNone/>
              <a:defRPr sz="1067" b="0" i="0" u="none" strike="noStrike" cap="none">
                <a:solidFill>
                  <a:schemeClr val="lt1"/>
                </a:solidFill>
                <a:latin typeface="Calibri"/>
                <a:ea typeface="Calibri"/>
                <a:cs typeface="Calibri"/>
                <a:sym typeface="Calibri"/>
              </a:defRPr>
            </a:lvl1pPr>
            <a:lvl2pPr marL="0" marR="0" lvl="1" indent="0" algn="r" rtl="0">
              <a:spcBef>
                <a:spcPts val="0"/>
              </a:spcBef>
              <a:buNone/>
              <a:defRPr sz="1067" b="0" i="0" u="none" strike="noStrike" cap="none">
                <a:solidFill>
                  <a:schemeClr val="lt1"/>
                </a:solidFill>
                <a:latin typeface="Calibri"/>
                <a:ea typeface="Calibri"/>
                <a:cs typeface="Calibri"/>
                <a:sym typeface="Calibri"/>
              </a:defRPr>
            </a:lvl2pPr>
            <a:lvl3pPr marL="0" marR="0" lvl="2" indent="0" algn="r" rtl="0">
              <a:spcBef>
                <a:spcPts val="0"/>
              </a:spcBef>
              <a:buNone/>
              <a:defRPr sz="1067" b="0" i="0" u="none" strike="noStrike" cap="none">
                <a:solidFill>
                  <a:schemeClr val="lt1"/>
                </a:solidFill>
                <a:latin typeface="Calibri"/>
                <a:ea typeface="Calibri"/>
                <a:cs typeface="Calibri"/>
                <a:sym typeface="Calibri"/>
              </a:defRPr>
            </a:lvl3pPr>
            <a:lvl4pPr marL="0" marR="0" lvl="3" indent="0" algn="r" rtl="0">
              <a:spcBef>
                <a:spcPts val="0"/>
              </a:spcBef>
              <a:buNone/>
              <a:defRPr sz="1067" b="0" i="0" u="none" strike="noStrike" cap="none">
                <a:solidFill>
                  <a:schemeClr val="lt1"/>
                </a:solidFill>
                <a:latin typeface="Calibri"/>
                <a:ea typeface="Calibri"/>
                <a:cs typeface="Calibri"/>
                <a:sym typeface="Calibri"/>
              </a:defRPr>
            </a:lvl4pPr>
            <a:lvl5pPr marL="0" marR="0" lvl="4" indent="0" algn="r" rtl="0">
              <a:spcBef>
                <a:spcPts val="0"/>
              </a:spcBef>
              <a:buNone/>
              <a:defRPr sz="1067" b="0" i="0" u="none" strike="noStrike" cap="none">
                <a:solidFill>
                  <a:schemeClr val="lt1"/>
                </a:solidFill>
                <a:latin typeface="Calibri"/>
                <a:ea typeface="Calibri"/>
                <a:cs typeface="Calibri"/>
                <a:sym typeface="Calibri"/>
              </a:defRPr>
            </a:lvl5pPr>
            <a:lvl6pPr marL="0" marR="0" lvl="5" indent="0" algn="r" rtl="0">
              <a:spcBef>
                <a:spcPts val="0"/>
              </a:spcBef>
              <a:buNone/>
              <a:defRPr sz="1067" b="0" i="0" u="none" strike="noStrike" cap="none">
                <a:solidFill>
                  <a:schemeClr val="lt1"/>
                </a:solidFill>
                <a:latin typeface="Calibri"/>
                <a:ea typeface="Calibri"/>
                <a:cs typeface="Calibri"/>
                <a:sym typeface="Calibri"/>
              </a:defRPr>
            </a:lvl6pPr>
            <a:lvl7pPr marL="0" marR="0" lvl="6" indent="0" algn="r" rtl="0">
              <a:spcBef>
                <a:spcPts val="0"/>
              </a:spcBef>
              <a:buNone/>
              <a:defRPr sz="1067" b="0" i="0" u="none" strike="noStrike" cap="none">
                <a:solidFill>
                  <a:schemeClr val="lt1"/>
                </a:solidFill>
                <a:latin typeface="Calibri"/>
                <a:ea typeface="Calibri"/>
                <a:cs typeface="Calibri"/>
                <a:sym typeface="Calibri"/>
              </a:defRPr>
            </a:lvl7pPr>
            <a:lvl8pPr marL="0" marR="0" lvl="7" indent="0" algn="r" rtl="0">
              <a:spcBef>
                <a:spcPts val="0"/>
              </a:spcBef>
              <a:buNone/>
              <a:defRPr sz="1067" b="0" i="0" u="none" strike="noStrike" cap="none">
                <a:solidFill>
                  <a:schemeClr val="lt1"/>
                </a:solidFill>
                <a:latin typeface="Calibri"/>
                <a:ea typeface="Calibri"/>
                <a:cs typeface="Calibri"/>
                <a:sym typeface="Calibri"/>
              </a:defRPr>
            </a:lvl8pPr>
            <a:lvl9pPr marL="0" marR="0" lvl="8" indent="0" algn="r" rtl="0">
              <a:spcBef>
                <a:spcPts val="0"/>
              </a:spcBef>
              <a:buNone/>
              <a:defRPr sz="1067" b="0" i="0" u="none" strike="noStrike" cap="none">
                <a:solidFill>
                  <a:schemeClr val="lt1"/>
                </a:solidFill>
                <a:latin typeface="Calibri"/>
                <a:ea typeface="Calibri"/>
                <a:cs typeface="Calibri"/>
                <a:sym typeface="Calibri"/>
              </a:defRPr>
            </a:lvl9pPr>
          </a:lstStyle>
          <a:p>
            <a:fld id="{00000000-1234-1234-1234-123412341234}" type="slidenum">
              <a:rPr lang="en" smtClean="0"/>
              <a:pPr/>
              <a:t>‹#›</a:t>
            </a:fld>
            <a:endParaRPr lang="en"/>
          </a:p>
        </p:txBody>
      </p:sp>
      <p:pic>
        <p:nvPicPr>
          <p:cNvPr id="5" name="Shape 799"/>
          <p:cNvPicPr preferRelativeResize="0"/>
          <p:nvPr userDrawn="1"/>
        </p:nvPicPr>
        <p:blipFill rotWithShape="1">
          <a:blip r:embed="rId2">
            <a:alphaModFix/>
          </a:blip>
          <a:srcRect/>
          <a:stretch/>
        </p:blipFill>
        <p:spPr>
          <a:xfrm>
            <a:off x="301752" y="6473952"/>
            <a:ext cx="1965960" cy="192024"/>
          </a:xfrm>
          <a:prstGeom prst="rect">
            <a:avLst/>
          </a:prstGeom>
          <a:noFill/>
          <a:ln>
            <a:noFill/>
          </a:ln>
        </p:spPr>
      </p:pic>
    </p:spTree>
    <p:extLst>
      <p:ext uri="{BB962C8B-B14F-4D97-AF65-F5344CB8AC3E}">
        <p14:creationId xmlns:p14="http://schemas.microsoft.com/office/powerpoint/2010/main" val="20852618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43" name="Straight Connector 42"/>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9"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2"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3"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4"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5" name="TextBox 34"/>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36" name="TextBox 35"/>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7" name="TextBox 36"/>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8" name="TextBox 37"/>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40" name="TextBox 39"/>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224029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944774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46" name="TextBox 45"/>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48" name="TextBox 47"/>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49" name="TextBox 48"/>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50"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1" name="TextBox 50"/>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112831467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61" name="TextBox 60"/>
          <p:cNvSpPr txBox="1"/>
          <p:nvPr userDrawn="1"/>
        </p:nvSpPr>
        <p:spPr>
          <a:xfrm>
            <a:off x="5010115"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6536304"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8042617"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Tree>
    <p:extLst>
      <p:ext uri="{BB962C8B-B14F-4D97-AF65-F5344CB8AC3E}">
        <p14:creationId xmlns:p14="http://schemas.microsoft.com/office/powerpoint/2010/main" val="227868696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182880" rIns="146304" bIns="91440" anchor="t" anchorCtr="0"/>
          <a:lstStyle>
            <a:lvl1pPr>
              <a:defRPr sz="5294" spc="-98"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87261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07874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160600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52416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43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36110372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86653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20545298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324161"/>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9966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92086754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66673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517576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1682457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92354326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42936058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39433972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27718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7733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81198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147469438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475023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0585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3969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97892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81745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514050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431542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52937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91994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31146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6780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962720"/>
            <a:ext cx="11653523" cy="932563"/>
          </a:xfrm>
          <a:noFill/>
        </p:spPr>
        <p:txBody>
          <a:bodyPr tIns="91440" bIns="91440" anchor="ctr" anchorCtr="0">
            <a:spAutoFit/>
          </a:bodyPr>
          <a:lstStyle>
            <a:lvl1pPr>
              <a:defRPr sz="5399"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4246544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59383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82975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34341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748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2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02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3668775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969831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19975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499642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038363"/>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834606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3247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23298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125280943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213131901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295775629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99639-782F-48D1-971C-5B3070C6A1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3B3381D-3DA5-44D5-B810-D83C620F7877}"/>
              </a:ext>
            </a:extLst>
          </p:cNvPr>
          <p:cNvSpPr>
            <a:spLocks noGrp="1"/>
          </p:cNvSpPr>
          <p:nvPr>
            <p:ph type="dt" sz="half" idx="10"/>
          </p:nvPr>
        </p:nvSpPr>
        <p:spPr/>
        <p:txBody>
          <a:bodyPr/>
          <a:lstStyle/>
          <a:p>
            <a:fld id="{0B8A6A36-0EA6-4300-87A2-FBF53E97AE38}" type="datetimeFigureOut">
              <a:rPr lang="en-US" smtClean="0"/>
              <a:t>12/2/19</a:t>
            </a:fld>
            <a:endParaRPr lang="en-US"/>
          </a:p>
        </p:txBody>
      </p:sp>
      <p:sp>
        <p:nvSpPr>
          <p:cNvPr id="4" name="Footer Placeholder 3">
            <a:extLst>
              <a:ext uri="{FF2B5EF4-FFF2-40B4-BE49-F238E27FC236}">
                <a16:creationId xmlns:a16="http://schemas.microsoft.com/office/drawing/2014/main" id="{31E404AE-04F0-4F5B-BEC5-706DE14EBC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10933B6-5EEE-468D-A3E1-88F23A6087C5}"/>
              </a:ext>
            </a:extLst>
          </p:cNvPr>
          <p:cNvSpPr>
            <a:spLocks noGrp="1"/>
          </p:cNvSpPr>
          <p:nvPr>
            <p:ph type="sldNum" sz="quarter" idx="12"/>
          </p:nvPr>
        </p:nvSpPr>
        <p:spPr/>
        <p:txBody>
          <a:bodyPr/>
          <a:lstStyle/>
          <a:p>
            <a:fld id="{0C13B029-895C-4E84-AB4B-DB47A666BF57}" type="slidenum">
              <a:rPr lang="en-US" smtClean="0"/>
              <a:t>‹#›</a:t>
            </a:fld>
            <a:endParaRPr lang="en-US"/>
          </a:p>
        </p:txBody>
      </p:sp>
    </p:spTree>
    <p:extLst>
      <p:ext uri="{BB962C8B-B14F-4D97-AF65-F5344CB8AC3E}">
        <p14:creationId xmlns:p14="http://schemas.microsoft.com/office/powerpoint/2010/main" val="18127018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00360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27180755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8378965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1" y="2656114"/>
            <a:ext cx="4206970" cy="1682300"/>
          </a:xfrm>
          <a:prstGeom prst="rect">
            <a:avLst/>
          </a:prstGeom>
        </p:spPr>
      </p:pic>
      <p:sp>
        <p:nvSpPr>
          <p:cNvPr id="4" name="TextBox 3"/>
          <p:cNvSpPr txBox="1">
            <a:spLocks noChangeArrowheads="1"/>
          </p:cNvSpPr>
          <p:nvPr userDrawn="1"/>
        </p:nvSpPr>
        <p:spPr bwMode="auto">
          <a:xfrm>
            <a:off x="266127" y="5819470"/>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08" tIns="143369" rIns="179208" bIns="14336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2979" fontAlgn="base">
              <a:lnSpc>
                <a:spcPts val="1173"/>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2979" fontAlgn="base">
              <a:lnSpc>
                <a:spcPts val="1173"/>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2979" fontAlgn="base">
              <a:lnSpc>
                <a:spcPts val="1173"/>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2979" fontAlgn="base">
              <a:lnSpc>
                <a:spcPts val="1173"/>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23080842"/>
      </p:ext>
    </p:extLst>
  </p:cSld>
  <p:clrMapOvr>
    <a:overrideClrMapping bg1="dk1" tx1="lt1" bg2="dk2" tx2="lt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271738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2610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3080657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86313686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45988343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45715547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628234"/>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581295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2752026"/>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51454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182880" rIns="146304" bIns="91440" anchor="t" anchorCtr="0"/>
          <a:lstStyle>
            <a:lvl1pPr>
              <a:defRPr sz="5294" spc="-98"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886918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282906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86860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243869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77033"/>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66651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50164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16626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60997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9215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8743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4041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10408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314187"/>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245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4481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1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4460458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3720601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66537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25876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985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7136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61414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41610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320796885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303263237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25760671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D0D0D"/>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351EBF-34DD-4F86-838B-C8715AFD26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
        <p:nvSpPr>
          <p:cNvPr id="3" name="Rectangle 2">
            <a:extLst>
              <a:ext uri="{FF2B5EF4-FFF2-40B4-BE49-F238E27FC236}">
                <a16:creationId xmlns:a16="http://schemas.microsoft.com/office/drawing/2014/main" id="{FA859361-BF1E-4E05-BC63-37865CAD7089}"/>
              </a:ext>
            </a:extLst>
          </p:cNvPr>
          <p:cNvSpPr/>
          <p:nvPr userDrawn="1"/>
        </p:nvSpPr>
        <p:spPr bwMode="auto">
          <a:xfrm>
            <a:off x="0" y="0"/>
            <a:ext cx="5029200" cy="6856055"/>
          </a:xfrm>
          <a:prstGeom prst="rect">
            <a:avLst/>
          </a:prstGeom>
          <a:solidFill>
            <a:schemeClr val="accent1">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776970"/>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5313829"/>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67538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7672D7-EEA8-409E-A236-2B6BEB717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Tree>
    <p:extLst>
      <p:ext uri="{BB962C8B-B14F-4D97-AF65-F5344CB8AC3E}">
        <p14:creationId xmlns:p14="http://schemas.microsoft.com/office/powerpoint/2010/main" val="15964817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Small title - half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B093EF-859B-4C12-ABD7-FBA709296E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504" y="283"/>
            <a:ext cx="12190992" cy="6857433"/>
          </a:xfrm>
          <a:prstGeom prst="rect">
            <a:avLst/>
          </a:prstGeom>
        </p:spPr>
      </p:pic>
    </p:spTree>
    <p:extLst>
      <p:ext uri="{BB962C8B-B14F-4D97-AF65-F5344CB8AC3E}">
        <p14:creationId xmlns:p14="http://schemas.microsoft.com/office/powerpoint/2010/main" val="24462681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5_Small title - half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B093EF-859B-4C12-ABD7-FBA709296E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Tree>
    <p:extLst>
      <p:ext uri="{BB962C8B-B14F-4D97-AF65-F5344CB8AC3E}">
        <p14:creationId xmlns:p14="http://schemas.microsoft.com/office/powerpoint/2010/main" val="1990663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Small title - half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B093EF-859B-4C12-ABD7-FBA709296E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504" y="283"/>
            <a:ext cx="12190992" cy="6857433"/>
          </a:xfrm>
          <a:prstGeom prst="rect">
            <a:avLst/>
          </a:prstGeom>
        </p:spPr>
      </p:pic>
      <p:sp>
        <p:nvSpPr>
          <p:cNvPr id="4" name="Title 1">
            <a:extLst>
              <a:ext uri="{FF2B5EF4-FFF2-40B4-BE49-F238E27FC236}">
                <a16:creationId xmlns:a16="http://schemas.microsoft.com/office/drawing/2014/main" id="{ED706D50-7FC7-4DD3-B89E-A957793C5131}"/>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23">
            <a:extLst>
              <a:ext uri="{FF2B5EF4-FFF2-40B4-BE49-F238E27FC236}">
                <a16:creationId xmlns:a16="http://schemas.microsoft.com/office/drawing/2014/main" id="{CBD7787B-E5D0-4E4B-BE97-2C694F38C7E5}"/>
              </a:ext>
            </a:extLst>
          </p:cNvPr>
          <p:cNvSpPr>
            <a:spLocks noGrp="1"/>
          </p:cNvSpPr>
          <p:nvPr>
            <p:ph type="body" sz="quarter" idx="10"/>
          </p:nvPr>
        </p:nvSpPr>
        <p:spPr>
          <a:xfrm>
            <a:off x="588963" y="1011198"/>
            <a:ext cx="11017820" cy="276999"/>
          </a:xfrm>
        </p:spPr>
        <p:txBody>
          <a:bodyPr/>
          <a:lstStyle>
            <a:lvl1pPr marL="0" indent="0">
              <a:buNone/>
              <a:defRPr sz="1800">
                <a:solidFill>
                  <a:schemeClr val="bg1"/>
                </a:solidFill>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Edit Master text styles</a:t>
            </a:r>
          </a:p>
        </p:txBody>
      </p:sp>
    </p:spTree>
    <p:extLst>
      <p:ext uri="{BB962C8B-B14F-4D97-AF65-F5344CB8AC3E}">
        <p14:creationId xmlns:p14="http://schemas.microsoft.com/office/powerpoint/2010/main" val="3198062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92137568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4_Small title - half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B093EF-859B-4C12-ABD7-FBA709296EE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665" b="34628"/>
          <a:stretch/>
        </p:blipFill>
        <p:spPr>
          <a:xfrm flipH="1">
            <a:off x="504" y="0"/>
            <a:ext cx="12190992" cy="2654300"/>
          </a:xfrm>
          <a:prstGeom prst="rect">
            <a:avLst/>
          </a:prstGeom>
        </p:spPr>
      </p:pic>
      <p:sp>
        <p:nvSpPr>
          <p:cNvPr id="4" name="Title 1">
            <a:extLst>
              <a:ext uri="{FF2B5EF4-FFF2-40B4-BE49-F238E27FC236}">
                <a16:creationId xmlns:a16="http://schemas.microsoft.com/office/drawing/2014/main" id="{ED706D50-7FC7-4DD3-B89E-A957793C5131}"/>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5" name="Text Placeholder 23">
            <a:extLst>
              <a:ext uri="{FF2B5EF4-FFF2-40B4-BE49-F238E27FC236}">
                <a16:creationId xmlns:a16="http://schemas.microsoft.com/office/drawing/2014/main" id="{CBD7787B-E5D0-4E4B-BE97-2C694F38C7E5}"/>
              </a:ext>
            </a:extLst>
          </p:cNvPr>
          <p:cNvSpPr>
            <a:spLocks noGrp="1"/>
          </p:cNvSpPr>
          <p:nvPr>
            <p:ph type="body" sz="quarter" idx="10"/>
          </p:nvPr>
        </p:nvSpPr>
        <p:spPr>
          <a:xfrm>
            <a:off x="588963" y="1011198"/>
            <a:ext cx="11017820" cy="276999"/>
          </a:xfrm>
        </p:spPr>
        <p:txBody>
          <a:bodyPr/>
          <a:lstStyle>
            <a:lvl1pPr marL="0" indent="0">
              <a:buNone/>
              <a:defRPr sz="1800">
                <a:solidFill>
                  <a:schemeClr val="bg1"/>
                </a:solidFill>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Edit Master text styles</a:t>
            </a:r>
          </a:p>
        </p:txBody>
      </p:sp>
    </p:spTree>
    <p:extLst>
      <p:ext uri="{BB962C8B-B14F-4D97-AF65-F5344CB8AC3E}">
        <p14:creationId xmlns:p14="http://schemas.microsoft.com/office/powerpoint/2010/main" val="13525965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86985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92004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76633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537300AE-C7A6-480B-BE35-C81AD47D8750}"/>
              </a:ext>
            </a:extLst>
          </p:cNvPr>
          <p:cNvSpPr>
            <a:spLocks noGrp="1"/>
          </p:cNvSpPr>
          <p:nvPr>
            <p:ph type="body" sz="quarter" idx="10"/>
          </p:nvPr>
        </p:nvSpPr>
        <p:spPr>
          <a:xfrm>
            <a:off x="588963" y="1011198"/>
            <a:ext cx="11017820" cy="276999"/>
          </a:xfrm>
        </p:spPr>
        <p:txBody>
          <a:bodyPr/>
          <a:lstStyle>
            <a:lvl1pPr marL="0" indent="0">
              <a:buNone/>
              <a:defRPr sz="1800">
                <a:solidFill>
                  <a:schemeClr val="accent1"/>
                </a:solidFill>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Edit Master text styles</a:t>
            </a:r>
          </a:p>
        </p:txBody>
      </p:sp>
    </p:spTree>
    <p:extLst>
      <p:ext uri="{BB962C8B-B14F-4D97-AF65-F5344CB8AC3E}">
        <p14:creationId xmlns:p14="http://schemas.microsoft.com/office/powerpoint/2010/main" val="20509841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F41BFE91-32E2-4CD7-AE9C-C3D70F82B259}"/>
              </a:ext>
            </a:extLst>
          </p:cNvPr>
          <p:cNvSpPr/>
          <p:nvPr userDrawn="1"/>
        </p:nvSpPr>
        <p:spPr bwMode="auto">
          <a:xfrm>
            <a:off x="0" y="1403498"/>
            <a:ext cx="3530009" cy="5454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537300AE-C7A6-480B-BE35-C81AD47D8750}"/>
              </a:ext>
            </a:extLst>
          </p:cNvPr>
          <p:cNvSpPr>
            <a:spLocks noGrp="1"/>
          </p:cNvSpPr>
          <p:nvPr>
            <p:ph type="body" sz="quarter" idx="10"/>
          </p:nvPr>
        </p:nvSpPr>
        <p:spPr>
          <a:xfrm>
            <a:off x="588963" y="1011198"/>
            <a:ext cx="11017820" cy="276999"/>
          </a:xfrm>
        </p:spPr>
        <p:txBody>
          <a:bodyPr/>
          <a:lstStyle>
            <a:lvl1pPr marL="0" indent="0">
              <a:buNone/>
              <a:defRPr sz="1800">
                <a:solidFill>
                  <a:schemeClr val="accent1"/>
                </a:solidFill>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Edit Master text styles</a:t>
            </a:r>
          </a:p>
        </p:txBody>
      </p:sp>
      <p:sp>
        <p:nvSpPr>
          <p:cNvPr id="109" name="Rectangle 108">
            <a:extLst>
              <a:ext uri="{FF2B5EF4-FFF2-40B4-BE49-F238E27FC236}">
                <a16:creationId xmlns:a16="http://schemas.microsoft.com/office/drawing/2014/main" id="{9956DFDE-CFBE-4009-A6FF-DFF591F46C72}"/>
              </a:ext>
            </a:extLst>
          </p:cNvPr>
          <p:cNvSpPr/>
          <p:nvPr userDrawn="1"/>
        </p:nvSpPr>
        <p:spPr>
          <a:xfrm>
            <a:off x="9620678" y="10852474"/>
            <a:ext cx="1991251" cy="261610"/>
          </a:xfrm>
          <a:prstGeom prst="rect">
            <a:avLst/>
          </a:prstGeom>
        </p:spPr>
        <p:txBody>
          <a:bodyPr wrap="none">
            <a:spAutoFit/>
          </a:bodyPr>
          <a:lstStyle/>
          <a:p>
            <a:pPr marL="0" marR="0" lvl="0" indent="0" algn="l" defTabSz="896214" rtl="0" eaLnBrk="1" fontAlgn="base" latinLnBrk="0" hangingPunct="1">
              <a:lnSpc>
                <a:spcPct val="100000"/>
              </a:lnSpc>
              <a:spcBef>
                <a:spcPts val="100"/>
              </a:spcBef>
              <a:spcAft>
                <a:spcPts val="0"/>
              </a:spcAft>
              <a:buClr>
                <a:srgbClr val="505050"/>
              </a:buClr>
              <a:buSzTx/>
              <a:buFontTx/>
              <a:buNone/>
              <a:tabLst/>
              <a:defRPr/>
            </a:pPr>
            <a:r>
              <a:rPr kumimoji="0" lang="en-US" sz="1100" b="1" i="0" u="none" strike="noStrike" kern="0" cap="none" spc="0" normalizeH="0" baseline="0" noProof="0">
                <a:ln>
                  <a:noFill/>
                </a:ln>
                <a:solidFill>
                  <a:srgbClr val="00188F"/>
                </a:solidFill>
                <a:effectLst/>
                <a:uLnTx/>
                <a:uFillTx/>
                <a:latin typeface="Segoe UI"/>
                <a:ea typeface="Arial Unicode MS" pitchFamily="34" charset="-128"/>
                <a:cs typeface="Arial" charset="0"/>
                <a:hlinkClick r:id="rId2"/>
              </a:rPr>
              <a:t>MORE CUSTOMER STORIES</a:t>
            </a:r>
            <a:endParaRPr kumimoji="0" lang="en-US" sz="1100" b="1" i="0" u="none" strike="noStrike" kern="0" cap="none" spc="0" normalizeH="0" baseline="0" noProof="0">
              <a:ln>
                <a:noFill/>
              </a:ln>
              <a:solidFill>
                <a:srgbClr val="00188F"/>
              </a:solidFill>
              <a:effectLst/>
              <a:uLnTx/>
              <a:uFillTx/>
              <a:latin typeface="Segoe UI"/>
              <a:ea typeface="Arial Unicode MS" pitchFamily="34" charset="-128"/>
              <a:cs typeface="Arial" charset="0"/>
            </a:endParaRPr>
          </a:p>
        </p:txBody>
      </p:sp>
      <p:sp>
        <p:nvSpPr>
          <p:cNvPr id="3" name="TextBox 2">
            <a:extLst>
              <a:ext uri="{FF2B5EF4-FFF2-40B4-BE49-F238E27FC236}">
                <a16:creationId xmlns:a16="http://schemas.microsoft.com/office/drawing/2014/main" id="{33C9D1BB-E949-42F6-885C-CE432D468860}"/>
              </a:ext>
            </a:extLst>
          </p:cNvPr>
          <p:cNvSpPr txBox="1"/>
          <p:nvPr userDrawn="1"/>
        </p:nvSpPr>
        <p:spPr>
          <a:xfrm>
            <a:off x="588263" y="1481382"/>
            <a:ext cx="1175657" cy="215444"/>
          </a:xfrm>
          <a:prstGeom prst="rect">
            <a:avLst/>
          </a:prstGeom>
          <a:noFill/>
        </p:spPr>
        <p:txBody>
          <a:bodyPr wrap="square" lIns="0" tIns="0" rIns="0" bIns="0" rtlCol="0">
            <a:spAutoFit/>
          </a:bodyPr>
          <a:lstStyle/>
          <a:p>
            <a:pPr algn="l"/>
            <a:r>
              <a:rPr lang="en-US" sz="1400">
                <a:solidFill>
                  <a:schemeClr val="accent1"/>
                </a:solidFill>
                <a:latin typeface="+mj-lt"/>
              </a:rPr>
              <a:t>Personas</a:t>
            </a:r>
          </a:p>
        </p:txBody>
      </p:sp>
      <p:sp>
        <p:nvSpPr>
          <p:cNvPr id="125" name="Picture Placeholder 124">
            <a:extLst>
              <a:ext uri="{FF2B5EF4-FFF2-40B4-BE49-F238E27FC236}">
                <a16:creationId xmlns:a16="http://schemas.microsoft.com/office/drawing/2014/main" id="{629434A1-3EE7-4C99-8A7E-8E1BBABFF200}"/>
              </a:ext>
            </a:extLst>
          </p:cNvPr>
          <p:cNvSpPr>
            <a:spLocks noGrp="1"/>
          </p:cNvSpPr>
          <p:nvPr>
            <p:ph type="pic" sz="quarter" idx="11" hasCustomPrompt="1"/>
          </p:nvPr>
        </p:nvSpPr>
        <p:spPr>
          <a:xfrm>
            <a:off x="581107" y="1822352"/>
            <a:ext cx="779860" cy="779860"/>
          </a:xfrm>
          <a:prstGeom prst="ellipse">
            <a:avLst/>
          </a:prstGeom>
          <a:solidFill>
            <a:schemeClr val="accent1"/>
          </a:solidFill>
        </p:spPr>
        <p:txBody>
          <a:bodyPr/>
          <a:lstStyle>
            <a:lvl1pPr marL="0" indent="0">
              <a:buNone/>
              <a:defRPr/>
            </a:lvl1pPr>
          </a:lstStyle>
          <a:p>
            <a:r>
              <a:rPr lang="en-US"/>
              <a:t> </a:t>
            </a:r>
          </a:p>
        </p:txBody>
      </p:sp>
      <p:sp>
        <p:nvSpPr>
          <p:cNvPr id="127" name="Text Placeholder 126">
            <a:extLst>
              <a:ext uri="{FF2B5EF4-FFF2-40B4-BE49-F238E27FC236}">
                <a16:creationId xmlns:a16="http://schemas.microsoft.com/office/drawing/2014/main" id="{EAFD0634-31A1-4D8E-A911-A14D9EFE6D2D}"/>
              </a:ext>
            </a:extLst>
          </p:cNvPr>
          <p:cNvSpPr>
            <a:spLocks noGrp="1"/>
          </p:cNvSpPr>
          <p:nvPr>
            <p:ph type="body" sz="quarter" idx="12" hasCustomPrompt="1"/>
          </p:nvPr>
        </p:nvSpPr>
        <p:spPr>
          <a:xfrm>
            <a:off x="1545376" y="1993613"/>
            <a:ext cx="1620194" cy="169277"/>
          </a:xfrm>
        </p:spPr>
        <p:txBody>
          <a:bodyPr/>
          <a:lstStyle>
            <a:lvl1pPr marL="0" indent="0">
              <a:buNone/>
              <a:defRPr sz="1100">
                <a:solidFill>
                  <a:schemeClr val="tx2"/>
                </a:solidFill>
                <a:latin typeface="+mj-lt"/>
              </a:defRPr>
            </a:lvl1pPr>
            <a:lvl2pPr marL="228600" indent="0">
              <a:buNone/>
              <a:defRPr sz="1100">
                <a:latin typeface="+mj-lt"/>
              </a:defRPr>
            </a:lvl2pPr>
            <a:lvl3pPr marL="457200" indent="0">
              <a:buNone/>
              <a:defRPr sz="1000">
                <a:latin typeface="+mj-lt"/>
              </a:defRPr>
            </a:lvl3pPr>
            <a:lvl4pPr marL="661988" indent="0">
              <a:buNone/>
              <a:defRPr sz="900">
                <a:latin typeface="+mj-lt"/>
              </a:defRPr>
            </a:lvl4pPr>
            <a:lvl5pPr marL="855663" indent="0">
              <a:buNone/>
              <a:defRPr sz="900">
                <a:latin typeface="+mj-lt"/>
              </a:defRPr>
            </a:lvl5pPr>
          </a:lstStyle>
          <a:p>
            <a:pPr lvl="0"/>
            <a:r>
              <a:rPr lang="en-US"/>
              <a:t>Name</a:t>
            </a:r>
          </a:p>
        </p:txBody>
      </p:sp>
      <p:sp>
        <p:nvSpPr>
          <p:cNvPr id="128" name="Text Placeholder 126">
            <a:extLst>
              <a:ext uri="{FF2B5EF4-FFF2-40B4-BE49-F238E27FC236}">
                <a16:creationId xmlns:a16="http://schemas.microsoft.com/office/drawing/2014/main" id="{D0834099-A6D3-4F46-B197-329C302443D0}"/>
              </a:ext>
            </a:extLst>
          </p:cNvPr>
          <p:cNvSpPr>
            <a:spLocks noGrp="1"/>
          </p:cNvSpPr>
          <p:nvPr>
            <p:ph type="body" sz="quarter" idx="13" hasCustomPrompt="1"/>
          </p:nvPr>
        </p:nvSpPr>
        <p:spPr>
          <a:xfrm>
            <a:off x="1545376" y="2216979"/>
            <a:ext cx="1620194" cy="169277"/>
          </a:xfrm>
        </p:spPr>
        <p:txBody>
          <a:bodyPr/>
          <a:lstStyle>
            <a:lvl1pPr marL="0" indent="0">
              <a:buNone/>
              <a:defRPr sz="1100">
                <a:solidFill>
                  <a:schemeClr val="tx2"/>
                </a:solidFill>
                <a:latin typeface="+mj-lt"/>
              </a:defRPr>
            </a:lvl1pPr>
            <a:lvl2pPr marL="228600" indent="0">
              <a:buNone/>
              <a:defRPr sz="1100">
                <a:latin typeface="+mj-lt"/>
              </a:defRPr>
            </a:lvl2pPr>
            <a:lvl3pPr marL="457200" indent="0">
              <a:buNone/>
              <a:defRPr sz="1000">
                <a:latin typeface="+mj-lt"/>
              </a:defRPr>
            </a:lvl3pPr>
            <a:lvl4pPr marL="661988" indent="0">
              <a:buNone/>
              <a:defRPr sz="900">
                <a:latin typeface="+mj-lt"/>
              </a:defRPr>
            </a:lvl4pPr>
            <a:lvl5pPr marL="855663" indent="0">
              <a:buNone/>
              <a:defRPr sz="900">
                <a:latin typeface="+mj-lt"/>
              </a:defRPr>
            </a:lvl5pPr>
          </a:lstStyle>
          <a:p>
            <a:pPr lvl="0"/>
            <a:r>
              <a:rPr lang="en-US"/>
              <a:t>Title</a:t>
            </a:r>
          </a:p>
        </p:txBody>
      </p:sp>
      <p:sp>
        <p:nvSpPr>
          <p:cNvPr id="129" name="Picture Placeholder 124">
            <a:extLst>
              <a:ext uri="{FF2B5EF4-FFF2-40B4-BE49-F238E27FC236}">
                <a16:creationId xmlns:a16="http://schemas.microsoft.com/office/drawing/2014/main" id="{C3A50399-4034-43C4-84EC-0E3AB11B9024}"/>
              </a:ext>
            </a:extLst>
          </p:cNvPr>
          <p:cNvSpPr>
            <a:spLocks noGrp="1"/>
          </p:cNvSpPr>
          <p:nvPr>
            <p:ph type="pic" sz="quarter" idx="14" hasCustomPrompt="1"/>
          </p:nvPr>
        </p:nvSpPr>
        <p:spPr>
          <a:xfrm>
            <a:off x="581107" y="2736347"/>
            <a:ext cx="779860" cy="779860"/>
          </a:xfrm>
          <a:prstGeom prst="ellipse">
            <a:avLst/>
          </a:prstGeom>
          <a:solidFill>
            <a:schemeClr val="accent1"/>
          </a:solidFill>
        </p:spPr>
        <p:txBody>
          <a:bodyPr/>
          <a:lstStyle>
            <a:lvl1pPr marL="0" indent="0">
              <a:buNone/>
              <a:defRPr/>
            </a:lvl1pPr>
          </a:lstStyle>
          <a:p>
            <a:r>
              <a:rPr lang="en-US"/>
              <a:t> </a:t>
            </a:r>
          </a:p>
        </p:txBody>
      </p:sp>
      <p:sp>
        <p:nvSpPr>
          <p:cNvPr id="130" name="Text Placeholder 126">
            <a:extLst>
              <a:ext uri="{FF2B5EF4-FFF2-40B4-BE49-F238E27FC236}">
                <a16:creationId xmlns:a16="http://schemas.microsoft.com/office/drawing/2014/main" id="{6E23B56B-9969-420C-88A8-C4E32B3E88BA}"/>
              </a:ext>
            </a:extLst>
          </p:cNvPr>
          <p:cNvSpPr>
            <a:spLocks noGrp="1"/>
          </p:cNvSpPr>
          <p:nvPr>
            <p:ph type="body" sz="quarter" idx="15" hasCustomPrompt="1"/>
          </p:nvPr>
        </p:nvSpPr>
        <p:spPr>
          <a:xfrm>
            <a:off x="1545376" y="2907608"/>
            <a:ext cx="1620194" cy="169277"/>
          </a:xfrm>
        </p:spPr>
        <p:txBody>
          <a:bodyPr/>
          <a:lstStyle>
            <a:lvl1pPr marL="0" indent="0">
              <a:buNone/>
              <a:defRPr sz="1100">
                <a:solidFill>
                  <a:schemeClr val="tx2"/>
                </a:solidFill>
                <a:latin typeface="+mj-lt"/>
              </a:defRPr>
            </a:lvl1pPr>
            <a:lvl2pPr marL="228600" indent="0">
              <a:buNone/>
              <a:defRPr sz="1100">
                <a:latin typeface="+mj-lt"/>
              </a:defRPr>
            </a:lvl2pPr>
            <a:lvl3pPr marL="457200" indent="0">
              <a:buNone/>
              <a:defRPr sz="1000">
                <a:latin typeface="+mj-lt"/>
              </a:defRPr>
            </a:lvl3pPr>
            <a:lvl4pPr marL="661988" indent="0">
              <a:buNone/>
              <a:defRPr sz="900">
                <a:latin typeface="+mj-lt"/>
              </a:defRPr>
            </a:lvl4pPr>
            <a:lvl5pPr marL="855663" indent="0">
              <a:buNone/>
              <a:defRPr sz="900">
                <a:latin typeface="+mj-lt"/>
              </a:defRPr>
            </a:lvl5pPr>
          </a:lstStyle>
          <a:p>
            <a:pPr lvl="0"/>
            <a:r>
              <a:rPr lang="en-US"/>
              <a:t>Name</a:t>
            </a:r>
          </a:p>
        </p:txBody>
      </p:sp>
      <p:sp>
        <p:nvSpPr>
          <p:cNvPr id="131" name="Text Placeholder 126">
            <a:extLst>
              <a:ext uri="{FF2B5EF4-FFF2-40B4-BE49-F238E27FC236}">
                <a16:creationId xmlns:a16="http://schemas.microsoft.com/office/drawing/2014/main" id="{64E973A7-091B-410D-9524-EC1B614759EA}"/>
              </a:ext>
            </a:extLst>
          </p:cNvPr>
          <p:cNvSpPr>
            <a:spLocks noGrp="1"/>
          </p:cNvSpPr>
          <p:nvPr>
            <p:ph type="body" sz="quarter" idx="16" hasCustomPrompt="1"/>
          </p:nvPr>
        </p:nvSpPr>
        <p:spPr>
          <a:xfrm>
            <a:off x="1545376" y="3130974"/>
            <a:ext cx="1620194" cy="169277"/>
          </a:xfrm>
        </p:spPr>
        <p:txBody>
          <a:bodyPr/>
          <a:lstStyle>
            <a:lvl1pPr marL="0" indent="0">
              <a:buNone/>
              <a:defRPr sz="1100">
                <a:solidFill>
                  <a:schemeClr val="tx2"/>
                </a:solidFill>
                <a:latin typeface="+mj-lt"/>
              </a:defRPr>
            </a:lvl1pPr>
            <a:lvl2pPr marL="228600" indent="0">
              <a:buNone/>
              <a:defRPr sz="1100">
                <a:latin typeface="+mj-lt"/>
              </a:defRPr>
            </a:lvl2pPr>
            <a:lvl3pPr marL="457200" indent="0">
              <a:buNone/>
              <a:defRPr sz="1000">
                <a:latin typeface="+mj-lt"/>
              </a:defRPr>
            </a:lvl3pPr>
            <a:lvl4pPr marL="661988" indent="0">
              <a:buNone/>
              <a:defRPr sz="900">
                <a:latin typeface="+mj-lt"/>
              </a:defRPr>
            </a:lvl4pPr>
            <a:lvl5pPr marL="855663" indent="0">
              <a:buNone/>
              <a:defRPr sz="900">
                <a:latin typeface="+mj-lt"/>
              </a:defRPr>
            </a:lvl5pPr>
          </a:lstStyle>
          <a:p>
            <a:pPr lvl="0"/>
            <a:r>
              <a:rPr lang="en-US"/>
              <a:t>Title</a:t>
            </a:r>
          </a:p>
        </p:txBody>
      </p:sp>
      <p:sp>
        <p:nvSpPr>
          <p:cNvPr id="135" name="TextBox 134">
            <a:extLst>
              <a:ext uri="{FF2B5EF4-FFF2-40B4-BE49-F238E27FC236}">
                <a16:creationId xmlns:a16="http://schemas.microsoft.com/office/drawing/2014/main" id="{C46BCCB5-F9F7-4482-ADFD-C9E04D972396}"/>
              </a:ext>
            </a:extLst>
          </p:cNvPr>
          <p:cNvSpPr txBox="1"/>
          <p:nvPr userDrawn="1"/>
        </p:nvSpPr>
        <p:spPr>
          <a:xfrm>
            <a:off x="581107" y="3754983"/>
            <a:ext cx="1884103" cy="215444"/>
          </a:xfrm>
          <a:prstGeom prst="rect">
            <a:avLst/>
          </a:prstGeom>
          <a:noFill/>
        </p:spPr>
        <p:txBody>
          <a:bodyPr wrap="square" lIns="0" tIns="0" rIns="0" bIns="0" rtlCol="0">
            <a:spAutoFit/>
          </a:bodyPr>
          <a:lstStyle/>
          <a:p>
            <a:pPr algn="l"/>
            <a:r>
              <a:rPr lang="en-US" sz="1400">
                <a:solidFill>
                  <a:schemeClr val="accent1"/>
                </a:solidFill>
                <a:latin typeface="+mj-lt"/>
              </a:rPr>
              <a:t>Use case overview</a:t>
            </a:r>
          </a:p>
        </p:txBody>
      </p:sp>
      <p:sp>
        <p:nvSpPr>
          <p:cNvPr id="137" name="Text Placeholder 136">
            <a:extLst>
              <a:ext uri="{FF2B5EF4-FFF2-40B4-BE49-F238E27FC236}">
                <a16:creationId xmlns:a16="http://schemas.microsoft.com/office/drawing/2014/main" id="{879A04AC-1D7B-45C2-99AB-36662C53C185}"/>
              </a:ext>
            </a:extLst>
          </p:cNvPr>
          <p:cNvSpPr>
            <a:spLocks noGrp="1"/>
          </p:cNvSpPr>
          <p:nvPr>
            <p:ph type="body" sz="quarter" idx="20" hasCustomPrompt="1"/>
          </p:nvPr>
        </p:nvSpPr>
        <p:spPr>
          <a:xfrm>
            <a:off x="581107" y="4037559"/>
            <a:ext cx="2584463" cy="615553"/>
          </a:xfrm>
        </p:spPr>
        <p:txBody>
          <a:bodyPr/>
          <a:lstStyle>
            <a:lvl1pPr marL="0" indent="0">
              <a:spcBef>
                <a:spcPts val="0"/>
              </a:spcBef>
              <a:spcAft>
                <a:spcPts val="600"/>
              </a:spcAft>
              <a:buNone/>
              <a:defRPr sz="1000">
                <a:latin typeface="+mn-lt"/>
              </a:defRPr>
            </a:lvl1pPr>
            <a:lvl2pPr marL="228600" indent="0">
              <a:buNone/>
              <a:defRPr sz="1100">
                <a:latin typeface="+mn-lt"/>
              </a:defRPr>
            </a:lvl2pPr>
            <a:lvl3pPr marL="457200" indent="0">
              <a:buNone/>
              <a:defRPr sz="1100">
                <a:latin typeface="+mn-lt"/>
              </a:defRPr>
            </a:lvl3pPr>
            <a:lvl4pPr marL="661988" indent="0">
              <a:buNone/>
              <a:defRPr sz="1100">
                <a:latin typeface="+mn-lt"/>
              </a:defRPr>
            </a:lvl4pPr>
            <a:lvl5pPr marL="855663" indent="0">
              <a:buNone/>
              <a:defRPr sz="1100">
                <a:latin typeface="+mn-lt"/>
              </a:defRPr>
            </a:lvl5pPr>
          </a:lstStyle>
          <a:p>
            <a:pPr lvl="0"/>
            <a:r>
              <a:rPr lang="en-US"/>
              <a:t>Lorem ipsum dolor sit amet, consectetur adipiscing elit. Praesent eget vehicula eros. Pellentesque laoreet ante a ex </a:t>
            </a:r>
            <a:r>
              <a:rPr lang="en-US" err="1"/>
              <a:t>aliquet</a:t>
            </a:r>
            <a:r>
              <a:rPr lang="en-US"/>
              <a:t> fermentum. Etiam eu scelerisque turpis. Etiam vitae est auctor, luctus mauris id, scelerisque justo.</a:t>
            </a:r>
          </a:p>
        </p:txBody>
      </p:sp>
    </p:spTree>
    <p:extLst>
      <p:ext uri="{BB962C8B-B14F-4D97-AF65-F5344CB8AC3E}">
        <p14:creationId xmlns:p14="http://schemas.microsoft.com/office/powerpoint/2010/main" val="18636592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85320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Basic Headline/Text: Tea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1999" cy="899322"/>
          </a:xfrm>
          <a:prstGeom prst="rect">
            <a:avLst/>
          </a:prstGeom>
        </p:spPr>
      </p:pic>
      <p:sp>
        <p:nvSpPr>
          <p:cNvPr id="4" name="Slide Number Placeholder 3"/>
          <p:cNvSpPr>
            <a:spLocks noGrp="1"/>
          </p:cNvSpPr>
          <p:nvPr userDrawn="1">
            <p:ph type="sldNum" sz="quarter" idx="13"/>
          </p:nvPr>
        </p:nvSpPr>
        <p:spPr/>
        <p:txBody>
          <a:bodyPr/>
          <a:lstStyle/>
          <a:p>
            <a:fld id="{C22AD53A-4A31-1849-8930-A19B857CB4AE}" type="slidenum">
              <a:rPr lang="en-US" smtClean="0"/>
              <a:pPr/>
              <a:t>‹#›</a:t>
            </a:fld>
            <a:endParaRPr lang="en-US"/>
          </a:p>
        </p:txBody>
      </p:sp>
      <p:sp>
        <p:nvSpPr>
          <p:cNvPr id="12" name="Rectangle 11"/>
          <p:cNvSpPr/>
          <p:nvPr userDrawn="1"/>
        </p:nvSpPr>
        <p:spPr>
          <a:xfrm>
            <a:off x="0" y="0"/>
            <a:ext cx="274377" cy="8953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orbel"/>
            </a:endParaRPr>
          </a:p>
        </p:txBody>
      </p:sp>
      <p:pic>
        <p:nvPicPr>
          <p:cNvPr id="11" name="Picture 10" descr="Sitecore_logo_tagline_WHT_lrg.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29127" y="187787"/>
            <a:ext cx="1627185" cy="541853"/>
          </a:xfrm>
          <a:prstGeom prst="rect">
            <a:avLst/>
          </a:prstGeom>
        </p:spPr>
      </p:pic>
      <p:sp>
        <p:nvSpPr>
          <p:cNvPr id="15" name="Content Placeholder 4"/>
          <p:cNvSpPr>
            <a:spLocks noGrp="1"/>
          </p:cNvSpPr>
          <p:nvPr>
            <p:ph sz="quarter" idx="11" hasCustomPrompt="1"/>
          </p:nvPr>
        </p:nvSpPr>
        <p:spPr>
          <a:xfrm>
            <a:off x="431913" y="1310640"/>
            <a:ext cx="11356757" cy="5090160"/>
          </a:xfrm>
          <a:prstGeom prst="rect">
            <a:avLst/>
          </a:prstGeom>
        </p:spPr>
        <p:txBody>
          <a:bodyPr>
            <a:normAutofit/>
          </a:bodyPr>
          <a:lstStyle>
            <a:lvl1pPr>
              <a:defRPr sz="2800">
                <a:solidFill>
                  <a:schemeClr val="tx1"/>
                </a:solidFill>
              </a:defRPr>
            </a:lvl1pPr>
            <a:lvl2pPr marL="346075" indent="-173038">
              <a:lnSpc>
                <a:spcPct val="100000"/>
              </a:lnSpc>
              <a:spcBef>
                <a:spcPts val="0"/>
              </a:spcBef>
              <a:spcAft>
                <a:spcPts val="1200"/>
              </a:spcAft>
              <a:buClr>
                <a:schemeClr val="tx1"/>
              </a:buClr>
              <a:buFont typeface="Wingdings" charset="2"/>
              <a:buChar char="§"/>
              <a:defRPr sz="2400">
                <a:solidFill>
                  <a:schemeClr val="tx1"/>
                </a:solidFill>
              </a:defRPr>
            </a:lvl2pPr>
            <a:lvl3pPr marL="574675" indent="-173038">
              <a:lnSpc>
                <a:spcPct val="100000"/>
              </a:lnSpc>
              <a:spcBef>
                <a:spcPts val="0"/>
              </a:spcBef>
              <a:spcAft>
                <a:spcPts val="1200"/>
              </a:spcAft>
              <a:buClr>
                <a:schemeClr val="tx1"/>
              </a:buClr>
              <a:buSzPct val="100000"/>
              <a:buFont typeface="Arial"/>
              <a:buChar char="•"/>
              <a:tabLst/>
              <a:defRPr sz="2000">
                <a:solidFill>
                  <a:schemeClr val="tx1"/>
                </a:solidFill>
              </a:defRPr>
            </a:lvl3pPr>
            <a:lvl4pPr marL="866775" indent="-173038">
              <a:lnSpc>
                <a:spcPct val="100000"/>
              </a:lnSpc>
              <a:spcBef>
                <a:spcPts val="0"/>
              </a:spcBef>
              <a:spcAft>
                <a:spcPts val="1200"/>
              </a:spcAft>
              <a:buClr>
                <a:schemeClr val="tx1"/>
              </a:buClr>
              <a:defRPr>
                <a:solidFill>
                  <a:schemeClr val="tx1"/>
                </a:solidFill>
                <a:latin typeface="Corbel"/>
                <a:cs typeface="Corbel"/>
              </a:defRPr>
            </a:lvl4pPr>
            <a:lvl5pPr marL="1260475" indent="-173038">
              <a:lnSpc>
                <a:spcPct val="100000"/>
              </a:lnSpc>
              <a:spcBef>
                <a:spcPts val="0"/>
              </a:spcBef>
              <a:spcAft>
                <a:spcPts val="1200"/>
              </a:spcAft>
              <a:buSzPct val="80000"/>
              <a:defRPr>
                <a:solidFill>
                  <a:schemeClr val="tx1"/>
                </a:solidFill>
                <a:latin typeface="Corbel"/>
              </a:defRPr>
            </a:lvl5pPr>
          </a:lstStyle>
          <a:p>
            <a:pPr lvl="0"/>
            <a:r>
              <a:rPr lang="en-US"/>
              <a:t>Click to add support text here</a:t>
            </a:r>
          </a:p>
          <a:p>
            <a:pPr lvl="1"/>
            <a:r>
              <a:rPr lang="en-US"/>
              <a:t>Second level</a:t>
            </a:r>
          </a:p>
          <a:p>
            <a:pPr lvl="2"/>
            <a:r>
              <a:rPr lang="en-US"/>
              <a:t>Third level</a:t>
            </a:r>
          </a:p>
          <a:p>
            <a:pPr lvl="3"/>
            <a:r>
              <a:rPr lang="en-US"/>
              <a:t>Fourth level</a:t>
            </a:r>
          </a:p>
          <a:p>
            <a:pPr lvl="4"/>
            <a:r>
              <a:rPr lang="en-US"/>
              <a:t>Fifth level</a:t>
            </a:r>
          </a:p>
        </p:txBody>
      </p:sp>
      <p:sp>
        <p:nvSpPr>
          <p:cNvPr id="9" name="Title 2"/>
          <p:cNvSpPr>
            <a:spLocks noGrp="1"/>
          </p:cNvSpPr>
          <p:nvPr>
            <p:ph type="title" hasCustomPrompt="1"/>
          </p:nvPr>
        </p:nvSpPr>
        <p:spPr>
          <a:xfrm>
            <a:off x="482729" y="136093"/>
            <a:ext cx="9275490" cy="648999"/>
          </a:xfrm>
          <a:prstGeom prst="rect">
            <a:avLst/>
          </a:prstGeom>
        </p:spPr>
        <p:txBody>
          <a:bodyPr vert="horz"/>
          <a:lstStyle>
            <a:lvl1pPr>
              <a:defRPr sz="3000" baseline="0">
                <a:solidFill>
                  <a:schemeClr val="bg1"/>
                </a:solidFill>
              </a:defRPr>
            </a:lvl1pPr>
          </a:lstStyle>
          <a:p>
            <a:r>
              <a:rPr lang="en-US"/>
              <a:t>Click to add slide headline here</a:t>
            </a:r>
          </a:p>
        </p:txBody>
      </p:sp>
    </p:spTree>
    <p:extLst>
      <p:ext uri="{BB962C8B-B14F-4D97-AF65-F5344CB8AC3E}">
        <p14:creationId xmlns:p14="http://schemas.microsoft.com/office/powerpoint/2010/main" val="9452520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1_Full Screen Image">
    <p:spTree>
      <p:nvGrpSpPr>
        <p:cNvPr id="1" name=""/>
        <p:cNvGrpSpPr/>
        <p:nvPr/>
      </p:nvGrpSpPr>
      <p:grpSpPr>
        <a:xfrm>
          <a:off x="0" y="0"/>
          <a:ext cx="0" cy="0"/>
          <a:chOff x="0" y="0"/>
          <a:chExt cx="0" cy="0"/>
        </a:xfrm>
      </p:grpSpPr>
      <p:sp>
        <p:nvSpPr>
          <p:cNvPr id="5" name="Footer Placeholder 2"/>
          <p:cNvSpPr txBox="1">
            <a:spLocks/>
          </p:cNvSpPr>
          <p:nvPr userDrawn="1"/>
        </p:nvSpPr>
        <p:spPr>
          <a:xfrm>
            <a:off x="465624" y="6374181"/>
            <a:ext cx="3340045" cy="273844"/>
          </a:xfrm>
          <a:prstGeom prst="rect">
            <a:avLst/>
          </a:prstGeom>
        </p:spPr>
        <p:txBody>
          <a:bodyPr vert="horz" lIns="91440" tIns="45720" rIns="91440" bIns="45720" rtlCol="0" anchor="ctr"/>
          <a:lstStyle>
            <a:defPPr>
              <a:defRPr lang="en-US"/>
            </a:defPPr>
            <a:lvl1pPr algn="l" defTabSz="342900" rtl="0" eaLnBrk="0" fontAlgn="base" hangingPunct="0">
              <a:spcBef>
                <a:spcPct val="0"/>
              </a:spcBef>
              <a:spcAft>
                <a:spcPct val="0"/>
              </a:spcAft>
              <a:defRPr sz="600" kern="1200">
                <a:solidFill>
                  <a:schemeClr val="tx1">
                    <a:tint val="75000"/>
                  </a:schemeClr>
                </a:solidFill>
                <a:latin typeface="Calibri" panose="020F0502020204030204" pitchFamily="34" charset="0"/>
                <a:ea typeface="+mn-ea"/>
                <a:cs typeface="Arial" panose="020B0604020202020204" pitchFamily="34" charset="0"/>
              </a:defRPr>
            </a:lvl1pPr>
            <a:lvl2pPr marL="342900" algn="l" defTabSz="342900"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685800" algn="l" defTabSz="342900"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028700" algn="l" defTabSz="342900"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371600" algn="l" defTabSz="342900"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17145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0574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24003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2743200" algn="l" defTabSz="6858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A7A99D"/>
                </a:solidFill>
                <a:effectLst/>
                <a:uLnTx/>
                <a:uFillTx/>
                <a:latin typeface="Arial" charset="0"/>
                <a:ea typeface="Arial" charset="0"/>
                <a:cs typeface="Arial" charset="0"/>
              </a:rPr>
              <a:t>© Copyright 2017 </a:t>
            </a:r>
            <a:r>
              <a:rPr kumimoji="0" lang="en-US" sz="900" b="0" i="0" u="none" strike="noStrike" kern="0" cap="none" spc="0" normalizeH="0" baseline="0" noProof="0" err="1">
                <a:ln>
                  <a:noFill/>
                </a:ln>
                <a:solidFill>
                  <a:srgbClr val="A7A99D"/>
                </a:solidFill>
                <a:effectLst/>
                <a:uLnTx/>
                <a:uFillTx/>
                <a:latin typeface="Arial" charset="0"/>
                <a:ea typeface="Arial" charset="0"/>
                <a:cs typeface="Arial" charset="0"/>
              </a:rPr>
              <a:t>Sitecore</a:t>
            </a:r>
            <a:endParaRPr kumimoji="0" lang="en-US" sz="900" b="0" i="0" u="none" strike="noStrike" kern="0" cap="none" spc="0" normalizeH="0" baseline="0" noProof="0">
              <a:ln>
                <a:noFill/>
              </a:ln>
              <a:solidFill>
                <a:srgbClr val="A7A99D"/>
              </a:solidFill>
              <a:effectLst/>
              <a:uLnTx/>
              <a:uFillTx/>
              <a:latin typeface="Arial" charset="0"/>
              <a:ea typeface="Arial" charset="0"/>
              <a:cs typeface="Arial" charset="0"/>
            </a:endParaRPr>
          </a:p>
        </p:txBody>
      </p:sp>
      <p:pic>
        <p:nvPicPr>
          <p:cNvPr id="6" name="Picture 4">
            <a:extLst>
              <a:ext uri="{FF2B5EF4-FFF2-40B4-BE49-F238E27FC236}">
                <a16:creationId xmlns:a16="http://schemas.microsoft.com/office/drawing/2014/main" id="{B0C32A70-10D4-4789-953F-075129BEAB0B}"/>
              </a:ext>
            </a:extLst>
          </p:cNvPr>
          <p:cNvPicPr>
            <a:picLocks noChangeAspect="1"/>
          </p:cNvPicPr>
          <p:nvPr userDrawn="1"/>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914547" y="6374181"/>
            <a:ext cx="1064989" cy="298196"/>
          </a:xfrm>
          <a:prstGeom prst="rect">
            <a:avLst/>
          </a:prstGeom>
        </p:spPr>
      </p:pic>
    </p:spTree>
    <p:extLst>
      <p:ext uri="{BB962C8B-B14F-4D97-AF65-F5344CB8AC3E}">
        <p14:creationId xmlns:p14="http://schemas.microsoft.com/office/powerpoint/2010/main" val="3570029844"/>
      </p:ext>
    </p:extLst>
  </p:cSld>
  <p:clrMapOvr>
    <a:masterClrMapping/>
  </p:clrMapOvr>
  <p:extLst>
    <p:ext uri="{DCECCB84-F9BA-43D5-87BE-67443E8EF086}">
      <p15:sldGuideLst xmlns:p15="http://schemas.microsoft.com/office/powerpoint/2012/main">
        <p15:guide id="1" pos="477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Full Screen Image">
    <p:spTree>
      <p:nvGrpSpPr>
        <p:cNvPr id="1" name=""/>
        <p:cNvGrpSpPr/>
        <p:nvPr/>
      </p:nvGrpSpPr>
      <p:grpSpPr>
        <a:xfrm>
          <a:off x="0" y="0"/>
          <a:ext cx="0" cy="0"/>
          <a:chOff x="0" y="0"/>
          <a:chExt cx="0" cy="0"/>
        </a:xfrm>
      </p:grpSpPr>
      <p:sp>
        <p:nvSpPr>
          <p:cNvPr id="5" name="Picture Placeholder 4"/>
          <p:cNvSpPr>
            <a:spLocks noGrp="1"/>
          </p:cNvSpPr>
          <p:nvPr>
            <p:ph type="pic" sz="quarter" idx="12" hasCustomPrompt="1"/>
          </p:nvPr>
        </p:nvSpPr>
        <p:spPr>
          <a:xfrm>
            <a:off x="431912" y="444500"/>
            <a:ext cx="11318648" cy="5969000"/>
          </a:xfrm>
          <a:prstGeom prst="rect">
            <a:avLst/>
          </a:prstGeom>
        </p:spPr>
        <p:txBody>
          <a:bodyPr>
            <a:normAutofit/>
          </a:bodyPr>
          <a:lstStyle>
            <a:lvl1pPr>
              <a:defRPr sz="1800" baseline="0"/>
            </a:lvl1pPr>
          </a:lstStyle>
          <a:p>
            <a:r>
              <a:rPr lang="en-US"/>
              <a:t>Click to insert picture</a:t>
            </a:r>
          </a:p>
        </p:txBody>
      </p:sp>
      <p:sp>
        <p:nvSpPr>
          <p:cNvPr id="3" name="Slide Number Placeholder 1"/>
          <p:cNvSpPr>
            <a:spLocks noGrp="1"/>
          </p:cNvSpPr>
          <p:nvPr>
            <p:ph type="sldNum" sz="quarter" idx="4"/>
          </p:nvPr>
        </p:nvSpPr>
        <p:spPr>
          <a:xfrm>
            <a:off x="10577320" y="6497321"/>
            <a:ext cx="1185264" cy="249555"/>
          </a:xfrm>
          <a:prstGeom prst="rect">
            <a:avLst/>
          </a:prstGeom>
        </p:spPr>
        <p:txBody>
          <a:bodyPr vert="horz" lIns="91440" tIns="45720" rIns="91440" bIns="45720" rtlCol="0" anchor="ctr"/>
          <a:lstStyle>
            <a:lvl1pPr algn="r">
              <a:defRPr sz="1100">
                <a:solidFill>
                  <a:schemeClr val="tx1">
                    <a:tint val="75000"/>
                  </a:schemeClr>
                </a:solidFill>
                <a:latin typeface="Corbel"/>
              </a:defRPr>
            </a:lvl1pPr>
          </a:lstStyle>
          <a:p>
            <a:fld id="{C22AD53A-4A31-1849-8930-A19B857CB4AE}" type="slidenum">
              <a:rPr lang="en-US" smtClean="0">
                <a:solidFill>
                  <a:srgbClr val="51595F">
                    <a:tint val="75000"/>
                  </a:srgbClr>
                </a:solidFill>
              </a:rPr>
              <a:pPr/>
              <a:t>‹#›</a:t>
            </a:fld>
            <a:endParaRPr lang="en-US">
              <a:solidFill>
                <a:srgbClr val="51595F">
                  <a:tint val="75000"/>
                </a:srgbClr>
              </a:solidFill>
            </a:endParaRPr>
          </a:p>
        </p:txBody>
      </p:sp>
    </p:spTree>
    <p:extLst>
      <p:ext uri="{BB962C8B-B14F-4D97-AF65-F5344CB8AC3E}">
        <p14:creationId xmlns:p14="http://schemas.microsoft.com/office/powerpoint/2010/main" val="420264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97581004"/>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9100" y="1219200"/>
            <a:ext cx="11353800" cy="47738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05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53302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6559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7339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35656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15906003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74873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7814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1170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36187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3D00D68-1772-4B26-A6B9-73A0D77C3192}"/>
              </a:ext>
            </a:extLst>
          </p:cNvPr>
          <p:cNvPicPr>
            <a:picLocks noChangeAspect="1"/>
          </p:cNvPicPr>
          <p:nvPr userDrawn="1"/>
        </p:nvPicPr>
        <p:blipFill rotWithShape="1">
          <a:blip r:embed="rId2"/>
          <a:srcRect t="2239" r="436"/>
          <a:stretch/>
        </p:blipFill>
        <p:spPr>
          <a:xfrm>
            <a:off x="0" y="0"/>
            <a:ext cx="12192000" cy="6864259"/>
          </a:xfrm>
          <a:prstGeom prst="rect">
            <a:avLst/>
          </a:prstGeom>
        </p:spPr>
      </p:pic>
      <p:sp>
        <p:nvSpPr>
          <p:cNvPr id="13" name="Rectangle 12">
            <a:extLst>
              <a:ext uri="{FF2B5EF4-FFF2-40B4-BE49-F238E27FC236}">
                <a16:creationId xmlns:a16="http://schemas.microsoft.com/office/drawing/2014/main" id="{C270170E-9DAD-487C-8F50-8A4C0FC5A4BD}"/>
              </a:ext>
            </a:extLst>
          </p:cNvPr>
          <p:cNvSpPr/>
          <p:nvPr userDrawn="1"/>
        </p:nvSpPr>
        <p:spPr bwMode="auto">
          <a:xfrm>
            <a:off x="-2" y="0"/>
            <a:ext cx="9905806" cy="6858000"/>
          </a:xfrm>
          <a:prstGeom prst="rect">
            <a:avLst/>
          </a:prstGeom>
          <a:gradFill flip="none" rotWithShape="1">
            <a:gsLst>
              <a:gs pos="0">
                <a:srgbClr val="000000">
                  <a:alpha val="48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a:stretch>
            <a:fillRect/>
          </a:stretch>
        </p:blipFill>
        <p:spPr>
          <a:xfrm>
            <a:off x="903012" y="243545"/>
            <a:ext cx="1629151" cy="599358"/>
          </a:xfrm>
          <a:prstGeom prst="rect">
            <a:avLst/>
          </a:prstGeom>
        </p:spPr>
      </p:pic>
      <p:pic>
        <p:nvPicPr>
          <p:cNvPr id="20" name="Picture 19">
            <a:extLst>
              <a:ext uri="{FF2B5EF4-FFF2-40B4-BE49-F238E27FC236}">
                <a16:creationId xmlns:a16="http://schemas.microsoft.com/office/drawing/2014/main" id="{E78084F0-2676-4C0F-8AB8-0AFFB08C2876}"/>
              </a:ext>
            </a:extLst>
          </p:cNvPr>
          <p:cNvPicPr>
            <a:picLocks noChangeAspect="1"/>
          </p:cNvPicPr>
          <p:nvPr userDrawn="1"/>
        </p:nvPicPr>
        <p:blipFill>
          <a:blip r:embed="rId4"/>
          <a:stretch>
            <a:fillRect/>
          </a:stretch>
        </p:blipFill>
        <p:spPr>
          <a:xfrm>
            <a:off x="1049054" y="1015514"/>
            <a:ext cx="1870457" cy="344214"/>
          </a:xfrm>
          <a:prstGeom prst="rect">
            <a:avLst/>
          </a:prstGeom>
        </p:spPr>
      </p:pic>
      <p:pic>
        <p:nvPicPr>
          <p:cNvPr id="21" name="Picture 20">
            <a:extLst>
              <a:ext uri="{FF2B5EF4-FFF2-40B4-BE49-F238E27FC236}">
                <a16:creationId xmlns:a16="http://schemas.microsoft.com/office/drawing/2014/main" id="{7FC49414-8F25-4613-B02C-DE3A4CD30607}"/>
              </a:ext>
            </a:extLst>
          </p:cNvPr>
          <p:cNvPicPr>
            <a:picLocks noChangeAspect="1"/>
          </p:cNvPicPr>
          <p:nvPr userDrawn="1"/>
        </p:nvPicPr>
        <p:blipFill rotWithShape="1">
          <a:blip r:embed="rId5"/>
          <a:srcRect l="5898" r="5773"/>
          <a:stretch/>
        </p:blipFill>
        <p:spPr>
          <a:xfrm>
            <a:off x="688717" y="0"/>
            <a:ext cx="10756263" cy="6858000"/>
          </a:xfrm>
          <a:prstGeom prst="rect">
            <a:avLst/>
          </a:prstGeom>
          <a:gradFill>
            <a:gsLst>
              <a:gs pos="36000">
                <a:schemeClr val="accent2">
                  <a:alpha val="0"/>
                </a:schemeClr>
              </a:gs>
              <a:gs pos="100000">
                <a:schemeClr val="accent2">
                  <a:alpha val="0"/>
                </a:schemeClr>
              </a:gs>
            </a:gsLst>
            <a:lin ang="0" scaled="1"/>
          </a:gradFill>
        </p:spPr>
      </p:pic>
      <p:sp>
        <p:nvSpPr>
          <p:cNvPr id="5" name="Rectangle 4">
            <a:extLst>
              <a:ext uri="{FF2B5EF4-FFF2-40B4-BE49-F238E27FC236}">
                <a16:creationId xmlns:a16="http://schemas.microsoft.com/office/drawing/2014/main" id="{F908484A-B774-49CD-96F4-0DC2C66F60C1}"/>
              </a:ext>
            </a:extLst>
          </p:cNvPr>
          <p:cNvSpPr/>
          <p:nvPr userDrawn="1"/>
        </p:nvSpPr>
        <p:spPr bwMode="auto">
          <a:xfrm>
            <a:off x="1" y="1968134"/>
            <a:ext cx="7291232" cy="3761052"/>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881149" y="4518926"/>
            <a:ext cx="6260678" cy="1019980"/>
          </a:xfrm>
        </p:spPr>
        <p:txBody>
          <a:bodyPr anchor="b"/>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866854"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pic>
        <p:nvPicPr>
          <p:cNvPr id="24" name="Picture 23">
            <a:extLst>
              <a:ext uri="{FF2B5EF4-FFF2-40B4-BE49-F238E27FC236}">
                <a16:creationId xmlns:a16="http://schemas.microsoft.com/office/drawing/2014/main" id="{CA0E6594-1BA1-45D3-9B75-C69276B33293}"/>
              </a:ext>
            </a:extLst>
          </p:cNvPr>
          <p:cNvPicPr>
            <a:picLocks noChangeAspect="1"/>
          </p:cNvPicPr>
          <p:nvPr userDrawn="1"/>
        </p:nvPicPr>
        <p:blipFill rotWithShape="1">
          <a:blip r:embed="rId5"/>
          <a:srcRect l="153" r="93833"/>
          <a:stretch/>
        </p:blipFill>
        <p:spPr>
          <a:xfrm>
            <a:off x="0" y="0"/>
            <a:ext cx="732444" cy="6858000"/>
          </a:xfrm>
          <a:prstGeom prst="rect">
            <a:avLst/>
          </a:prstGeom>
          <a:gradFill>
            <a:gsLst>
              <a:gs pos="36000">
                <a:schemeClr val="accent2">
                  <a:alpha val="0"/>
                </a:schemeClr>
              </a:gs>
              <a:gs pos="100000">
                <a:schemeClr val="accent2">
                  <a:alpha val="0"/>
                </a:schemeClr>
              </a:gs>
            </a:gsLst>
            <a:lin ang="0" scaled="1"/>
          </a:gradFill>
        </p:spPr>
      </p:pic>
    </p:spTree>
    <p:extLst>
      <p:ext uri="{BB962C8B-B14F-4D97-AF65-F5344CB8AC3E}">
        <p14:creationId xmlns:p14="http://schemas.microsoft.com/office/powerpoint/2010/main" val="2938033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217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0411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64350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8994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68137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98183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3278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34440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032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61760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15939195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DA49A99-4E38-4CC4-A3D5-0CE4BA36F4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5568"/>
          <a:stretch/>
        </p:blipFill>
        <p:spPr>
          <a:xfrm>
            <a:off x="0" y="0"/>
            <a:ext cx="12192000" cy="6864259"/>
          </a:xfrm>
          <a:prstGeom prst="rect">
            <a:avLst/>
          </a:prstGeom>
        </p:spPr>
      </p:pic>
      <p:sp>
        <p:nvSpPr>
          <p:cNvPr id="56" name="Rectangle 55">
            <a:extLst>
              <a:ext uri="{FF2B5EF4-FFF2-40B4-BE49-F238E27FC236}">
                <a16:creationId xmlns:a16="http://schemas.microsoft.com/office/drawing/2014/main" id="{CCDE3AE8-66EF-45BC-8B36-5F218F06C432}"/>
              </a:ext>
            </a:extLst>
          </p:cNvPr>
          <p:cNvSpPr/>
          <p:nvPr userDrawn="1"/>
        </p:nvSpPr>
        <p:spPr bwMode="auto">
          <a:xfrm>
            <a:off x="-1" y="0"/>
            <a:ext cx="9457594" cy="6858000"/>
          </a:xfrm>
          <a:prstGeom prst="rect">
            <a:avLst/>
          </a:prstGeom>
          <a:gradFill>
            <a:gsLst>
              <a:gs pos="0">
                <a:schemeClr val="accent2">
                  <a:alpha val="17000"/>
                </a:schemeClr>
              </a:gs>
              <a:gs pos="100000">
                <a:schemeClr val="accent2">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DE71E06A-6F53-422E-87A5-834712AC7EC4}"/>
              </a:ext>
            </a:extLst>
          </p:cNvPr>
          <p:cNvSpPr/>
          <p:nvPr userDrawn="1"/>
        </p:nvSpPr>
        <p:spPr bwMode="auto">
          <a:xfrm>
            <a:off x="-7292" y="1935241"/>
            <a:ext cx="8643162" cy="3815812"/>
          </a:xfrm>
          <a:prstGeom prst="rect">
            <a:avLst/>
          </a:prstGeom>
          <a:gradFill flip="none" rotWithShape="1">
            <a:gsLst>
              <a:gs pos="0">
                <a:schemeClr val="bg1">
                  <a:alpha val="84000"/>
                </a:schemeClr>
              </a:gs>
              <a:gs pos="100000">
                <a:schemeClr val="bg1">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B127EF9B-178D-461F-991D-7B407E1F93F0}"/>
              </a:ext>
            </a:extLst>
          </p:cNvPr>
          <p:cNvPicPr>
            <a:picLocks noChangeAspect="1"/>
          </p:cNvPicPr>
          <p:nvPr userDrawn="1"/>
        </p:nvPicPr>
        <p:blipFill rotWithShape="1">
          <a:blip r:embed="rId3"/>
          <a:srcRect l="153" r="5773"/>
          <a:stretch/>
        </p:blipFill>
        <p:spPr>
          <a:xfrm>
            <a:off x="-10932" y="0"/>
            <a:ext cx="11455911" cy="6858000"/>
          </a:xfrm>
          <a:prstGeom prst="rect">
            <a:avLst/>
          </a:prstGeom>
          <a:gradFill>
            <a:gsLst>
              <a:gs pos="36000">
                <a:schemeClr val="accent2">
                  <a:alpha val="0"/>
                </a:schemeClr>
              </a:gs>
              <a:gs pos="100000">
                <a:schemeClr val="accent2">
                  <a:alpha val="0"/>
                </a:schemeClr>
              </a:gs>
            </a:gsLst>
            <a:lin ang="0" scaled="1"/>
          </a:gradFill>
        </p:spPr>
      </p:pic>
      <p:pic>
        <p:nvPicPr>
          <p:cNvPr id="14" name="Picture 13">
            <a:extLst>
              <a:ext uri="{FF2B5EF4-FFF2-40B4-BE49-F238E27FC236}">
                <a16:creationId xmlns:a16="http://schemas.microsoft.com/office/drawing/2014/main" id="{7416E68E-7BEC-43A3-93E5-7863416FBA1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1097632" y="407119"/>
            <a:ext cx="1270554" cy="272209"/>
          </a:xfrm>
          <a:prstGeom prst="rect">
            <a:avLst/>
          </a:prstGeom>
        </p:spPr>
      </p:pic>
      <p:pic>
        <p:nvPicPr>
          <p:cNvPr id="8" name="Picture 7">
            <a:extLst>
              <a:ext uri="{FF2B5EF4-FFF2-40B4-BE49-F238E27FC236}">
                <a16:creationId xmlns:a16="http://schemas.microsoft.com/office/drawing/2014/main" id="{AA367F13-66FD-45B8-A8E4-1BA18EB80D4B}"/>
              </a:ext>
            </a:extLst>
          </p:cNvPr>
          <p:cNvPicPr>
            <a:picLocks noChangeAspect="1"/>
          </p:cNvPicPr>
          <p:nvPr userDrawn="1"/>
        </p:nvPicPr>
        <p:blipFill>
          <a:blip r:embed="rId5"/>
          <a:stretch>
            <a:fillRect/>
          </a:stretch>
        </p:blipFill>
        <p:spPr>
          <a:xfrm>
            <a:off x="1038122" y="1006230"/>
            <a:ext cx="1878161" cy="365667"/>
          </a:xfrm>
          <a:prstGeom prst="rect">
            <a:avLst/>
          </a:prstGeom>
        </p:spPr>
      </p:pic>
      <p:sp>
        <p:nvSpPr>
          <p:cNvPr id="22" name="Text Placeholder 6"/>
          <p:cNvSpPr>
            <a:spLocks noGrp="1"/>
          </p:cNvSpPr>
          <p:nvPr>
            <p:ph type="body" sz="quarter" idx="12" hasCustomPrompt="1"/>
          </p:nvPr>
        </p:nvSpPr>
        <p:spPr>
          <a:xfrm>
            <a:off x="881151" y="4518926"/>
            <a:ext cx="6260677" cy="1019980"/>
          </a:xfrm>
        </p:spPr>
        <p:txBody>
          <a:bodyPr anchor="b"/>
          <a:lstStyle>
            <a:lvl1pPr marL="0" indent="0">
              <a:buNone/>
              <a:defRPr sz="2353">
                <a:solidFill>
                  <a:schemeClr val="accent2"/>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866855" y="2084171"/>
            <a:ext cx="6275849" cy="2120726"/>
          </a:xfrm>
        </p:spPr>
        <p:txBody>
          <a:bodyPr anchor="b"/>
          <a:lstStyle>
            <a:lvl1pPr marL="0" indent="0">
              <a:buNone/>
              <a:defRPr lang="en-US" sz="4312" kern="1200" spc="0" baseline="0" dirty="0">
                <a:solidFill>
                  <a:schemeClr val="accent2"/>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spTree>
    <p:extLst>
      <p:ext uri="{BB962C8B-B14F-4D97-AF65-F5344CB8AC3E}">
        <p14:creationId xmlns:p14="http://schemas.microsoft.com/office/powerpoint/2010/main" val="3924381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412007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7271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97006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Tree>
    <p:extLst>
      <p:ext uri="{BB962C8B-B14F-4D97-AF65-F5344CB8AC3E}">
        <p14:creationId xmlns:p14="http://schemas.microsoft.com/office/powerpoint/2010/main" val="1175586837"/>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22232" t="3323" r="16781" b="15360"/>
          <a:stretch/>
        </p:blipFill>
        <p:spPr>
          <a:xfrm flipH="1">
            <a:off x="0" y="0"/>
            <a:ext cx="12192000" cy="6858000"/>
          </a:xfrm>
          <a:prstGeom prst="rect">
            <a:avLst/>
          </a:prstGeom>
        </p:spPr>
      </p:pic>
      <p:sp>
        <p:nvSpPr>
          <p:cNvPr id="13" name="Freeform 5"/>
          <p:cNvSpPr>
            <a:spLocks noChangeAspect="1"/>
          </p:cNvSpPr>
          <p:nvPr userDrawn="1"/>
        </p:nvSpPr>
        <p:spPr bwMode="gray">
          <a:xfrm rot="10800000">
            <a:off x="6240592" y="711259"/>
            <a:ext cx="5360859" cy="3193767"/>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10"/>
              <a:gd name="connsiteY0" fmla="*/ 0 h 10007"/>
              <a:gd name="connsiteX1" fmla="*/ 0 w 10010"/>
              <a:gd name="connsiteY1" fmla="*/ 10007 h 10007"/>
              <a:gd name="connsiteX2" fmla="*/ 10000 w 10010"/>
              <a:gd name="connsiteY2" fmla="*/ 7911 h 10007"/>
              <a:gd name="connsiteX3" fmla="*/ 10010 w 10010"/>
              <a:gd name="connsiteY3" fmla="*/ 7218 h 10007"/>
              <a:gd name="connsiteX4" fmla="*/ 10000 w 10010"/>
              <a:gd name="connsiteY4" fmla="*/ 7 h 10007"/>
              <a:gd name="connsiteX5" fmla="*/ 6 w 10010"/>
              <a:gd name="connsiteY5" fmla="*/ 0 h 10007"/>
              <a:gd name="connsiteX0" fmla="*/ 6 w 10010"/>
              <a:gd name="connsiteY0" fmla="*/ 0 h 10007"/>
              <a:gd name="connsiteX1" fmla="*/ 0 w 10010"/>
              <a:gd name="connsiteY1" fmla="*/ 10007 h 10007"/>
              <a:gd name="connsiteX2" fmla="*/ 10010 w 10010"/>
              <a:gd name="connsiteY2" fmla="*/ 7218 h 10007"/>
              <a:gd name="connsiteX3" fmla="*/ 10000 w 10010"/>
              <a:gd name="connsiteY3" fmla="*/ 7 h 10007"/>
              <a:gd name="connsiteX4" fmla="*/ 6 w 10010"/>
              <a:gd name="connsiteY4" fmla="*/ 0 h 10007"/>
              <a:gd name="connsiteX0" fmla="*/ 11 w 10015"/>
              <a:gd name="connsiteY0" fmla="*/ 0 h 10007"/>
              <a:gd name="connsiteX1" fmla="*/ 5 w 10015"/>
              <a:gd name="connsiteY1" fmla="*/ 10007 h 10007"/>
              <a:gd name="connsiteX2" fmla="*/ 10015 w 10015"/>
              <a:gd name="connsiteY2" fmla="*/ 7218 h 10007"/>
              <a:gd name="connsiteX3" fmla="*/ 10005 w 10015"/>
              <a:gd name="connsiteY3" fmla="*/ 7 h 10007"/>
              <a:gd name="connsiteX4" fmla="*/ 11 w 10015"/>
              <a:gd name="connsiteY4" fmla="*/ 0 h 10007"/>
              <a:gd name="connsiteX0" fmla="*/ 742 w 10746"/>
              <a:gd name="connsiteY0" fmla="*/ 0 h 10393"/>
              <a:gd name="connsiteX1" fmla="*/ 753 w 10746"/>
              <a:gd name="connsiteY1" fmla="*/ 9270 h 10393"/>
              <a:gd name="connsiteX2" fmla="*/ 736 w 10746"/>
              <a:gd name="connsiteY2" fmla="*/ 10007 h 10393"/>
              <a:gd name="connsiteX3" fmla="*/ 10746 w 10746"/>
              <a:gd name="connsiteY3" fmla="*/ 7218 h 10393"/>
              <a:gd name="connsiteX4" fmla="*/ 10736 w 10746"/>
              <a:gd name="connsiteY4" fmla="*/ 7 h 10393"/>
              <a:gd name="connsiteX5" fmla="*/ 742 w 10746"/>
              <a:gd name="connsiteY5" fmla="*/ 0 h 10393"/>
              <a:gd name="connsiteX0" fmla="*/ 742 w 10746"/>
              <a:gd name="connsiteY0" fmla="*/ 0 h 10393"/>
              <a:gd name="connsiteX1" fmla="*/ 753 w 10746"/>
              <a:gd name="connsiteY1" fmla="*/ 9270 h 10393"/>
              <a:gd name="connsiteX2" fmla="*/ 736 w 10746"/>
              <a:gd name="connsiteY2" fmla="*/ 10007 h 10393"/>
              <a:gd name="connsiteX3" fmla="*/ 10746 w 10746"/>
              <a:gd name="connsiteY3" fmla="*/ 7218 h 10393"/>
              <a:gd name="connsiteX4" fmla="*/ 10736 w 10746"/>
              <a:gd name="connsiteY4" fmla="*/ 7 h 10393"/>
              <a:gd name="connsiteX5" fmla="*/ 742 w 10746"/>
              <a:gd name="connsiteY5" fmla="*/ 0 h 10393"/>
              <a:gd name="connsiteX0" fmla="*/ 742 w 10746"/>
              <a:gd name="connsiteY0" fmla="*/ 0 h 10393"/>
              <a:gd name="connsiteX1" fmla="*/ 753 w 10746"/>
              <a:gd name="connsiteY1" fmla="*/ 9270 h 10393"/>
              <a:gd name="connsiteX2" fmla="*/ 736 w 10746"/>
              <a:gd name="connsiteY2" fmla="*/ 10007 h 10393"/>
              <a:gd name="connsiteX3" fmla="*/ 10746 w 10746"/>
              <a:gd name="connsiteY3" fmla="*/ 7218 h 10393"/>
              <a:gd name="connsiteX4" fmla="*/ 10736 w 10746"/>
              <a:gd name="connsiteY4" fmla="*/ 7 h 10393"/>
              <a:gd name="connsiteX5" fmla="*/ 742 w 10746"/>
              <a:gd name="connsiteY5" fmla="*/ 0 h 10393"/>
              <a:gd name="connsiteX0" fmla="*/ 731 w 10735"/>
              <a:gd name="connsiteY0" fmla="*/ 0 h 9675"/>
              <a:gd name="connsiteX1" fmla="*/ 742 w 10735"/>
              <a:gd name="connsiteY1" fmla="*/ 9270 h 9675"/>
              <a:gd name="connsiteX2" fmla="*/ 10735 w 10735"/>
              <a:gd name="connsiteY2" fmla="*/ 7218 h 9675"/>
              <a:gd name="connsiteX3" fmla="*/ 10725 w 10735"/>
              <a:gd name="connsiteY3" fmla="*/ 7 h 9675"/>
              <a:gd name="connsiteX4" fmla="*/ 731 w 10735"/>
              <a:gd name="connsiteY4" fmla="*/ 0 h 9675"/>
              <a:gd name="connsiteX0" fmla="*/ 681 w 10000"/>
              <a:gd name="connsiteY0" fmla="*/ 0 h 9581"/>
              <a:gd name="connsiteX1" fmla="*/ 691 w 10000"/>
              <a:gd name="connsiteY1" fmla="*/ 9581 h 9581"/>
              <a:gd name="connsiteX2" fmla="*/ 10000 w 10000"/>
              <a:gd name="connsiteY2" fmla="*/ 7460 h 9581"/>
              <a:gd name="connsiteX3" fmla="*/ 9991 w 10000"/>
              <a:gd name="connsiteY3" fmla="*/ 7 h 9581"/>
              <a:gd name="connsiteX4" fmla="*/ 681 w 10000"/>
              <a:gd name="connsiteY4" fmla="*/ 0 h 9581"/>
              <a:gd name="connsiteX0" fmla="*/ 681 w 10000"/>
              <a:gd name="connsiteY0" fmla="*/ 0 h 10000"/>
              <a:gd name="connsiteX1" fmla="*/ 691 w 10000"/>
              <a:gd name="connsiteY1" fmla="*/ 10000 h 10000"/>
              <a:gd name="connsiteX2" fmla="*/ 10000 w 10000"/>
              <a:gd name="connsiteY2" fmla="*/ 7786 h 10000"/>
              <a:gd name="connsiteX3" fmla="*/ 9991 w 10000"/>
              <a:gd name="connsiteY3" fmla="*/ 7 h 10000"/>
              <a:gd name="connsiteX4" fmla="*/ 681 w 10000"/>
              <a:gd name="connsiteY4" fmla="*/ 0 h 10000"/>
              <a:gd name="connsiteX0" fmla="*/ 0 w 9319"/>
              <a:gd name="connsiteY0" fmla="*/ 0 h 10000"/>
              <a:gd name="connsiteX1" fmla="*/ 10 w 9319"/>
              <a:gd name="connsiteY1" fmla="*/ 10000 h 10000"/>
              <a:gd name="connsiteX2" fmla="*/ 9319 w 9319"/>
              <a:gd name="connsiteY2" fmla="*/ 7786 h 10000"/>
              <a:gd name="connsiteX3" fmla="*/ 9310 w 9319"/>
              <a:gd name="connsiteY3" fmla="*/ 7 h 10000"/>
              <a:gd name="connsiteX4" fmla="*/ 0 w 93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9" h="10000">
                <a:moveTo>
                  <a:pt x="0" y="0"/>
                </a:moveTo>
                <a:cubicBezTo>
                  <a:pt x="9" y="2143"/>
                  <a:pt x="2" y="2022"/>
                  <a:pt x="10" y="10000"/>
                </a:cubicBezTo>
                <a:lnTo>
                  <a:pt x="9319" y="7786"/>
                </a:lnTo>
                <a:cubicBezTo>
                  <a:pt x="9316" y="5194"/>
                  <a:pt x="9312" y="2601"/>
                  <a:pt x="9310" y="7"/>
                </a:cubicBez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 name="Title 1"/>
          <p:cNvSpPr>
            <a:spLocks noGrp="1"/>
          </p:cNvSpPr>
          <p:nvPr>
            <p:ph type="ctrTitle"/>
          </p:nvPr>
        </p:nvSpPr>
        <p:spPr>
          <a:xfrm>
            <a:off x="6555460" y="1702811"/>
            <a:ext cx="4666888" cy="762442"/>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6555462" y="2690364"/>
            <a:ext cx="4666887" cy="572223"/>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a:p>
        </p:txBody>
      </p:sp>
      <p:sp>
        <p:nvSpPr>
          <p:cNvPr id="7" name="AutoShape 3"/>
          <p:cNvSpPr>
            <a:spLocks noChangeAspect="1" noChangeArrowheads="1" noTextEdit="1"/>
          </p:cNvSpPr>
          <p:nvPr userDrawn="1"/>
        </p:nvSpPr>
        <p:spPr bwMode="auto">
          <a:xfrm>
            <a:off x="10280651" y="5321300"/>
            <a:ext cx="1316567"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4" name="Freeform 5"/>
          <p:cNvSpPr>
            <a:spLocks/>
          </p:cNvSpPr>
          <p:nvPr userDrawn="1"/>
        </p:nvSpPr>
        <p:spPr bwMode="auto">
          <a:xfrm>
            <a:off x="10280651" y="5321301"/>
            <a:ext cx="1054100" cy="288925"/>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800"/>
          </a:p>
        </p:txBody>
      </p:sp>
      <p:sp>
        <p:nvSpPr>
          <p:cNvPr id="15" name="Freeform 6"/>
          <p:cNvSpPr>
            <a:spLocks noEditPoints="1"/>
          </p:cNvSpPr>
          <p:nvPr userDrawn="1"/>
        </p:nvSpPr>
        <p:spPr bwMode="auto">
          <a:xfrm>
            <a:off x="10280651" y="5730876"/>
            <a:ext cx="1316567" cy="747713"/>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endParaRPr lang="en-IN" sz="180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75840" y="5870977"/>
            <a:ext cx="2786091" cy="768635"/>
          </a:xfrm>
          <a:prstGeom prst="rect">
            <a:avLst/>
          </a:prstGeom>
        </p:spPr>
      </p:pic>
    </p:spTree>
    <p:extLst>
      <p:ext uri="{BB962C8B-B14F-4D97-AF65-F5344CB8AC3E}">
        <p14:creationId xmlns:p14="http://schemas.microsoft.com/office/powerpoint/2010/main" val="323100500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79D332C-FF18-449A-B043-1042FBC4E800}"/>
              </a:ext>
            </a:extLst>
          </p:cNvPr>
          <p:cNvPicPr>
            <a:picLocks noChangeAspect="1"/>
          </p:cNvPicPr>
          <p:nvPr userDrawn="1"/>
        </p:nvPicPr>
        <p:blipFill>
          <a:blip r:embed="rId2"/>
          <a:stretch>
            <a:fillRect/>
          </a:stretch>
        </p:blipFill>
        <p:spPr bwMode="black">
          <a:xfrm>
            <a:off x="418642" y="6240074"/>
            <a:ext cx="1454257" cy="304828"/>
          </a:xfrm>
          <a:prstGeom prst="rect">
            <a:avLst/>
          </a:prstGeom>
        </p:spPr>
      </p:pic>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TextBox 7">
            <a:extLst>
              <a:ext uri="{FF2B5EF4-FFF2-40B4-BE49-F238E27FC236}">
                <a16:creationId xmlns:a16="http://schemas.microsoft.com/office/drawing/2014/main" id="{7677A20A-310C-4811-9F48-DFD5161EC969}"/>
              </a:ext>
            </a:extLst>
          </p:cNvPr>
          <p:cNvSpPr txBox="1"/>
          <p:nvPr userDrawn="1"/>
        </p:nvSpPr>
        <p:spPr>
          <a:xfrm>
            <a:off x="267682" y="319026"/>
            <a:ext cx="4183316" cy="561290"/>
          </a:xfrm>
          <a:prstGeom prst="rect">
            <a:avLst/>
          </a:prstGeom>
          <a:noFill/>
        </p:spPr>
        <p:txBody>
          <a:bodyPr wrap="square" lIns="179285" tIns="143428" rIns="179285" bIns="143428" rtlCol="0">
            <a:spAutoFit/>
          </a:bodyPr>
          <a:lstStyle/>
          <a:p>
            <a:pPr algn="l">
              <a:lnSpc>
                <a:spcPct val="90000"/>
              </a:lnSpc>
              <a:spcAft>
                <a:spcPts val="588"/>
              </a:spcAft>
            </a:pPr>
            <a:r>
              <a:rPr lang="en-US" sz="1961">
                <a:solidFill>
                  <a:schemeClr val="tx1"/>
                </a:solidFill>
              </a:rPr>
              <a:t>One Commercial Partner</a:t>
            </a:r>
          </a:p>
        </p:txBody>
      </p:sp>
    </p:spTree>
    <p:extLst>
      <p:ext uri="{BB962C8B-B14F-4D97-AF65-F5344CB8AC3E}">
        <p14:creationId xmlns:p14="http://schemas.microsoft.com/office/powerpoint/2010/main" val="97106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6" name="Picture 5">
            <a:extLst>
              <a:ext uri="{FF2B5EF4-FFF2-40B4-BE49-F238E27FC236}">
                <a16:creationId xmlns:a16="http://schemas.microsoft.com/office/drawing/2014/main" id="{16899587-CE56-42C4-9B59-267552266EA8}"/>
              </a:ext>
            </a:extLst>
          </p:cNvPr>
          <p:cNvPicPr>
            <a:picLocks noChangeAspect="1"/>
          </p:cNvPicPr>
          <p:nvPr userDrawn="1"/>
        </p:nvPicPr>
        <p:blipFill>
          <a:blip r:embed="rId2"/>
          <a:stretch>
            <a:fillRect/>
          </a:stretch>
        </p:blipFill>
        <p:spPr bwMode="black">
          <a:xfrm>
            <a:off x="418642" y="6240074"/>
            <a:ext cx="1454257" cy="304828"/>
          </a:xfrm>
          <a:prstGeom prst="rect">
            <a:avLst/>
          </a:prstGeom>
        </p:spPr>
      </p:pic>
      <p:sp>
        <p:nvSpPr>
          <p:cNvPr id="7" name="TextBox 6">
            <a:extLst>
              <a:ext uri="{FF2B5EF4-FFF2-40B4-BE49-F238E27FC236}">
                <a16:creationId xmlns:a16="http://schemas.microsoft.com/office/drawing/2014/main" id="{1D51154D-FA7F-4F8D-B4BF-7A7DC81424EE}"/>
              </a:ext>
            </a:extLst>
          </p:cNvPr>
          <p:cNvSpPr txBox="1"/>
          <p:nvPr userDrawn="1"/>
        </p:nvSpPr>
        <p:spPr>
          <a:xfrm>
            <a:off x="267682" y="319026"/>
            <a:ext cx="4183316" cy="561290"/>
          </a:xfrm>
          <a:prstGeom prst="rect">
            <a:avLst/>
          </a:prstGeom>
          <a:noFill/>
        </p:spPr>
        <p:txBody>
          <a:bodyPr wrap="square" lIns="179285" tIns="143428" rIns="179285" bIns="143428" rtlCol="0">
            <a:spAutoFit/>
          </a:bodyPr>
          <a:lstStyle/>
          <a:p>
            <a:pPr algn="l">
              <a:lnSpc>
                <a:spcPct val="90000"/>
              </a:lnSpc>
              <a:spcAft>
                <a:spcPts val="588"/>
              </a:spcAft>
            </a:pPr>
            <a:r>
              <a:rPr lang="en-US" sz="1961">
                <a:solidFill>
                  <a:schemeClr val="tx1"/>
                </a:solidFill>
              </a:rPr>
              <a:t>One Commercial Partner</a:t>
            </a:r>
          </a:p>
        </p:txBody>
      </p:sp>
    </p:spTree>
    <p:extLst>
      <p:ext uri="{BB962C8B-B14F-4D97-AF65-F5344CB8AC3E}">
        <p14:creationId xmlns:p14="http://schemas.microsoft.com/office/powerpoint/2010/main" val="193439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TextBox 6">
            <a:extLst>
              <a:ext uri="{FF2B5EF4-FFF2-40B4-BE49-F238E27FC236}">
                <a16:creationId xmlns:a16="http://schemas.microsoft.com/office/drawing/2014/main" id="{1D51154D-FA7F-4F8D-B4BF-7A7DC81424EE}"/>
              </a:ext>
            </a:extLst>
          </p:cNvPr>
          <p:cNvSpPr txBox="1"/>
          <p:nvPr userDrawn="1"/>
        </p:nvSpPr>
        <p:spPr>
          <a:xfrm>
            <a:off x="267682" y="319026"/>
            <a:ext cx="4183316" cy="561290"/>
          </a:xfrm>
          <a:prstGeom prst="rect">
            <a:avLst/>
          </a:prstGeom>
          <a:noFill/>
        </p:spPr>
        <p:txBody>
          <a:bodyPr wrap="square" lIns="179285" tIns="143428" rIns="179285" bIns="143428" rtlCol="0">
            <a:spAutoFit/>
          </a:bodyPr>
          <a:lstStyle/>
          <a:p>
            <a:pPr algn="l">
              <a:lnSpc>
                <a:spcPct val="90000"/>
              </a:lnSpc>
              <a:spcAft>
                <a:spcPts val="588"/>
              </a:spcAft>
            </a:pPr>
            <a:r>
              <a:rPr lang="en-US" sz="1961">
                <a:solidFill>
                  <a:schemeClr val="tx1"/>
                </a:solidFill>
              </a:rPr>
              <a:t>One Commercial Partner</a:t>
            </a:r>
          </a:p>
        </p:txBody>
      </p:sp>
      <p:pic>
        <p:nvPicPr>
          <p:cNvPr id="3" name="Picture 2">
            <a:extLst>
              <a:ext uri="{FF2B5EF4-FFF2-40B4-BE49-F238E27FC236}">
                <a16:creationId xmlns:a16="http://schemas.microsoft.com/office/drawing/2014/main" id="{3DE3FDAC-7070-4662-A24C-C64CD1171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02" y="5925124"/>
            <a:ext cx="2007327" cy="899699"/>
          </a:xfrm>
          <a:prstGeom prst="rect">
            <a:avLst/>
          </a:prstGeom>
        </p:spPr>
      </p:pic>
    </p:spTree>
    <p:extLst>
      <p:ext uri="{BB962C8B-B14F-4D97-AF65-F5344CB8AC3E}">
        <p14:creationId xmlns:p14="http://schemas.microsoft.com/office/powerpoint/2010/main" val="4159189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18643" y="6231496"/>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 name="TextBox 1">
            <a:extLst>
              <a:ext uri="{FF2B5EF4-FFF2-40B4-BE49-F238E27FC236}">
                <a16:creationId xmlns:a16="http://schemas.microsoft.com/office/drawing/2014/main" id="{8C2F8F42-FE6D-41EC-8F23-D15911779B0D}"/>
              </a:ext>
            </a:extLst>
          </p:cNvPr>
          <p:cNvSpPr txBox="1"/>
          <p:nvPr userDrawn="1"/>
        </p:nvSpPr>
        <p:spPr>
          <a:xfrm>
            <a:off x="267682" y="319026"/>
            <a:ext cx="4183316" cy="561290"/>
          </a:xfrm>
          <a:prstGeom prst="rect">
            <a:avLst/>
          </a:prstGeom>
          <a:noFill/>
        </p:spPr>
        <p:txBody>
          <a:bodyPr wrap="square" lIns="179285" tIns="143428" rIns="179285" bIns="143428" rtlCol="0">
            <a:spAutoFit/>
          </a:bodyPr>
          <a:lstStyle/>
          <a:p>
            <a:pPr algn="l">
              <a:lnSpc>
                <a:spcPct val="90000"/>
              </a:lnSpc>
              <a:spcAft>
                <a:spcPts val="588"/>
              </a:spcAft>
            </a:pPr>
            <a:r>
              <a:rPr lang="en-US" sz="1961">
                <a:solidFill>
                  <a:schemeClr val="tx1"/>
                </a:solidFill>
              </a:rPr>
              <a:t>One Commercial Partner</a:t>
            </a:r>
          </a:p>
        </p:txBody>
      </p:sp>
    </p:spTree>
    <p:extLst>
      <p:ext uri="{BB962C8B-B14F-4D97-AF65-F5344CB8AC3E}">
        <p14:creationId xmlns:p14="http://schemas.microsoft.com/office/powerpoint/2010/main" val="3734155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44511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DE60DF-1C84-46B7-888F-E571AA6FD169}"/>
              </a:ext>
            </a:extLst>
          </p:cNvPr>
          <p:cNvPicPr>
            <a:picLocks noChangeAspect="1"/>
          </p:cNvPicPr>
          <p:nvPr userDrawn="1"/>
        </p:nvPicPr>
        <p:blipFill>
          <a:blip r:embed="rId2"/>
          <a:stretch>
            <a:fillRect/>
          </a:stretch>
        </p:blipFill>
        <p:spPr>
          <a:xfrm>
            <a:off x="0" y="0"/>
            <a:ext cx="12184709" cy="6858000"/>
          </a:xfrm>
          <a:prstGeom prst="rect">
            <a:avLst/>
          </a:prstGeom>
        </p:spPr>
      </p:pic>
      <p:sp>
        <p:nvSpPr>
          <p:cNvPr id="22" name="Text Placeholder 6"/>
          <p:cNvSpPr>
            <a:spLocks noGrp="1"/>
          </p:cNvSpPr>
          <p:nvPr>
            <p:ph type="body" sz="quarter" idx="12" hasCustomPrompt="1"/>
          </p:nvPr>
        </p:nvSpPr>
        <p:spPr>
          <a:xfrm>
            <a:off x="241627" y="4518926"/>
            <a:ext cx="6260678" cy="1019980"/>
          </a:xfrm>
        </p:spPr>
        <p:txBody>
          <a:bodyPr anchor="b"/>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a:stretch>
            <a:fillRect/>
          </a:stretch>
        </p:blipFill>
        <p:spPr>
          <a:xfrm>
            <a:off x="9826963" y="6030427"/>
            <a:ext cx="1870457" cy="344214"/>
          </a:xfrm>
          <a:prstGeom prst="rect">
            <a:avLst/>
          </a:prstGeom>
        </p:spPr>
      </p:pic>
    </p:spTree>
    <p:extLst>
      <p:ext uri="{BB962C8B-B14F-4D97-AF65-F5344CB8AC3E}">
        <p14:creationId xmlns:p14="http://schemas.microsoft.com/office/powerpoint/2010/main" val="1170570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6178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031436583"/>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0629629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837386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00536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93899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2971360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99664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4138586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3376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23663739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69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410417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3581836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3847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A52F9-DE32-4656-BA29-5FF847C44D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E7A904-C750-4D5B-8AE9-936AC6A5F18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9E80AD-3D4E-4D49-8C45-0FCD672D7B1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978ABEC-D729-4BF0-B0F2-FE0399BE1178}" type="datetimeFigureOut">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2/19</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98ECA0B7-1F57-462B-A09B-015819C13DF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C6BE0621-6E91-47F4-BD72-17871D1E071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A860EB-CE3F-4344-98EA-03390E801A20}" type="slidenum">
              <a:rPr kumimoji="0" lang="en-US" sz="18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9205745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430593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0C343E-B20C-4EB9-8F5A-BC2578403B2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8234" t="12768" b="18234"/>
          <a:stretch/>
        </p:blipFill>
        <p:spPr>
          <a:xfrm flipH="1">
            <a:off x="0" y="0"/>
            <a:ext cx="12192000" cy="6858001"/>
          </a:xfrm>
          <a:prstGeom prst="rect">
            <a:avLst/>
          </a:prstGeom>
        </p:spPr>
      </p:pic>
      <p:sp>
        <p:nvSpPr>
          <p:cNvPr id="13" name="Rectangle 12">
            <a:extLst>
              <a:ext uri="{FF2B5EF4-FFF2-40B4-BE49-F238E27FC236}">
                <a16:creationId xmlns:a16="http://schemas.microsoft.com/office/drawing/2014/main" id="{C270170E-9DAD-487C-8F50-8A4C0FC5A4BD}"/>
              </a:ext>
            </a:extLst>
          </p:cNvPr>
          <p:cNvSpPr/>
          <p:nvPr userDrawn="1"/>
        </p:nvSpPr>
        <p:spPr bwMode="auto">
          <a:xfrm>
            <a:off x="-1" y="0"/>
            <a:ext cx="9905806" cy="6858000"/>
          </a:xfrm>
          <a:prstGeom prst="rect">
            <a:avLst/>
          </a:prstGeom>
          <a:gradFill flip="none" rotWithShape="1">
            <a:gsLst>
              <a:gs pos="26000">
                <a:schemeClr val="bg1">
                  <a:alpha val="93000"/>
                </a:schemeClr>
              </a:gs>
              <a:gs pos="100000">
                <a:schemeClr val="bg1">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F908484A-B774-49CD-96F4-0DC2C66F60C1}"/>
              </a:ext>
            </a:extLst>
          </p:cNvPr>
          <p:cNvSpPr/>
          <p:nvPr userDrawn="1"/>
        </p:nvSpPr>
        <p:spPr bwMode="auto">
          <a:xfrm>
            <a:off x="0" y="1968134"/>
            <a:ext cx="7440638" cy="370224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7416E68E-7BEC-43A3-93E5-7863416FBA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
        <p:nvSpPr>
          <p:cNvPr id="22" name="Text Placeholder 6"/>
          <p:cNvSpPr>
            <a:spLocks noGrp="1"/>
          </p:cNvSpPr>
          <p:nvPr>
            <p:ph type="body" sz="quarter" idx="12" hasCustomPrompt="1"/>
          </p:nvPr>
        </p:nvSpPr>
        <p:spPr>
          <a:xfrm>
            <a:off x="255659" y="4518926"/>
            <a:ext cx="6886169" cy="1019980"/>
          </a:xfrm>
        </p:spPr>
        <p:txBody>
          <a:bodyPr anchor="b"/>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9848" y="2084171"/>
            <a:ext cx="6902856"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pic>
        <p:nvPicPr>
          <p:cNvPr id="8" name="Picture 7">
            <a:extLst>
              <a:ext uri="{FF2B5EF4-FFF2-40B4-BE49-F238E27FC236}">
                <a16:creationId xmlns:a16="http://schemas.microsoft.com/office/drawing/2014/main" id="{AA367F13-66FD-45B8-A8E4-1BA18EB80D4B}"/>
              </a:ext>
            </a:extLst>
          </p:cNvPr>
          <p:cNvPicPr>
            <a:picLocks noChangeAspect="1"/>
          </p:cNvPicPr>
          <p:nvPr userDrawn="1"/>
        </p:nvPicPr>
        <p:blipFill>
          <a:blip r:embed="rId4"/>
          <a:stretch>
            <a:fillRect/>
          </a:stretch>
        </p:blipFill>
        <p:spPr>
          <a:xfrm>
            <a:off x="320955" y="931636"/>
            <a:ext cx="2666948" cy="475527"/>
          </a:xfrm>
          <a:prstGeom prst="rect">
            <a:avLst/>
          </a:prstGeom>
        </p:spPr>
      </p:pic>
    </p:spTree>
    <p:extLst>
      <p:ext uri="{BB962C8B-B14F-4D97-AF65-F5344CB8AC3E}">
        <p14:creationId xmlns:p14="http://schemas.microsoft.com/office/powerpoint/2010/main" val="26521235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DA49A99-4E38-4CC4-A3D5-0CE4BA36F4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5568"/>
          <a:stretch/>
        </p:blipFill>
        <p:spPr>
          <a:xfrm>
            <a:off x="0" y="0"/>
            <a:ext cx="12192000" cy="6864259"/>
          </a:xfrm>
          <a:prstGeom prst="rect">
            <a:avLst/>
          </a:prstGeom>
        </p:spPr>
      </p:pic>
      <p:grpSp>
        <p:nvGrpSpPr>
          <p:cNvPr id="10" name="Group 9">
            <a:extLst>
              <a:ext uri="{FF2B5EF4-FFF2-40B4-BE49-F238E27FC236}">
                <a16:creationId xmlns:a16="http://schemas.microsoft.com/office/drawing/2014/main" id="{7825A8C7-6063-4278-B88F-B32637BF485A}"/>
              </a:ext>
            </a:extLst>
          </p:cNvPr>
          <p:cNvGrpSpPr/>
          <p:nvPr userDrawn="1"/>
        </p:nvGrpSpPr>
        <p:grpSpPr>
          <a:xfrm>
            <a:off x="0" y="0"/>
            <a:ext cx="12192000" cy="6858000"/>
            <a:chOff x="0" y="0"/>
            <a:chExt cx="12436475" cy="6994525"/>
          </a:xfrm>
        </p:grpSpPr>
        <p:pic>
          <p:nvPicPr>
            <p:cNvPr id="12" name="Picture 11">
              <a:extLst>
                <a:ext uri="{FF2B5EF4-FFF2-40B4-BE49-F238E27FC236}">
                  <a16:creationId xmlns:a16="http://schemas.microsoft.com/office/drawing/2014/main" id="{E0C568FA-4150-4DF6-869D-22337073169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r="3106"/>
            <a:stretch/>
          </p:blipFill>
          <p:spPr>
            <a:xfrm>
              <a:off x="5659212" y="0"/>
              <a:ext cx="6777263" cy="6994525"/>
            </a:xfrm>
            <a:prstGeom prst="rect">
              <a:avLst/>
            </a:prstGeom>
          </p:spPr>
        </p:pic>
        <p:pic>
          <p:nvPicPr>
            <p:cNvPr id="15" name="Picture 14">
              <a:extLst>
                <a:ext uri="{FF2B5EF4-FFF2-40B4-BE49-F238E27FC236}">
                  <a16:creationId xmlns:a16="http://schemas.microsoft.com/office/drawing/2014/main" id="{8CEBF85A-7003-4043-BDB1-54905C4DD9E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l="18755"/>
            <a:stretch/>
          </p:blipFill>
          <p:spPr>
            <a:xfrm>
              <a:off x="0" y="0"/>
              <a:ext cx="5682702" cy="6994525"/>
            </a:xfrm>
            <a:prstGeom prst="rect">
              <a:avLst/>
            </a:prstGeom>
          </p:spPr>
        </p:pic>
      </p:grpSp>
      <p:sp>
        <p:nvSpPr>
          <p:cNvPr id="16" name="Rectangle 15">
            <a:extLst>
              <a:ext uri="{FF2B5EF4-FFF2-40B4-BE49-F238E27FC236}">
                <a16:creationId xmlns:a16="http://schemas.microsoft.com/office/drawing/2014/main" id="{DE71E06A-6F53-422E-87A5-834712AC7EC4}"/>
              </a:ext>
            </a:extLst>
          </p:cNvPr>
          <p:cNvSpPr/>
          <p:nvPr userDrawn="1"/>
        </p:nvSpPr>
        <p:spPr bwMode="auto">
          <a:xfrm>
            <a:off x="0" y="-2"/>
            <a:ext cx="9905806" cy="6880071"/>
          </a:xfrm>
          <a:prstGeom prst="rect">
            <a:avLst/>
          </a:prstGeom>
          <a:gradFill flip="none" rotWithShape="1">
            <a:gsLst>
              <a:gs pos="0">
                <a:schemeClr val="bg1">
                  <a:alpha val="80000"/>
                </a:schemeClr>
              </a:gs>
              <a:gs pos="100000">
                <a:schemeClr val="bg1">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0ABE4EFE-8755-49D6-83BB-1957CA50CD03}"/>
              </a:ext>
            </a:extLst>
          </p:cNvPr>
          <p:cNvGrpSpPr/>
          <p:nvPr userDrawn="1"/>
        </p:nvGrpSpPr>
        <p:grpSpPr>
          <a:xfrm>
            <a:off x="4261370" y="216356"/>
            <a:ext cx="7803530" cy="6568648"/>
            <a:chOff x="7854943" y="523302"/>
            <a:chExt cx="8222190" cy="6920075"/>
          </a:xfrm>
        </p:grpSpPr>
        <p:grpSp>
          <p:nvGrpSpPr>
            <p:cNvPr id="18" name="Group 17">
              <a:extLst>
                <a:ext uri="{FF2B5EF4-FFF2-40B4-BE49-F238E27FC236}">
                  <a16:creationId xmlns:a16="http://schemas.microsoft.com/office/drawing/2014/main" id="{79DAC36F-2651-4D22-9EEC-7B8A5C5E8699}"/>
                </a:ext>
              </a:extLst>
            </p:cNvPr>
            <p:cNvGrpSpPr/>
            <p:nvPr/>
          </p:nvGrpSpPr>
          <p:grpSpPr>
            <a:xfrm>
              <a:off x="11062227" y="523302"/>
              <a:ext cx="5014906" cy="5729131"/>
              <a:chOff x="11062227" y="523302"/>
              <a:chExt cx="5014906" cy="5729131"/>
            </a:xfrm>
          </p:grpSpPr>
          <p:grpSp>
            <p:nvGrpSpPr>
              <p:cNvPr id="44" name="Group 43">
                <a:extLst>
                  <a:ext uri="{FF2B5EF4-FFF2-40B4-BE49-F238E27FC236}">
                    <a16:creationId xmlns:a16="http://schemas.microsoft.com/office/drawing/2014/main" id="{DDA67EDC-8BBB-4E4E-8595-6D585ED26BCE}"/>
                  </a:ext>
                </a:extLst>
              </p:cNvPr>
              <p:cNvGrpSpPr/>
              <p:nvPr/>
            </p:nvGrpSpPr>
            <p:grpSpPr>
              <a:xfrm>
                <a:off x="14143037" y="2125662"/>
                <a:ext cx="1219200" cy="1219200"/>
                <a:chOff x="14143037" y="2125662"/>
                <a:chExt cx="1219200" cy="1219200"/>
              </a:xfrm>
            </p:grpSpPr>
            <p:sp>
              <p:nvSpPr>
                <p:cNvPr id="54" name="Oval 53">
                  <a:extLst>
                    <a:ext uri="{FF2B5EF4-FFF2-40B4-BE49-F238E27FC236}">
                      <a16:creationId xmlns:a16="http://schemas.microsoft.com/office/drawing/2014/main" id="{597138A9-FA64-4C71-8869-711F6C56FB77}"/>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215">
                  <a:extLst>
                    <a:ext uri="{FF2B5EF4-FFF2-40B4-BE49-F238E27FC236}">
                      <a16:creationId xmlns:a16="http://schemas.microsoft.com/office/drawing/2014/main" id="{A3B544EE-7544-4580-BE4C-55D411668BD7}"/>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45" name="Group 44">
                <a:extLst>
                  <a:ext uri="{FF2B5EF4-FFF2-40B4-BE49-F238E27FC236}">
                    <a16:creationId xmlns:a16="http://schemas.microsoft.com/office/drawing/2014/main" id="{C056C57A-4975-49BC-900C-8E31F4A489A0}"/>
                  </a:ext>
                </a:extLst>
              </p:cNvPr>
              <p:cNvGrpSpPr/>
              <p:nvPr/>
            </p:nvGrpSpPr>
            <p:grpSpPr>
              <a:xfrm>
                <a:off x="15362237" y="5537537"/>
                <a:ext cx="714896" cy="714896"/>
                <a:chOff x="14395189" y="818837"/>
                <a:chExt cx="714896" cy="714896"/>
              </a:xfrm>
            </p:grpSpPr>
            <p:sp>
              <p:nvSpPr>
                <p:cNvPr id="52" name="Oval 51">
                  <a:extLst>
                    <a:ext uri="{FF2B5EF4-FFF2-40B4-BE49-F238E27FC236}">
                      <a16:creationId xmlns:a16="http://schemas.microsoft.com/office/drawing/2014/main" id="{645FBBCA-1A7B-48C9-8B05-64586C9B18D3}"/>
                    </a:ext>
                  </a:extLst>
                </p:cNvPr>
                <p:cNvSpPr/>
                <p:nvPr/>
              </p:nvSpPr>
              <p:spPr bwMode="auto">
                <a:xfrm>
                  <a:off x="14395189" y="818837"/>
                  <a:ext cx="714896" cy="714896"/>
                </a:xfrm>
                <a:prstGeom prst="ellipse">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214">
                  <a:extLst>
                    <a:ext uri="{FF2B5EF4-FFF2-40B4-BE49-F238E27FC236}">
                      <a16:creationId xmlns:a16="http://schemas.microsoft.com/office/drawing/2014/main" id="{6B603209-A081-4B3E-9222-209B395A9C55}"/>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46" name="Group 45">
                <a:extLst>
                  <a:ext uri="{FF2B5EF4-FFF2-40B4-BE49-F238E27FC236}">
                    <a16:creationId xmlns:a16="http://schemas.microsoft.com/office/drawing/2014/main" id="{BC5ACEE1-E064-4ACA-9742-0EFA6F7F0A43}"/>
                  </a:ext>
                </a:extLst>
              </p:cNvPr>
              <p:cNvGrpSpPr/>
              <p:nvPr/>
            </p:nvGrpSpPr>
            <p:grpSpPr>
              <a:xfrm>
                <a:off x="11062227" y="523302"/>
                <a:ext cx="689548" cy="689548"/>
                <a:chOff x="14143037" y="2125662"/>
                <a:chExt cx="1219200" cy="1219200"/>
              </a:xfrm>
            </p:grpSpPr>
            <p:sp>
              <p:nvSpPr>
                <p:cNvPr id="50" name="Oval 49">
                  <a:extLst>
                    <a:ext uri="{FF2B5EF4-FFF2-40B4-BE49-F238E27FC236}">
                      <a16:creationId xmlns:a16="http://schemas.microsoft.com/office/drawing/2014/main" id="{B8C9D82C-4CC6-4D46-8980-657410FCB899}"/>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1" name="Freeform 215">
                  <a:extLst>
                    <a:ext uri="{FF2B5EF4-FFF2-40B4-BE49-F238E27FC236}">
                      <a16:creationId xmlns:a16="http://schemas.microsoft.com/office/drawing/2014/main" id="{CFF2B94B-08FC-4281-9A98-9911E200F1AF}"/>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2">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47" name="Group 46">
                <a:extLst>
                  <a:ext uri="{FF2B5EF4-FFF2-40B4-BE49-F238E27FC236}">
                    <a16:creationId xmlns:a16="http://schemas.microsoft.com/office/drawing/2014/main" id="{7F1E65A1-5C06-4728-A6A5-32C96CD8484A}"/>
                  </a:ext>
                </a:extLst>
              </p:cNvPr>
              <p:cNvGrpSpPr/>
              <p:nvPr/>
            </p:nvGrpSpPr>
            <p:grpSpPr>
              <a:xfrm>
                <a:off x="12859693" y="3797736"/>
                <a:ext cx="967048" cy="967048"/>
                <a:chOff x="14395189" y="818837"/>
                <a:chExt cx="714896" cy="714896"/>
              </a:xfrm>
            </p:grpSpPr>
            <p:sp>
              <p:nvSpPr>
                <p:cNvPr id="48" name="Oval 47">
                  <a:extLst>
                    <a:ext uri="{FF2B5EF4-FFF2-40B4-BE49-F238E27FC236}">
                      <a16:creationId xmlns:a16="http://schemas.microsoft.com/office/drawing/2014/main" id="{E1C76DA2-DAAA-4A1A-9980-F77DFCB314C0}"/>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214">
                  <a:extLst>
                    <a:ext uri="{FF2B5EF4-FFF2-40B4-BE49-F238E27FC236}">
                      <a16:creationId xmlns:a16="http://schemas.microsoft.com/office/drawing/2014/main" id="{907CB485-C405-4C10-A0DB-13A3BD0C891E}"/>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9" name="Group 18">
              <a:extLst>
                <a:ext uri="{FF2B5EF4-FFF2-40B4-BE49-F238E27FC236}">
                  <a16:creationId xmlns:a16="http://schemas.microsoft.com/office/drawing/2014/main" id="{AFBE1172-23B2-47B0-84C5-2B22AB937747}"/>
                </a:ext>
              </a:extLst>
            </p:cNvPr>
            <p:cNvGrpSpPr/>
            <p:nvPr/>
          </p:nvGrpSpPr>
          <p:grpSpPr>
            <a:xfrm>
              <a:off x="7854943" y="3631697"/>
              <a:ext cx="3216796" cy="3811680"/>
              <a:chOff x="5402548" y="785353"/>
              <a:chExt cx="3216796" cy="3811680"/>
            </a:xfrm>
          </p:grpSpPr>
          <p:grpSp>
            <p:nvGrpSpPr>
              <p:cNvPr id="32" name="Group 31">
                <a:extLst>
                  <a:ext uri="{FF2B5EF4-FFF2-40B4-BE49-F238E27FC236}">
                    <a16:creationId xmlns:a16="http://schemas.microsoft.com/office/drawing/2014/main" id="{1A29EDF1-E784-479E-8AFB-6B202AEF654B}"/>
                  </a:ext>
                </a:extLst>
              </p:cNvPr>
              <p:cNvGrpSpPr/>
              <p:nvPr/>
            </p:nvGrpSpPr>
            <p:grpSpPr>
              <a:xfrm>
                <a:off x="7724566" y="2287873"/>
                <a:ext cx="894778" cy="894778"/>
                <a:chOff x="14143037" y="2125662"/>
                <a:chExt cx="1219200" cy="1219200"/>
              </a:xfrm>
            </p:grpSpPr>
            <p:sp>
              <p:nvSpPr>
                <p:cNvPr id="42" name="Oval 41">
                  <a:extLst>
                    <a:ext uri="{FF2B5EF4-FFF2-40B4-BE49-F238E27FC236}">
                      <a16:creationId xmlns:a16="http://schemas.microsoft.com/office/drawing/2014/main" id="{38E0C280-4C2C-455C-88F3-1198FABFEE52}"/>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215">
                  <a:extLst>
                    <a:ext uri="{FF2B5EF4-FFF2-40B4-BE49-F238E27FC236}">
                      <a16:creationId xmlns:a16="http://schemas.microsoft.com/office/drawing/2014/main" id="{34F158D7-6835-4E73-A544-DEA691AE9085}"/>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3" name="Group 32">
                <a:extLst>
                  <a:ext uri="{FF2B5EF4-FFF2-40B4-BE49-F238E27FC236}">
                    <a16:creationId xmlns:a16="http://schemas.microsoft.com/office/drawing/2014/main" id="{506F72A4-BCCF-436E-A3FD-FAD0012704D6}"/>
                  </a:ext>
                </a:extLst>
              </p:cNvPr>
              <p:cNvGrpSpPr/>
              <p:nvPr/>
            </p:nvGrpSpPr>
            <p:grpSpPr>
              <a:xfrm>
                <a:off x="7256351" y="3882137"/>
                <a:ext cx="714896" cy="714896"/>
                <a:chOff x="14395189" y="818837"/>
                <a:chExt cx="714896" cy="714896"/>
              </a:xfrm>
            </p:grpSpPr>
            <p:sp>
              <p:nvSpPr>
                <p:cNvPr id="40" name="Oval 39">
                  <a:extLst>
                    <a:ext uri="{FF2B5EF4-FFF2-40B4-BE49-F238E27FC236}">
                      <a16:creationId xmlns:a16="http://schemas.microsoft.com/office/drawing/2014/main" id="{4D868D75-CF8D-4DEB-AA83-FEB9C42110BF}"/>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214">
                  <a:extLst>
                    <a:ext uri="{FF2B5EF4-FFF2-40B4-BE49-F238E27FC236}">
                      <a16:creationId xmlns:a16="http://schemas.microsoft.com/office/drawing/2014/main" id="{4E20F861-CD90-48A5-AC2D-B048E2E049C4}"/>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4" name="Group 33">
                <a:extLst>
                  <a:ext uri="{FF2B5EF4-FFF2-40B4-BE49-F238E27FC236}">
                    <a16:creationId xmlns:a16="http://schemas.microsoft.com/office/drawing/2014/main" id="{25AECB68-A76A-42B2-9DA7-BF421FBC2E5B}"/>
                  </a:ext>
                </a:extLst>
              </p:cNvPr>
              <p:cNvGrpSpPr/>
              <p:nvPr/>
            </p:nvGrpSpPr>
            <p:grpSpPr>
              <a:xfrm>
                <a:off x="7755741" y="785353"/>
                <a:ext cx="689548" cy="689548"/>
                <a:chOff x="14143037" y="2125662"/>
                <a:chExt cx="1219200" cy="1219200"/>
              </a:xfrm>
            </p:grpSpPr>
            <p:sp>
              <p:nvSpPr>
                <p:cNvPr id="38" name="Oval 37">
                  <a:extLst>
                    <a:ext uri="{FF2B5EF4-FFF2-40B4-BE49-F238E27FC236}">
                      <a16:creationId xmlns:a16="http://schemas.microsoft.com/office/drawing/2014/main" id="{BEF3E7E7-3E27-42BC-B1F8-CDB14D2A4864}"/>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215">
                  <a:extLst>
                    <a:ext uri="{FF2B5EF4-FFF2-40B4-BE49-F238E27FC236}">
                      <a16:creationId xmlns:a16="http://schemas.microsoft.com/office/drawing/2014/main" id="{F0456F01-C93A-4384-BCE9-839DA9CAC019}"/>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5" name="Group 34">
                <a:extLst>
                  <a:ext uri="{FF2B5EF4-FFF2-40B4-BE49-F238E27FC236}">
                    <a16:creationId xmlns:a16="http://schemas.microsoft.com/office/drawing/2014/main" id="{866D64B0-8483-4A12-B22E-995509309B3B}"/>
                  </a:ext>
                </a:extLst>
              </p:cNvPr>
              <p:cNvGrpSpPr/>
              <p:nvPr/>
            </p:nvGrpSpPr>
            <p:grpSpPr>
              <a:xfrm>
                <a:off x="5402548" y="2747507"/>
                <a:ext cx="967048" cy="967048"/>
                <a:chOff x="14395189" y="818837"/>
                <a:chExt cx="714896" cy="714896"/>
              </a:xfrm>
            </p:grpSpPr>
            <p:sp>
              <p:nvSpPr>
                <p:cNvPr id="36" name="Oval 35">
                  <a:extLst>
                    <a:ext uri="{FF2B5EF4-FFF2-40B4-BE49-F238E27FC236}">
                      <a16:creationId xmlns:a16="http://schemas.microsoft.com/office/drawing/2014/main" id="{CB409050-F73D-4C20-AE56-A474CEC5252C}"/>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214">
                  <a:extLst>
                    <a:ext uri="{FF2B5EF4-FFF2-40B4-BE49-F238E27FC236}">
                      <a16:creationId xmlns:a16="http://schemas.microsoft.com/office/drawing/2014/main" id="{0378D041-D0EB-4CD7-984E-E4B75EDDF0DE}"/>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20" name="Group 19">
              <a:extLst>
                <a:ext uri="{FF2B5EF4-FFF2-40B4-BE49-F238E27FC236}">
                  <a16:creationId xmlns:a16="http://schemas.microsoft.com/office/drawing/2014/main" id="{57D7A322-A94A-4562-BD7A-B3C14D7110BE}"/>
                </a:ext>
              </a:extLst>
            </p:cNvPr>
            <p:cNvGrpSpPr/>
            <p:nvPr/>
          </p:nvGrpSpPr>
          <p:grpSpPr>
            <a:xfrm>
              <a:off x="11629801" y="5464512"/>
              <a:ext cx="1705246" cy="1682036"/>
              <a:chOff x="11062227" y="523302"/>
              <a:chExt cx="4300010" cy="4241482"/>
            </a:xfrm>
          </p:grpSpPr>
          <p:grpSp>
            <p:nvGrpSpPr>
              <p:cNvPr id="21" name="Group 20">
                <a:extLst>
                  <a:ext uri="{FF2B5EF4-FFF2-40B4-BE49-F238E27FC236}">
                    <a16:creationId xmlns:a16="http://schemas.microsoft.com/office/drawing/2014/main" id="{71C56E74-EB8F-4368-A17B-7EC99979AF13}"/>
                  </a:ext>
                </a:extLst>
              </p:cNvPr>
              <p:cNvGrpSpPr/>
              <p:nvPr/>
            </p:nvGrpSpPr>
            <p:grpSpPr>
              <a:xfrm>
                <a:off x="14143037" y="2125662"/>
                <a:ext cx="1219200" cy="1219200"/>
                <a:chOff x="14143037" y="2125662"/>
                <a:chExt cx="1219200" cy="1219200"/>
              </a:xfrm>
            </p:grpSpPr>
            <p:sp>
              <p:nvSpPr>
                <p:cNvPr id="30" name="Oval 29">
                  <a:extLst>
                    <a:ext uri="{FF2B5EF4-FFF2-40B4-BE49-F238E27FC236}">
                      <a16:creationId xmlns:a16="http://schemas.microsoft.com/office/drawing/2014/main" id="{BA665B2A-7F80-4326-B42A-286F905226AF}"/>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215">
                  <a:extLst>
                    <a:ext uri="{FF2B5EF4-FFF2-40B4-BE49-F238E27FC236}">
                      <a16:creationId xmlns:a16="http://schemas.microsoft.com/office/drawing/2014/main" id="{FECE8D84-D360-494E-9F3C-CA7CD589DC21}"/>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4" name="Group 23">
                <a:extLst>
                  <a:ext uri="{FF2B5EF4-FFF2-40B4-BE49-F238E27FC236}">
                    <a16:creationId xmlns:a16="http://schemas.microsoft.com/office/drawing/2014/main" id="{3D9F7275-9B2B-46D9-ABB8-B3B2661366B8}"/>
                  </a:ext>
                </a:extLst>
              </p:cNvPr>
              <p:cNvGrpSpPr/>
              <p:nvPr/>
            </p:nvGrpSpPr>
            <p:grpSpPr>
              <a:xfrm>
                <a:off x="11062227" y="523302"/>
                <a:ext cx="689548" cy="689548"/>
                <a:chOff x="14143037" y="2125662"/>
                <a:chExt cx="1219200" cy="1219200"/>
              </a:xfrm>
            </p:grpSpPr>
            <p:sp>
              <p:nvSpPr>
                <p:cNvPr id="28" name="Oval 27">
                  <a:extLst>
                    <a:ext uri="{FF2B5EF4-FFF2-40B4-BE49-F238E27FC236}">
                      <a16:creationId xmlns:a16="http://schemas.microsoft.com/office/drawing/2014/main" id="{C04394D9-53B4-48EF-920D-8B7114C97619}"/>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15">
                  <a:extLst>
                    <a:ext uri="{FF2B5EF4-FFF2-40B4-BE49-F238E27FC236}">
                      <a16:creationId xmlns:a16="http://schemas.microsoft.com/office/drawing/2014/main" id="{45F2FF1A-7FDC-4861-BDC5-4A1471DF682D}"/>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5" name="Group 24">
                <a:extLst>
                  <a:ext uri="{FF2B5EF4-FFF2-40B4-BE49-F238E27FC236}">
                    <a16:creationId xmlns:a16="http://schemas.microsoft.com/office/drawing/2014/main" id="{F6F8F899-A179-46B8-B2E6-BFC7D28BDB36}"/>
                  </a:ext>
                </a:extLst>
              </p:cNvPr>
              <p:cNvGrpSpPr/>
              <p:nvPr/>
            </p:nvGrpSpPr>
            <p:grpSpPr>
              <a:xfrm>
                <a:off x="12859693" y="3797736"/>
                <a:ext cx="967048" cy="967048"/>
                <a:chOff x="14395189" y="818837"/>
                <a:chExt cx="714896" cy="714896"/>
              </a:xfrm>
            </p:grpSpPr>
            <p:sp>
              <p:nvSpPr>
                <p:cNvPr id="26" name="Oval 25">
                  <a:extLst>
                    <a:ext uri="{FF2B5EF4-FFF2-40B4-BE49-F238E27FC236}">
                      <a16:creationId xmlns:a16="http://schemas.microsoft.com/office/drawing/2014/main" id="{A71B131B-85E6-40D7-A7C8-AFEA441648DD}"/>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214">
                  <a:extLst>
                    <a:ext uri="{FF2B5EF4-FFF2-40B4-BE49-F238E27FC236}">
                      <a16:creationId xmlns:a16="http://schemas.microsoft.com/office/drawing/2014/main" id="{2C2A7FD0-FE6F-4CEA-9B6C-6473B072C231}"/>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sp>
        <p:nvSpPr>
          <p:cNvPr id="5" name="Rectangle 4">
            <a:extLst>
              <a:ext uri="{FF2B5EF4-FFF2-40B4-BE49-F238E27FC236}">
                <a16:creationId xmlns:a16="http://schemas.microsoft.com/office/drawing/2014/main" id="{F908484A-B774-49CD-96F4-0DC2C66F60C1}"/>
              </a:ext>
            </a:extLst>
          </p:cNvPr>
          <p:cNvSpPr/>
          <p:nvPr userDrawn="1"/>
        </p:nvSpPr>
        <p:spPr bwMode="auto">
          <a:xfrm>
            <a:off x="0" y="1968134"/>
            <a:ext cx="7440638" cy="370224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7416E68E-7BEC-43A3-93E5-7863416FBA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
        <p:nvSpPr>
          <p:cNvPr id="22" name="Text Placeholder 6"/>
          <p:cNvSpPr>
            <a:spLocks noGrp="1"/>
          </p:cNvSpPr>
          <p:nvPr>
            <p:ph type="body" sz="quarter" idx="12" hasCustomPrompt="1"/>
          </p:nvPr>
        </p:nvSpPr>
        <p:spPr>
          <a:xfrm>
            <a:off x="255659" y="4518926"/>
            <a:ext cx="6886169" cy="1019980"/>
          </a:xfrm>
        </p:spPr>
        <p:txBody>
          <a:bodyPr anchor="b"/>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9848" y="2084171"/>
            <a:ext cx="6902856"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a:t>Presentation Title Here</a:t>
            </a:r>
          </a:p>
        </p:txBody>
      </p:sp>
      <p:pic>
        <p:nvPicPr>
          <p:cNvPr id="8" name="Picture 7">
            <a:extLst>
              <a:ext uri="{FF2B5EF4-FFF2-40B4-BE49-F238E27FC236}">
                <a16:creationId xmlns:a16="http://schemas.microsoft.com/office/drawing/2014/main" id="{AA367F13-66FD-45B8-A8E4-1BA18EB80D4B}"/>
              </a:ext>
            </a:extLst>
          </p:cNvPr>
          <p:cNvPicPr>
            <a:picLocks noChangeAspect="1"/>
          </p:cNvPicPr>
          <p:nvPr userDrawn="1"/>
        </p:nvPicPr>
        <p:blipFill>
          <a:blip r:embed="rId6"/>
          <a:stretch>
            <a:fillRect/>
          </a:stretch>
        </p:blipFill>
        <p:spPr>
          <a:xfrm>
            <a:off x="320955" y="931636"/>
            <a:ext cx="2666948" cy="475527"/>
          </a:xfrm>
          <a:prstGeom prst="rect">
            <a:avLst/>
          </a:prstGeom>
        </p:spPr>
      </p:pic>
    </p:spTree>
    <p:extLst>
      <p:ext uri="{BB962C8B-B14F-4D97-AF65-F5344CB8AC3E}">
        <p14:creationId xmlns:p14="http://schemas.microsoft.com/office/powerpoint/2010/main" val="4206786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98808497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6524132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08494121"/>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814974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5302908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FBDDFAA-634C-439F-88BA-C36D12DEE8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759" t="322" r="323" b="19098"/>
          <a:stretch/>
        </p:blipFill>
        <p:spPr>
          <a:xfrm flipH="1">
            <a:off x="-2" y="0"/>
            <a:ext cx="12192001" cy="6858000"/>
          </a:xfrm>
          <a:prstGeom prst="rect">
            <a:avLst/>
          </a:prstGeom>
        </p:spPr>
      </p:pic>
      <p:grpSp>
        <p:nvGrpSpPr>
          <p:cNvPr id="5" name="Group 4">
            <a:extLst>
              <a:ext uri="{FF2B5EF4-FFF2-40B4-BE49-F238E27FC236}">
                <a16:creationId xmlns:a16="http://schemas.microsoft.com/office/drawing/2014/main" id="{F93850C5-F151-4A5A-A576-9AA8C271822D}"/>
              </a:ext>
            </a:extLst>
          </p:cNvPr>
          <p:cNvGrpSpPr/>
          <p:nvPr userDrawn="1"/>
        </p:nvGrpSpPr>
        <p:grpSpPr>
          <a:xfrm>
            <a:off x="36560" y="0"/>
            <a:ext cx="12192000" cy="6858000"/>
            <a:chOff x="0" y="0"/>
            <a:chExt cx="12436475" cy="6994525"/>
          </a:xfrm>
        </p:grpSpPr>
        <p:pic>
          <p:nvPicPr>
            <p:cNvPr id="6" name="Picture 5">
              <a:extLst>
                <a:ext uri="{FF2B5EF4-FFF2-40B4-BE49-F238E27FC236}">
                  <a16:creationId xmlns:a16="http://schemas.microsoft.com/office/drawing/2014/main" id="{C5D6B410-E8F0-4CB1-AA8B-1620694AB800}"/>
                </a:ext>
              </a:extLst>
            </p:cNvPr>
            <p:cNvPicPr>
              <a:picLocks noChangeAspect="1"/>
            </p:cNvPicPr>
            <p:nvPr userDrawn="1"/>
          </p:nvPicPr>
          <p:blipFill>
            <a:blip r:embed="rId3"/>
            <a:stretch>
              <a:fillRect/>
            </a:stretch>
          </p:blipFill>
          <p:spPr>
            <a:xfrm>
              <a:off x="5441950" y="0"/>
              <a:ext cx="6994525" cy="6994525"/>
            </a:xfrm>
            <a:prstGeom prst="rect">
              <a:avLst/>
            </a:prstGeom>
          </p:spPr>
        </p:pic>
        <p:pic>
          <p:nvPicPr>
            <p:cNvPr id="7" name="Picture 6">
              <a:extLst>
                <a:ext uri="{FF2B5EF4-FFF2-40B4-BE49-F238E27FC236}">
                  <a16:creationId xmlns:a16="http://schemas.microsoft.com/office/drawing/2014/main" id="{23B9D850-21BC-4915-9450-B5B4AC952279}"/>
                </a:ext>
              </a:extLst>
            </p:cNvPr>
            <p:cNvPicPr>
              <a:picLocks noChangeAspect="1"/>
            </p:cNvPicPr>
            <p:nvPr userDrawn="1"/>
          </p:nvPicPr>
          <p:blipFill rotWithShape="1">
            <a:blip r:embed="rId3"/>
            <a:srcRect l="22281"/>
            <a:stretch/>
          </p:blipFill>
          <p:spPr>
            <a:xfrm>
              <a:off x="0" y="0"/>
              <a:ext cx="5436068" cy="6994525"/>
            </a:xfrm>
            <a:prstGeom prst="rect">
              <a:avLst/>
            </a:prstGeom>
          </p:spPr>
        </p:pic>
      </p:grpSp>
      <p:sp>
        <p:nvSpPr>
          <p:cNvPr id="12" name="Rectangle 11">
            <a:extLst>
              <a:ext uri="{FF2B5EF4-FFF2-40B4-BE49-F238E27FC236}">
                <a16:creationId xmlns:a16="http://schemas.microsoft.com/office/drawing/2014/main" id="{72182D08-26C3-4348-8B73-B17C30108972}"/>
              </a:ext>
            </a:extLst>
          </p:cNvPr>
          <p:cNvSpPr/>
          <p:nvPr userDrawn="1"/>
        </p:nvSpPr>
        <p:spPr bwMode="auto">
          <a:xfrm>
            <a:off x="-1" y="0"/>
            <a:ext cx="8934679" cy="6858000"/>
          </a:xfrm>
          <a:prstGeom prst="rect">
            <a:avLst/>
          </a:prstGeom>
          <a:gradFill flip="none" rotWithShape="1">
            <a:gsLst>
              <a:gs pos="0">
                <a:schemeClr val="tx1">
                  <a:alpha val="86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4002128"/>
            <a:ext cx="4249226" cy="995838"/>
          </a:xfrm>
          <a:noFill/>
        </p:spPr>
        <p:txBody>
          <a:bodyPr wrap="square" tIns="91440" bIns="91440" anchor="ctr" anchorCtr="0">
            <a:spAutoFit/>
          </a:bodyPr>
          <a:lstStyle>
            <a:lvl1pPr>
              <a:defRPr sz="5882" spc="-98" baseline="0">
                <a:solidFill>
                  <a:schemeClr val="accent2"/>
                </a:solidFill>
              </a:defRPr>
            </a:lvl1pPr>
          </a:lstStyle>
          <a:p>
            <a:r>
              <a:rPr lang="en-US"/>
              <a:t>Section title</a:t>
            </a:r>
          </a:p>
        </p:txBody>
      </p:sp>
      <p:grpSp>
        <p:nvGrpSpPr>
          <p:cNvPr id="8" name="Group 7">
            <a:extLst>
              <a:ext uri="{FF2B5EF4-FFF2-40B4-BE49-F238E27FC236}">
                <a16:creationId xmlns:a16="http://schemas.microsoft.com/office/drawing/2014/main" id="{98AD2BFC-B644-4FF5-85A1-D0A9CC4497AC}"/>
              </a:ext>
            </a:extLst>
          </p:cNvPr>
          <p:cNvGrpSpPr/>
          <p:nvPr userDrawn="1"/>
        </p:nvGrpSpPr>
        <p:grpSpPr>
          <a:xfrm>
            <a:off x="4011606" y="1"/>
            <a:ext cx="8060559" cy="6785003"/>
            <a:chOff x="7854943" y="523302"/>
            <a:chExt cx="8222190" cy="6920075"/>
          </a:xfrm>
          <a:solidFill>
            <a:schemeClr val="bg1">
              <a:lumMod val="60000"/>
              <a:lumOff val="40000"/>
              <a:alpha val="7000"/>
            </a:schemeClr>
          </a:solidFill>
        </p:grpSpPr>
        <p:grpSp>
          <p:nvGrpSpPr>
            <p:cNvPr id="9" name="Group 8">
              <a:extLst>
                <a:ext uri="{FF2B5EF4-FFF2-40B4-BE49-F238E27FC236}">
                  <a16:creationId xmlns:a16="http://schemas.microsoft.com/office/drawing/2014/main" id="{3DE54058-BF28-46AA-BFD9-86D97045DDF3}"/>
                </a:ext>
              </a:extLst>
            </p:cNvPr>
            <p:cNvGrpSpPr/>
            <p:nvPr/>
          </p:nvGrpSpPr>
          <p:grpSpPr>
            <a:xfrm>
              <a:off x="11062227" y="523302"/>
              <a:ext cx="5014906" cy="5729131"/>
              <a:chOff x="11062227" y="523302"/>
              <a:chExt cx="5014906" cy="5729131"/>
            </a:xfrm>
            <a:grpFill/>
          </p:grpSpPr>
          <p:grpSp>
            <p:nvGrpSpPr>
              <p:cNvPr id="34" name="Group 33">
                <a:extLst>
                  <a:ext uri="{FF2B5EF4-FFF2-40B4-BE49-F238E27FC236}">
                    <a16:creationId xmlns:a16="http://schemas.microsoft.com/office/drawing/2014/main" id="{62CD2EA3-315A-49AA-81B6-4E095A63DFD0}"/>
                  </a:ext>
                </a:extLst>
              </p:cNvPr>
              <p:cNvGrpSpPr/>
              <p:nvPr/>
            </p:nvGrpSpPr>
            <p:grpSpPr>
              <a:xfrm>
                <a:off x="14143037" y="2125662"/>
                <a:ext cx="1219200" cy="1219200"/>
                <a:chOff x="14143037" y="2125662"/>
                <a:chExt cx="1219200" cy="1219200"/>
              </a:xfrm>
              <a:grpFill/>
            </p:grpSpPr>
            <p:sp>
              <p:nvSpPr>
                <p:cNvPr id="44" name="Oval 43">
                  <a:extLst>
                    <a:ext uri="{FF2B5EF4-FFF2-40B4-BE49-F238E27FC236}">
                      <a16:creationId xmlns:a16="http://schemas.microsoft.com/office/drawing/2014/main" id="{43CEB8E9-21C0-4AA4-A4D0-C970E7656236}"/>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215">
                  <a:extLst>
                    <a:ext uri="{FF2B5EF4-FFF2-40B4-BE49-F238E27FC236}">
                      <a16:creationId xmlns:a16="http://schemas.microsoft.com/office/drawing/2014/main" id="{D508258D-9610-4DFB-96B5-F3A2BBEC3EB8}"/>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5" name="Group 34">
                <a:extLst>
                  <a:ext uri="{FF2B5EF4-FFF2-40B4-BE49-F238E27FC236}">
                    <a16:creationId xmlns:a16="http://schemas.microsoft.com/office/drawing/2014/main" id="{43B5551D-D7D5-4724-92FB-9C3EB32DD926}"/>
                  </a:ext>
                </a:extLst>
              </p:cNvPr>
              <p:cNvGrpSpPr/>
              <p:nvPr/>
            </p:nvGrpSpPr>
            <p:grpSpPr>
              <a:xfrm>
                <a:off x="15362237" y="5537537"/>
                <a:ext cx="714896" cy="714896"/>
                <a:chOff x="14395189" y="818837"/>
                <a:chExt cx="714896" cy="714896"/>
              </a:xfrm>
              <a:grpFill/>
            </p:grpSpPr>
            <p:sp>
              <p:nvSpPr>
                <p:cNvPr id="42" name="Oval 41">
                  <a:extLst>
                    <a:ext uri="{FF2B5EF4-FFF2-40B4-BE49-F238E27FC236}">
                      <a16:creationId xmlns:a16="http://schemas.microsoft.com/office/drawing/2014/main" id="{93138EC5-2048-405F-B407-E5FDEC555199}"/>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214">
                  <a:extLst>
                    <a:ext uri="{FF2B5EF4-FFF2-40B4-BE49-F238E27FC236}">
                      <a16:creationId xmlns:a16="http://schemas.microsoft.com/office/drawing/2014/main" id="{2419EB23-34CF-4F41-92C4-BF5FB8D313F2}"/>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6" name="Group 35">
                <a:extLst>
                  <a:ext uri="{FF2B5EF4-FFF2-40B4-BE49-F238E27FC236}">
                    <a16:creationId xmlns:a16="http://schemas.microsoft.com/office/drawing/2014/main" id="{045DF574-D29E-4BE3-BDF4-F44193E30811}"/>
                  </a:ext>
                </a:extLst>
              </p:cNvPr>
              <p:cNvGrpSpPr/>
              <p:nvPr/>
            </p:nvGrpSpPr>
            <p:grpSpPr>
              <a:xfrm>
                <a:off x="11062227" y="523302"/>
                <a:ext cx="689548" cy="689548"/>
                <a:chOff x="14143037" y="2125662"/>
                <a:chExt cx="1219200" cy="1219200"/>
              </a:xfrm>
              <a:grpFill/>
            </p:grpSpPr>
            <p:sp>
              <p:nvSpPr>
                <p:cNvPr id="40" name="Oval 39">
                  <a:extLst>
                    <a:ext uri="{FF2B5EF4-FFF2-40B4-BE49-F238E27FC236}">
                      <a16:creationId xmlns:a16="http://schemas.microsoft.com/office/drawing/2014/main" id="{5A8B1332-38B8-4279-AA76-C091ECF7A411}"/>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215">
                  <a:extLst>
                    <a:ext uri="{FF2B5EF4-FFF2-40B4-BE49-F238E27FC236}">
                      <a16:creationId xmlns:a16="http://schemas.microsoft.com/office/drawing/2014/main" id="{7D2A96AB-3F49-4CF9-B145-57B75B20D4C6}"/>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7" name="Group 36">
                <a:extLst>
                  <a:ext uri="{FF2B5EF4-FFF2-40B4-BE49-F238E27FC236}">
                    <a16:creationId xmlns:a16="http://schemas.microsoft.com/office/drawing/2014/main" id="{349FD745-B8B6-4CD2-A5A5-427D120CBD37}"/>
                  </a:ext>
                </a:extLst>
              </p:cNvPr>
              <p:cNvGrpSpPr/>
              <p:nvPr/>
            </p:nvGrpSpPr>
            <p:grpSpPr>
              <a:xfrm>
                <a:off x="12859693" y="3797736"/>
                <a:ext cx="967048" cy="967048"/>
                <a:chOff x="14395189" y="818837"/>
                <a:chExt cx="714896" cy="714896"/>
              </a:xfrm>
              <a:grpFill/>
            </p:grpSpPr>
            <p:sp>
              <p:nvSpPr>
                <p:cNvPr id="38" name="Oval 37">
                  <a:extLst>
                    <a:ext uri="{FF2B5EF4-FFF2-40B4-BE49-F238E27FC236}">
                      <a16:creationId xmlns:a16="http://schemas.microsoft.com/office/drawing/2014/main" id="{E3D95AD6-9F25-4991-8A10-CC47206DAEE2}"/>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214">
                  <a:extLst>
                    <a:ext uri="{FF2B5EF4-FFF2-40B4-BE49-F238E27FC236}">
                      <a16:creationId xmlns:a16="http://schemas.microsoft.com/office/drawing/2014/main" id="{ACBBD8D4-4CE4-4BE1-A70C-447B9AA28FA5}"/>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0" name="Group 9">
              <a:extLst>
                <a:ext uri="{FF2B5EF4-FFF2-40B4-BE49-F238E27FC236}">
                  <a16:creationId xmlns:a16="http://schemas.microsoft.com/office/drawing/2014/main" id="{89B66DF2-6D81-4D9B-979C-04A3321BD2FD}"/>
                </a:ext>
              </a:extLst>
            </p:cNvPr>
            <p:cNvGrpSpPr/>
            <p:nvPr/>
          </p:nvGrpSpPr>
          <p:grpSpPr>
            <a:xfrm>
              <a:off x="7854943" y="3631697"/>
              <a:ext cx="3216796" cy="3811680"/>
              <a:chOff x="5402548" y="785353"/>
              <a:chExt cx="3216796" cy="3811680"/>
            </a:xfrm>
            <a:grpFill/>
          </p:grpSpPr>
          <p:grpSp>
            <p:nvGrpSpPr>
              <p:cNvPr id="22" name="Group 21">
                <a:extLst>
                  <a:ext uri="{FF2B5EF4-FFF2-40B4-BE49-F238E27FC236}">
                    <a16:creationId xmlns:a16="http://schemas.microsoft.com/office/drawing/2014/main" id="{FECDCD82-F53B-4999-B5B9-5B802ACDB463}"/>
                  </a:ext>
                </a:extLst>
              </p:cNvPr>
              <p:cNvGrpSpPr/>
              <p:nvPr/>
            </p:nvGrpSpPr>
            <p:grpSpPr>
              <a:xfrm>
                <a:off x="7724566" y="2287873"/>
                <a:ext cx="894778" cy="894778"/>
                <a:chOff x="14143037" y="2125662"/>
                <a:chExt cx="1219200" cy="1219200"/>
              </a:xfrm>
              <a:grpFill/>
            </p:grpSpPr>
            <p:sp>
              <p:nvSpPr>
                <p:cNvPr id="32" name="Oval 31">
                  <a:extLst>
                    <a:ext uri="{FF2B5EF4-FFF2-40B4-BE49-F238E27FC236}">
                      <a16:creationId xmlns:a16="http://schemas.microsoft.com/office/drawing/2014/main" id="{EA3D5DD9-48A8-4248-9636-83270FE15A55}"/>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215">
                  <a:extLst>
                    <a:ext uri="{FF2B5EF4-FFF2-40B4-BE49-F238E27FC236}">
                      <a16:creationId xmlns:a16="http://schemas.microsoft.com/office/drawing/2014/main" id="{8B621A17-109B-4FFC-8937-42A39F491D42}"/>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3" name="Group 22">
                <a:extLst>
                  <a:ext uri="{FF2B5EF4-FFF2-40B4-BE49-F238E27FC236}">
                    <a16:creationId xmlns:a16="http://schemas.microsoft.com/office/drawing/2014/main" id="{AABDB747-7691-4517-82E3-AFB1A3147F14}"/>
                  </a:ext>
                </a:extLst>
              </p:cNvPr>
              <p:cNvGrpSpPr/>
              <p:nvPr/>
            </p:nvGrpSpPr>
            <p:grpSpPr>
              <a:xfrm>
                <a:off x="7256351" y="3882137"/>
                <a:ext cx="714896" cy="714896"/>
                <a:chOff x="14395189" y="818837"/>
                <a:chExt cx="714896" cy="714896"/>
              </a:xfrm>
              <a:grpFill/>
            </p:grpSpPr>
            <p:sp>
              <p:nvSpPr>
                <p:cNvPr id="30" name="Oval 29">
                  <a:extLst>
                    <a:ext uri="{FF2B5EF4-FFF2-40B4-BE49-F238E27FC236}">
                      <a16:creationId xmlns:a16="http://schemas.microsoft.com/office/drawing/2014/main" id="{E2772242-7649-477E-A4C6-A596337FE2D6}"/>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214">
                  <a:extLst>
                    <a:ext uri="{FF2B5EF4-FFF2-40B4-BE49-F238E27FC236}">
                      <a16:creationId xmlns:a16="http://schemas.microsoft.com/office/drawing/2014/main" id="{A4CEF25E-2CCB-4BC1-A067-3FED465AECE8}"/>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4" name="Group 23">
                <a:extLst>
                  <a:ext uri="{FF2B5EF4-FFF2-40B4-BE49-F238E27FC236}">
                    <a16:creationId xmlns:a16="http://schemas.microsoft.com/office/drawing/2014/main" id="{8966A3C7-8014-4D91-ACF5-3238FB782630}"/>
                  </a:ext>
                </a:extLst>
              </p:cNvPr>
              <p:cNvGrpSpPr/>
              <p:nvPr/>
            </p:nvGrpSpPr>
            <p:grpSpPr>
              <a:xfrm>
                <a:off x="7755741" y="785353"/>
                <a:ext cx="689548" cy="689548"/>
                <a:chOff x="14143037" y="2125662"/>
                <a:chExt cx="1219200" cy="1219200"/>
              </a:xfrm>
              <a:grpFill/>
            </p:grpSpPr>
            <p:sp>
              <p:nvSpPr>
                <p:cNvPr id="28" name="Oval 27">
                  <a:extLst>
                    <a:ext uri="{FF2B5EF4-FFF2-40B4-BE49-F238E27FC236}">
                      <a16:creationId xmlns:a16="http://schemas.microsoft.com/office/drawing/2014/main" id="{B6FD3E91-3D27-42C8-AE74-27ED3FE7D0FB}"/>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15">
                  <a:extLst>
                    <a:ext uri="{FF2B5EF4-FFF2-40B4-BE49-F238E27FC236}">
                      <a16:creationId xmlns:a16="http://schemas.microsoft.com/office/drawing/2014/main" id="{843B89FD-0EC0-49CC-BA4E-AA3FBE222639}"/>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5" name="Group 24">
                <a:extLst>
                  <a:ext uri="{FF2B5EF4-FFF2-40B4-BE49-F238E27FC236}">
                    <a16:creationId xmlns:a16="http://schemas.microsoft.com/office/drawing/2014/main" id="{85CFAA7A-1A5F-4A35-ACC4-15FC9F02C91C}"/>
                  </a:ext>
                </a:extLst>
              </p:cNvPr>
              <p:cNvGrpSpPr/>
              <p:nvPr/>
            </p:nvGrpSpPr>
            <p:grpSpPr>
              <a:xfrm>
                <a:off x="5402548" y="2747507"/>
                <a:ext cx="967048" cy="967048"/>
                <a:chOff x="14395189" y="818837"/>
                <a:chExt cx="714896" cy="714896"/>
              </a:xfrm>
              <a:grpFill/>
            </p:grpSpPr>
            <p:sp>
              <p:nvSpPr>
                <p:cNvPr id="26" name="Oval 25">
                  <a:extLst>
                    <a:ext uri="{FF2B5EF4-FFF2-40B4-BE49-F238E27FC236}">
                      <a16:creationId xmlns:a16="http://schemas.microsoft.com/office/drawing/2014/main" id="{831AE940-E6D2-4F3C-8DBE-F58F49B2D5B0}"/>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214">
                  <a:extLst>
                    <a:ext uri="{FF2B5EF4-FFF2-40B4-BE49-F238E27FC236}">
                      <a16:creationId xmlns:a16="http://schemas.microsoft.com/office/drawing/2014/main" id="{90A11A5A-747E-4399-8A8C-5EF9AF0FB540}"/>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1" name="Group 10">
              <a:extLst>
                <a:ext uri="{FF2B5EF4-FFF2-40B4-BE49-F238E27FC236}">
                  <a16:creationId xmlns:a16="http://schemas.microsoft.com/office/drawing/2014/main" id="{A2ED6327-E200-496B-BACF-DA5F28CBC11C}"/>
                </a:ext>
              </a:extLst>
            </p:cNvPr>
            <p:cNvGrpSpPr/>
            <p:nvPr/>
          </p:nvGrpSpPr>
          <p:grpSpPr>
            <a:xfrm>
              <a:off x="11629801" y="5464512"/>
              <a:ext cx="1705246" cy="1682036"/>
              <a:chOff x="11062227" y="523302"/>
              <a:chExt cx="4300010" cy="4241482"/>
            </a:xfrm>
            <a:grpFill/>
          </p:grpSpPr>
          <p:grpSp>
            <p:nvGrpSpPr>
              <p:cNvPr id="13" name="Group 12">
                <a:extLst>
                  <a:ext uri="{FF2B5EF4-FFF2-40B4-BE49-F238E27FC236}">
                    <a16:creationId xmlns:a16="http://schemas.microsoft.com/office/drawing/2014/main" id="{E5B03C77-CDE9-426F-B718-22F587DC831C}"/>
                  </a:ext>
                </a:extLst>
              </p:cNvPr>
              <p:cNvGrpSpPr/>
              <p:nvPr/>
            </p:nvGrpSpPr>
            <p:grpSpPr>
              <a:xfrm>
                <a:off x="14143037" y="2125662"/>
                <a:ext cx="1219200" cy="1219200"/>
                <a:chOff x="14143037" y="2125662"/>
                <a:chExt cx="1219200" cy="1219200"/>
              </a:xfrm>
              <a:grpFill/>
            </p:grpSpPr>
            <p:sp>
              <p:nvSpPr>
                <p:cNvPr id="20" name="Oval 19">
                  <a:extLst>
                    <a:ext uri="{FF2B5EF4-FFF2-40B4-BE49-F238E27FC236}">
                      <a16:creationId xmlns:a16="http://schemas.microsoft.com/office/drawing/2014/main" id="{CFB32C6B-4AF3-47B2-A6CA-40D4F699A966}"/>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15">
                  <a:extLst>
                    <a:ext uri="{FF2B5EF4-FFF2-40B4-BE49-F238E27FC236}">
                      <a16:creationId xmlns:a16="http://schemas.microsoft.com/office/drawing/2014/main" id="{EB3843C4-5F34-4194-9DE0-B2ED56EFECFA}"/>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a:extLst>
                  <a:ext uri="{FF2B5EF4-FFF2-40B4-BE49-F238E27FC236}">
                    <a16:creationId xmlns:a16="http://schemas.microsoft.com/office/drawing/2014/main" id="{58394C6D-EC0B-430E-ACEF-B83B5411BFF6}"/>
                  </a:ext>
                </a:extLst>
              </p:cNvPr>
              <p:cNvGrpSpPr/>
              <p:nvPr/>
            </p:nvGrpSpPr>
            <p:grpSpPr>
              <a:xfrm>
                <a:off x="11062227" y="523302"/>
                <a:ext cx="689548" cy="689548"/>
                <a:chOff x="14143037" y="2125662"/>
                <a:chExt cx="1219200" cy="1219200"/>
              </a:xfrm>
              <a:grpFill/>
            </p:grpSpPr>
            <p:sp>
              <p:nvSpPr>
                <p:cNvPr id="18" name="Oval 17">
                  <a:extLst>
                    <a:ext uri="{FF2B5EF4-FFF2-40B4-BE49-F238E27FC236}">
                      <a16:creationId xmlns:a16="http://schemas.microsoft.com/office/drawing/2014/main" id="{301B757B-71D3-4219-960A-CDD7E3EDC618}"/>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215">
                  <a:extLst>
                    <a:ext uri="{FF2B5EF4-FFF2-40B4-BE49-F238E27FC236}">
                      <a16:creationId xmlns:a16="http://schemas.microsoft.com/office/drawing/2014/main" id="{8B8615ED-9789-49B7-9AE6-41C2D6CDBB70}"/>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5" name="Group 14">
                <a:extLst>
                  <a:ext uri="{FF2B5EF4-FFF2-40B4-BE49-F238E27FC236}">
                    <a16:creationId xmlns:a16="http://schemas.microsoft.com/office/drawing/2014/main" id="{BB74EB81-F213-434D-9ECC-6F674CC12165}"/>
                  </a:ext>
                </a:extLst>
              </p:cNvPr>
              <p:cNvGrpSpPr/>
              <p:nvPr/>
            </p:nvGrpSpPr>
            <p:grpSpPr>
              <a:xfrm>
                <a:off x="12859693" y="3797736"/>
                <a:ext cx="967048" cy="967048"/>
                <a:chOff x="14395189" y="818837"/>
                <a:chExt cx="714896" cy="714896"/>
              </a:xfrm>
              <a:grpFill/>
            </p:grpSpPr>
            <p:sp>
              <p:nvSpPr>
                <p:cNvPr id="16" name="Oval 15">
                  <a:extLst>
                    <a:ext uri="{FF2B5EF4-FFF2-40B4-BE49-F238E27FC236}">
                      <a16:creationId xmlns:a16="http://schemas.microsoft.com/office/drawing/2014/main" id="{38463164-4A0A-486C-BAF7-A6B57AF77219}"/>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214">
                  <a:extLst>
                    <a:ext uri="{FF2B5EF4-FFF2-40B4-BE49-F238E27FC236}">
                      <a16:creationId xmlns:a16="http://schemas.microsoft.com/office/drawing/2014/main" id="{68427B85-4B73-444C-A6C5-5C669465B1F5}"/>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765"/>
                </a:p>
              </p:txBody>
            </p:sp>
          </p:grpSp>
        </p:grpSp>
      </p:grpSp>
    </p:spTree>
    <p:extLst>
      <p:ext uri="{BB962C8B-B14F-4D97-AF65-F5344CB8AC3E}">
        <p14:creationId xmlns:p14="http://schemas.microsoft.com/office/powerpoint/2010/main" val="816227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D96CA2E-5CAB-4E8B-B8D7-352FF2905FDD}"/>
              </a:ext>
            </a:extLst>
          </p:cNvPr>
          <p:cNvSpPr/>
          <p:nvPr userDrawn="1"/>
        </p:nvSpPr>
        <p:spPr bwMode="auto">
          <a:xfrm>
            <a:off x="0" y="0"/>
            <a:ext cx="3069116" cy="6858000"/>
          </a:xfrm>
          <a:prstGeom prst="rect">
            <a:avLst/>
          </a:prstGeom>
          <a:solidFill>
            <a:srgbClr val="DAD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5A2FDD26-33DD-4180-8612-0C4622EC5D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9298" y="0"/>
            <a:ext cx="9142703" cy="6858000"/>
          </a:xfrm>
          <a:prstGeom prst="rect">
            <a:avLst/>
          </a:prstGeom>
        </p:spPr>
      </p:pic>
      <p:grpSp>
        <p:nvGrpSpPr>
          <p:cNvPr id="3" name="Group 2">
            <a:extLst>
              <a:ext uri="{FF2B5EF4-FFF2-40B4-BE49-F238E27FC236}">
                <a16:creationId xmlns:a16="http://schemas.microsoft.com/office/drawing/2014/main" id="{CC52337D-E8C2-416C-8996-ED00833D404A}"/>
              </a:ext>
            </a:extLst>
          </p:cNvPr>
          <p:cNvGrpSpPr/>
          <p:nvPr userDrawn="1"/>
        </p:nvGrpSpPr>
        <p:grpSpPr>
          <a:xfrm>
            <a:off x="36560" y="0"/>
            <a:ext cx="12192000" cy="6858000"/>
            <a:chOff x="0" y="0"/>
            <a:chExt cx="12436475" cy="6994525"/>
          </a:xfrm>
        </p:grpSpPr>
        <p:pic>
          <p:nvPicPr>
            <p:cNvPr id="10" name="Picture 9">
              <a:extLst>
                <a:ext uri="{FF2B5EF4-FFF2-40B4-BE49-F238E27FC236}">
                  <a16:creationId xmlns:a16="http://schemas.microsoft.com/office/drawing/2014/main" id="{887141CA-EE74-4653-A9A9-D48886ACC00C}"/>
                </a:ext>
              </a:extLst>
            </p:cNvPr>
            <p:cNvPicPr>
              <a:picLocks noChangeAspect="1"/>
            </p:cNvPicPr>
            <p:nvPr userDrawn="1"/>
          </p:nvPicPr>
          <p:blipFill>
            <a:blip r:embed="rId3"/>
            <a:stretch>
              <a:fillRect/>
            </a:stretch>
          </p:blipFill>
          <p:spPr>
            <a:xfrm>
              <a:off x="5441950" y="0"/>
              <a:ext cx="6994525" cy="6994525"/>
            </a:xfrm>
            <a:prstGeom prst="rect">
              <a:avLst/>
            </a:prstGeom>
          </p:spPr>
        </p:pic>
        <p:pic>
          <p:nvPicPr>
            <p:cNvPr id="11" name="Picture 10">
              <a:extLst>
                <a:ext uri="{FF2B5EF4-FFF2-40B4-BE49-F238E27FC236}">
                  <a16:creationId xmlns:a16="http://schemas.microsoft.com/office/drawing/2014/main" id="{013EC1C7-4A38-4660-9ED5-40387807B854}"/>
                </a:ext>
              </a:extLst>
            </p:cNvPr>
            <p:cNvPicPr>
              <a:picLocks noChangeAspect="1"/>
            </p:cNvPicPr>
            <p:nvPr userDrawn="1"/>
          </p:nvPicPr>
          <p:blipFill rotWithShape="1">
            <a:blip r:embed="rId3"/>
            <a:srcRect l="22281"/>
            <a:stretch/>
          </p:blipFill>
          <p:spPr>
            <a:xfrm>
              <a:off x="0" y="0"/>
              <a:ext cx="5436068" cy="6994525"/>
            </a:xfrm>
            <a:prstGeom prst="rect">
              <a:avLst/>
            </a:prstGeom>
          </p:spPr>
        </p:pic>
      </p:grpSp>
      <p:sp>
        <p:nvSpPr>
          <p:cNvPr id="6" name="Rectangle 5">
            <a:extLst>
              <a:ext uri="{FF2B5EF4-FFF2-40B4-BE49-F238E27FC236}">
                <a16:creationId xmlns:a16="http://schemas.microsoft.com/office/drawing/2014/main" id="{EB6A3AEF-3298-4639-82A5-379FE3CD8A97}"/>
              </a:ext>
            </a:extLst>
          </p:cNvPr>
          <p:cNvSpPr/>
          <p:nvPr userDrawn="1"/>
        </p:nvSpPr>
        <p:spPr bwMode="auto">
          <a:xfrm>
            <a:off x="0" y="0"/>
            <a:ext cx="9756401" cy="6858000"/>
          </a:xfrm>
          <a:prstGeom prst="rect">
            <a:avLst/>
          </a:prstGeom>
          <a:gradFill flip="none" rotWithShape="1">
            <a:gsLst>
              <a:gs pos="47000">
                <a:srgbClr val="FFFFFF">
                  <a:alpha val="79000"/>
                </a:srgbClr>
              </a:gs>
              <a:gs pos="0">
                <a:schemeClr val="tx1">
                  <a:alpha val="95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7939561-43FD-4724-9607-D1092025C032}"/>
              </a:ext>
            </a:extLst>
          </p:cNvPr>
          <p:cNvGrpSpPr/>
          <p:nvPr userDrawn="1"/>
        </p:nvGrpSpPr>
        <p:grpSpPr>
          <a:xfrm>
            <a:off x="4004342" y="1"/>
            <a:ext cx="8060559" cy="6785003"/>
            <a:chOff x="7854943" y="523302"/>
            <a:chExt cx="8222190" cy="6920075"/>
          </a:xfrm>
        </p:grpSpPr>
        <p:grpSp>
          <p:nvGrpSpPr>
            <p:cNvPr id="14" name="Group 13">
              <a:extLst>
                <a:ext uri="{FF2B5EF4-FFF2-40B4-BE49-F238E27FC236}">
                  <a16:creationId xmlns:a16="http://schemas.microsoft.com/office/drawing/2014/main" id="{8F6745BC-3FC6-46E0-AA05-8288F183A442}"/>
                </a:ext>
              </a:extLst>
            </p:cNvPr>
            <p:cNvGrpSpPr/>
            <p:nvPr/>
          </p:nvGrpSpPr>
          <p:grpSpPr>
            <a:xfrm>
              <a:off x="11062227" y="523302"/>
              <a:ext cx="5014906" cy="5729131"/>
              <a:chOff x="11062227" y="523302"/>
              <a:chExt cx="5014906" cy="5729131"/>
            </a:xfrm>
          </p:grpSpPr>
          <p:grpSp>
            <p:nvGrpSpPr>
              <p:cNvPr id="38" name="Group 37">
                <a:extLst>
                  <a:ext uri="{FF2B5EF4-FFF2-40B4-BE49-F238E27FC236}">
                    <a16:creationId xmlns:a16="http://schemas.microsoft.com/office/drawing/2014/main" id="{87A277FA-4466-4112-9063-5F32DB978DBE}"/>
                  </a:ext>
                </a:extLst>
              </p:cNvPr>
              <p:cNvGrpSpPr/>
              <p:nvPr/>
            </p:nvGrpSpPr>
            <p:grpSpPr>
              <a:xfrm>
                <a:off x="14143037" y="2125662"/>
                <a:ext cx="1219200" cy="1219200"/>
                <a:chOff x="14143037" y="2125662"/>
                <a:chExt cx="1219200" cy="1219200"/>
              </a:xfrm>
            </p:grpSpPr>
            <p:sp>
              <p:nvSpPr>
                <p:cNvPr id="48" name="Oval 47">
                  <a:extLst>
                    <a:ext uri="{FF2B5EF4-FFF2-40B4-BE49-F238E27FC236}">
                      <a16:creationId xmlns:a16="http://schemas.microsoft.com/office/drawing/2014/main" id="{CCC06386-AA0E-43BC-B9C9-29F16AE0B93B}"/>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215">
                  <a:extLst>
                    <a:ext uri="{FF2B5EF4-FFF2-40B4-BE49-F238E27FC236}">
                      <a16:creationId xmlns:a16="http://schemas.microsoft.com/office/drawing/2014/main" id="{2B73F572-0CB6-4AD2-A7E9-E8BAB94B919E}"/>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9" name="Group 38">
                <a:extLst>
                  <a:ext uri="{FF2B5EF4-FFF2-40B4-BE49-F238E27FC236}">
                    <a16:creationId xmlns:a16="http://schemas.microsoft.com/office/drawing/2014/main" id="{537DBE93-3B93-48C6-AFBE-70926C58B4F0}"/>
                  </a:ext>
                </a:extLst>
              </p:cNvPr>
              <p:cNvGrpSpPr/>
              <p:nvPr/>
            </p:nvGrpSpPr>
            <p:grpSpPr>
              <a:xfrm>
                <a:off x="15362237" y="5537537"/>
                <a:ext cx="714896" cy="714896"/>
                <a:chOff x="14395189" y="818837"/>
                <a:chExt cx="714896" cy="714896"/>
              </a:xfrm>
            </p:grpSpPr>
            <p:sp>
              <p:nvSpPr>
                <p:cNvPr id="46" name="Oval 45">
                  <a:extLst>
                    <a:ext uri="{FF2B5EF4-FFF2-40B4-BE49-F238E27FC236}">
                      <a16:creationId xmlns:a16="http://schemas.microsoft.com/office/drawing/2014/main" id="{5A384905-C97E-4531-92B3-64D76D3593B8}"/>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214">
                  <a:extLst>
                    <a:ext uri="{FF2B5EF4-FFF2-40B4-BE49-F238E27FC236}">
                      <a16:creationId xmlns:a16="http://schemas.microsoft.com/office/drawing/2014/main" id="{1961C9FF-3A00-4C1A-8C6B-B269DBC46027}"/>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40" name="Group 39">
                <a:extLst>
                  <a:ext uri="{FF2B5EF4-FFF2-40B4-BE49-F238E27FC236}">
                    <a16:creationId xmlns:a16="http://schemas.microsoft.com/office/drawing/2014/main" id="{8C623C14-7A3E-4DAD-B1C5-AFCCCBB7B911}"/>
                  </a:ext>
                </a:extLst>
              </p:cNvPr>
              <p:cNvGrpSpPr/>
              <p:nvPr/>
            </p:nvGrpSpPr>
            <p:grpSpPr>
              <a:xfrm>
                <a:off x="11062227" y="523302"/>
                <a:ext cx="689548" cy="689548"/>
                <a:chOff x="14143037" y="2125662"/>
                <a:chExt cx="1219200" cy="1219200"/>
              </a:xfrm>
            </p:grpSpPr>
            <p:sp>
              <p:nvSpPr>
                <p:cNvPr id="44" name="Oval 43">
                  <a:extLst>
                    <a:ext uri="{FF2B5EF4-FFF2-40B4-BE49-F238E27FC236}">
                      <a16:creationId xmlns:a16="http://schemas.microsoft.com/office/drawing/2014/main" id="{FE464778-66DE-4A03-B931-9F750FEB96A8}"/>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215">
                  <a:extLst>
                    <a:ext uri="{FF2B5EF4-FFF2-40B4-BE49-F238E27FC236}">
                      <a16:creationId xmlns:a16="http://schemas.microsoft.com/office/drawing/2014/main" id="{FFC5A292-0C4A-485D-8815-860DF9AE9142}"/>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41" name="Group 40">
                <a:extLst>
                  <a:ext uri="{FF2B5EF4-FFF2-40B4-BE49-F238E27FC236}">
                    <a16:creationId xmlns:a16="http://schemas.microsoft.com/office/drawing/2014/main" id="{F5FB5EEE-80FC-4E98-BF77-C6CD921B377C}"/>
                  </a:ext>
                </a:extLst>
              </p:cNvPr>
              <p:cNvGrpSpPr/>
              <p:nvPr/>
            </p:nvGrpSpPr>
            <p:grpSpPr>
              <a:xfrm>
                <a:off x="12859693" y="3797736"/>
                <a:ext cx="967048" cy="967048"/>
                <a:chOff x="14395189" y="818837"/>
                <a:chExt cx="714896" cy="714896"/>
              </a:xfrm>
            </p:grpSpPr>
            <p:sp>
              <p:nvSpPr>
                <p:cNvPr id="42" name="Oval 41">
                  <a:extLst>
                    <a:ext uri="{FF2B5EF4-FFF2-40B4-BE49-F238E27FC236}">
                      <a16:creationId xmlns:a16="http://schemas.microsoft.com/office/drawing/2014/main" id="{9B09D444-A84C-4BFF-9AF7-93A4715B279B}"/>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214">
                  <a:extLst>
                    <a:ext uri="{FF2B5EF4-FFF2-40B4-BE49-F238E27FC236}">
                      <a16:creationId xmlns:a16="http://schemas.microsoft.com/office/drawing/2014/main" id="{F091C926-3DE3-4086-8B33-8D9AF5F159DE}"/>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5" name="Group 14">
              <a:extLst>
                <a:ext uri="{FF2B5EF4-FFF2-40B4-BE49-F238E27FC236}">
                  <a16:creationId xmlns:a16="http://schemas.microsoft.com/office/drawing/2014/main" id="{AB2EAAE9-77A2-4686-8394-C24EE86C973E}"/>
                </a:ext>
              </a:extLst>
            </p:cNvPr>
            <p:cNvGrpSpPr/>
            <p:nvPr/>
          </p:nvGrpSpPr>
          <p:grpSpPr>
            <a:xfrm>
              <a:off x="7854943" y="3631697"/>
              <a:ext cx="3216796" cy="3811680"/>
              <a:chOff x="5402548" y="785353"/>
              <a:chExt cx="3216796" cy="3811680"/>
            </a:xfrm>
          </p:grpSpPr>
          <p:grpSp>
            <p:nvGrpSpPr>
              <p:cNvPr id="26" name="Group 25">
                <a:extLst>
                  <a:ext uri="{FF2B5EF4-FFF2-40B4-BE49-F238E27FC236}">
                    <a16:creationId xmlns:a16="http://schemas.microsoft.com/office/drawing/2014/main" id="{DC8438A8-57C1-4916-8F37-943D9BD3A203}"/>
                  </a:ext>
                </a:extLst>
              </p:cNvPr>
              <p:cNvGrpSpPr/>
              <p:nvPr/>
            </p:nvGrpSpPr>
            <p:grpSpPr>
              <a:xfrm>
                <a:off x="7724566" y="2287873"/>
                <a:ext cx="894778" cy="894778"/>
                <a:chOff x="14143037" y="2125662"/>
                <a:chExt cx="1219200" cy="1219200"/>
              </a:xfrm>
            </p:grpSpPr>
            <p:sp>
              <p:nvSpPr>
                <p:cNvPr id="36" name="Oval 35">
                  <a:extLst>
                    <a:ext uri="{FF2B5EF4-FFF2-40B4-BE49-F238E27FC236}">
                      <a16:creationId xmlns:a16="http://schemas.microsoft.com/office/drawing/2014/main" id="{9F165AC6-6365-4E6F-873A-5F5EB7725BBE}"/>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215">
                  <a:extLst>
                    <a:ext uri="{FF2B5EF4-FFF2-40B4-BE49-F238E27FC236}">
                      <a16:creationId xmlns:a16="http://schemas.microsoft.com/office/drawing/2014/main" id="{659A4BD9-A461-4793-8B94-9A433E9C4B03}"/>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7" name="Group 26">
                <a:extLst>
                  <a:ext uri="{FF2B5EF4-FFF2-40B4-BE49-F238E27FC236}">
                    <a16:creationId xmlns:a16="http://schemas.microsoft.com/office/drawing/2014/main" id="{736BE8A2-D2A2-44B5-AC22-A69B2A8659D4}"/>
                  </a:ext>
                </a:extLst>
              </p:cNvPr>
              <p:cNvGrpSpPr/>
              <p:nvPr/>
            </p:nvGrpSpPr>
            <p:grpSpPr>
              <a:xfrm>
                <a:off x="7256351" y="3882137"/>
                <a:ext cx="714896" cy="714896"/>
                <a:chOff x="14395189" y="818837"/>
                <a:chExt cx="714896" cy="714896"/>
              </a:xfrm>
            </p:grpSpPr>
            <p:sp>
              <p:nvSpPr>
                <p:cNvPr id="34" name="Oval 33">
                  <a:extLst>
                    <a:ext uri="{FF2B5EF4-FFF2-40B4-BE49-F238E27FC236}">
                      <a16:creationId xmlns:a16="http://schemas.microsoft.com/office/drawing/2014/main" id="{2A8FB7F5-1F35-4B6F-B8E3-CF6742320E71}"/>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214">
                  <a:extLst>
                    <a:ext uri="{FF2B5EF4-FFF2-40B4-BE49-F238E27FC236}">
                      <a16:creationId xmlns:a16="http://schemas.microsoft.com/office/drawing/2014/main" id="{092AA5EB-87EE-4D62-B22B-3DF6CC4ABC3B}"/>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8" name="Group 27">
                <a:extLst>
                  <a:ext uri="{FF2B5EF4-FFF2-40B4-BE49-F238E27FC236}">
                    <a16:creationId xmlns:a16="http://schemas.microsoft.com/office/drawing/2014/main" id="{4D2A4E19-D4D8-4FF3-8CA3-2ACE1258A98F}"/>
                  </a:ext>
                </a:extLst>
              </p:cNvPr>
              <p:cNvGrpSpPr/>
              <p:nvPr/>
            </p:nvGrpSpPr>
            <p:grpSpPr>
              <a:xfrm>
                <a:off x="7755741" y="785353"/>
                <a:ext cx="689548" cy="689548"/>
                <a:chOff x="14143037" y="2125662"/>
                <a:chExt cx="1219200" cy="1219200"/>
              </a:xfrm>
            </p:grpSpPr>
            <p:sp>
              <p:nvSpPr>
                <p:cNvPr id="32" name="Oval 31">
                  <a:extLst>
                    <a:ext uri="{FF2B5EF4-FFF2-40B4-BE49-F238E27FC236}">
                      <a16:creationId xmlns:a16="http://schemas.microsoft.com/office/drawing/2014/main" id="{B11D70E5-356C-4706-AED8-53F47BEEB056}"/>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215">
                  <a:extLst>
                    <a:ext uri="{FF2B5EF4-FFF2-40B4-BE49-F238E27FC236}">
                      <a16:creationId xmlns:a16="http://schemas.microsoft.com/office/drawing/2014/main" id="{C0609A20-721F-4D44-9F33-DAE7ECE224CA}"/>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9" name="Group 28">
                <a:extLst>
                  <a:ext uri="{FF2B5EF4-FFF2-40B4-BE49-F238E27FC236}">
                    <a16:creationId xmlns:a16="http://schemas.microsoft.com/office/drawing/2014/main" id="{9A62E972-9E42-46A1-B8E3-B6D006CF5DC4}"/>
                  </a:ext>
                </a:extLst>
              </p:cNvPr>
              <p:cNvGrpSpPr/>
              <p:nvPr/>
            </p:nvGrpSpPr>
            <p:grpSpPr>
              <a:xfrm>
                <a:off x="5402548" y="2747507"/>
                <a:ext cx="967048" cy="967048"/>
                <a:chOff x="14395189" y="818837"/>
                <a:chExt cx="714896" cy="714896"/>
              </a:xfrm>
            </p:grpSpPr>
            <p:sp>
              <p:nvSpPr>
                <p:cNvPr id="30" name="Oval 29">
                  <a:extLst>
                    <a:ext uri="{FF2B5EF4-FFF2-40B4-BE49-F238E27FC236}">
                      <a16:creationId xmlns:a16="http://schemas.microsoft.com/office/drawing/2014/main" id="{23230FDD-8AA6-4F2E-94A4-3C5DB855B678}"/>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214">
                  <a:extLst>
                    <a:ext uri="{FF2B5EF4-FFF2-40B4-BE49-F238E27FC236}">
                      <a16:creationId xmlns:a16="http://schemas.microsoft.com/office/drawing/2014/main" id="{9896D489-41D8-43A8-9979-FF401C1A520F}"/>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6" name="Group 15">
              <a:extLst>
                <a:ext uri="{FF2B5EF4-FFF2-40B4-BE49-F238E27FC236}">
                  <a16:creationId xmlns:a16="http://schemas.microsoft.com/office/drawing/2014/main" id="{89A00043-486B-4F1B-A94B-E24432F530F5}"/>
                </a:ext>
              </a:extLst>
            </p:cNvPr>
            <p:cNvGrpSpPr/>
            <p:nvPr/>
          </p:nvGrpSpPr>
          <p:grpSpPr>
            <a:xfrm>
              <a:off x="11629801" y="5464512"/>
              <a:ext cx="1705246" cy="1682036"/>
              <a:chOff x="11062227" y="523302"/>
              <a:chExt cx="4300010" cy="4241482"/>
            </a:xfrm>
          </p:grpSpPr>
          <p:grpSp>
            <p:nvGrpSpPr>
              <p:cNvPr id="17" name="Group 16">
                <a:extLst>
                  <a:ext uri="{FF2B5EF4-FFF2-40B4-BE49-F238E27FC236}">
                    <a16:creationId xmlns:a16="http://schemas.microsoft.com/office/drawing/2014/main" id="{AC8FE76C-0D13-486E-9B9C-6C7A8B6F0FFC}"/>
                  </a:ext>
                </a:extLst>
              </p:cNvPr>
              <p:cNvGrpSpPr/>
              <p:nvPr/>
            </p:nvGrpSpPr>
            <p:grpSpPr>
              <a:xfrm>
                <a:off x="14143037" y="2125662"/>
                <a:ext cx="1219200" cy="1219200"/>
                <a:chOff x="14143037" y="2125662"/>
                <a:chExt cx="1219200" cy="1219200"/>
              </a:xfrm>
            </p:grpSpPr>
            <p:sp>
              <p:nvSpPr>
                <p:cNvPr id="24" name="Oval 23">
                  <a:extLst>
                    <a:ext uri="{FF2B5EF4-FFF2-40B4-BE49-F238E27FC236}">
                      <a16:creationId xmlns:a16="http://schemas.microsoft.com/office/drawing/2014/main" id="{7C1C7E66-4567-41C6-8D7B-41EB0349DD9A}"/>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5" name="Freeform 215">
                  <a:extLst>
                    <a:ext uri="{FF2B5EF4-FFF2-40B4-BE49-F238E27FC236}">
                      <a16:creationId xmlns:a16="http://schemas.microsoft.com/office/drawing/2014/main" id="{C34224A1-4553-41DB-97ED-1D9BCAE1D438}"/>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8" name="Group 17">
                <a:extLst>
                  <a:ext uri="{FF2B5EF4-FFF2-40B4-BE49-F238E27FC236}">
                    <a16:creationId xmlns:a16="http://schemas.microsoft.com/office/drawing/2014/main" id="{E3EFEF35-D2E4-471A-8B75-0F2468EB7EDC}"/>
                  </a:ext>
                </a:extLst>
              </p:cNvPr>
              <p:cNvGrpSpPr/>
              <p:nvPr/>
            </p:nvGrpSpPr>
            <p:grpSpPr>
              <a:xfrm>
                <a:off x="11062227" y="523302"/>
                <a:ext cx="689548" cy="689548"/>
                <a:chOff x="14143037" y="2125662"/>
                <a:chExt cx="1219200" cy="1219200"/>
              </a:xfrm>
            </p:grpSpPr>
            <p:sp>
              <p:nvSpPr>
                <p:cNvPr id="22" name="Oval 21">
                  <a:extLst>
                    <a:ext uri="{FF2B5EF4-FFF2-40B4-BE49-F238E27FC236}">
                      <a16:creationId xmlns:a16="http://schemas.microsoft.com/office/drawing/2014/main" id="{4D0099F5-5730-40A1-A267-8723E794B611}"/>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15">
                  <a:extLst>
                    <a:ext uri="{FF2B5EF4-FFF2-40B4-BE49-F238E27FC236}">
                      <a16:creationId xmlns:a16="http://schemas.microsoft.com/office/drawing/2014/main" id="{759FE078-AE18-49E5-AEE9-A3B4AC7877E4}"/>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9" name="Group 18">
                <a:extLst>
                  <a:ext uri="{FF2B5EF4-FFF2-40B4-BE49-F238E27FC236}">
                    <a16:creationId xmlns:a16="http://schemas.microsoft.com/office/drawing/2014/main" id="{2E17698A-D219-4228-8DB7-0C521E1A9134}"/>
                  </a:ext>
                </a:extLst>
              </p:cNvPr>
              <p:cNvGrpSpPr/>
              <p:nvPr/>
            </p:nvGrpSpPr>
            <p:grpSpPr>
              <a:xfrm>
                <a:off x="12859693" y="3797736"/>
                <a:ext cx="967048" cy="967048"/>
                <a:chOff x="14395189" y="818837"/>
                <a:chExt cx="714896" cy="714896"/>
              </a:xfrm>
            </p:grpSpPr>
            <p:sp>
              <p:nvSpPr>
                <p:cNvPr id="20" name="Oval 19">
                  <a:extLst>
                    <a:ext uri="{FF2B5EF4-FFF2-40B4-BE49-F238E27FC236}">
                      <a16:creationId xmlns:a16="http://schemas.microsoft.com/office/drawing/2014/main" id="{5B4A8C22-15B2-4B7E-B0C5-9B9C2BBC6C07}"/>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14">
                  <a:extLst>
                    <a:ext uri="{FF2B5EF4-FFF2-40B4-BE49-F238E27FC236}">
                      <a16:creationId xmlns:a16="http://schemas.microsoft.com/office/drawing/2014/main" id="{BDF7D169-E686-4DC3-BEE1-71F32814F9AF}"/>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sp>
        <p:nvSpPr>
          <p:cNvPr id="2" name="Title 1"/>
          <p:cNvSpPr>
            <a:spLocks noGrp="1"/>
          </p:cNvSpPr>
          <p:nvPr>
            <p:ph type="title" hasCustomPrompt="1"/>
          </p:nvPr>
        </p:nvSpPr>
        <p:spPr>
          <a:xfrm>
            <a:off x="269240" y="4002128"/>
            <a:ext cx="4402325" cy="995838"/>
          </a:xfrm>
          <a:noFill/>
        </p:spPr>
        <p:txBody>
          <a:bodyPr wrap="square" tIns="91440" bIns="91440" anchor="ctr" anchorCtr="0">
            <a:spAutoFit/>
          </a:bodyPr>
          <a:lstStyle>
            <a:lvl1pPr>
              <a:defRPr sz="5882" spc="-98" baseline="0">
                <a:solidFill>
                  <a:schemeClr val="accent2"/>
                </a:solidFill>
              </a:defRPr>
            </a:lvl1pPr>
          </a:lstStyle>
          <a:p>
            <a:r>
              <a:rPr lang="en-US"/>
              <a:t>Section title</a:t>
            </a:r>
          </a:p>
        </p:txBody>
      </p:sp>
    </p:spTree>
    <p:extLst>
      <p:ext uri="{BB962C8B-B14F-4D97-AF65-F5344CB8AC3E}">
        <p14:creationId xmlns:p14="http://schemas.microsoft.com/office/powerpoint/2010/main" val="3882004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tx1"/>
        </a:solidFill>
        <a:effectLst/>
      </p:bgPr>
    </p:bg>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FD3724A3-1E47-4DD5-B67D-50FE6AF4E39A}"/>
              </a:ext>
            </a:extLst>
          </p:cNvPr>
          <p:cNvPicPr>
            <a:picLocks noChangeAspect="1"/>
          </p:cNvPicPr>
          <p:nvPr userDrawn="1"/>
        </p:nvPicPr>
        <p:blipFill>
          <a:blip r:embed="rId2"/>
          <a:stretch>
            <a:fillRect/>
          </a:stretch>
        </p:blipFill>
        <p:spPr>
          <a:xfrm>
            <a:off x="1906460" y="0"/>
            <a:ext cx="10285540" cy="6857999"/>
          </a:xfrm>
          <a:prstGeom prst="rect">
            <a:avLst/>
          </a:prstGeom>
        </p:spPr>
      </p:pic>
      <p:sp>
        <p:nvSpPr>
          <p:cNvPr id="8" name="Rectangle 7">
            <a:extLst>
              <a:ext uri="{FF2B5EF4-FFF2-40B4-BE49-F238E27FC236}">
                <a16:creationId xmlns:a16="http://schemas.microsoft.com/office/drawing/2014/main" id="{C560FA90-BED7-42F6-BAD3-85B17A14D870}"/>
              </a:ext>
            </a:extLst>
          </p:cNvPr>
          <p:cNvSpPr/>
          <p:nvPr userDrawn="1"/>
        </p:nvSpPr>
        <p:spPr bwMode="auto">
          <a:xfrm>
            <a:off x="0" y="0"/>
            <a:ext cx="1892635"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0" name="Group 89">
            <a:extLst>
              <a:ext uri="{FF2B5EF4-FFF2-40B4-BE49-F238E27FC236}">
                <a16:creationId xmlns:a16="http://schemas.microsoft.com/office/drawing/2014/main" id="{42F65A33-B64F-4818-BADD-3C0A4649E1C4}"/>
              </a:ext>
            </a:extLst>
          </p:cNvPr>
          <p:cNvGrpSpPr/>
          <p:nvPr userDrawn="1"/>
        </p:nvGrpSpPr>
        <p:grpSpPr>
          <a:xfrm>
            <a:off x="4004342" y="1"/>
            <a:ext cx="8060559" cy="6785003"/>
            <a:chOff x="7854943" y="523302"/>
            <a:chExt cx="8222190" cy="6920075"/>
          </a:xfrm>
        </p:grpSpPr>
        <p:grpSp>
          <p:nvGrpSpPr>
            <p:cNvPr id="91" name="Group 90">
              <a:extLst>
                <a:ext uri="{FF2B5EF4-FFF2-40B4-BE49-F238E27FC236}">
                  <a16:creationId xmlns:a16="http://schemas.microsoft.com/office/drawing/2014/main" id="{BCEBCB6C-E9BC-4F49-9853-3D680E8DD5A2}"/>
                </a:ext>
              </a:extLst>
            </p:cNvPr>
            <p:cNvGrpSpPr/>
            <p:nvPr/>
          </p:nvGrpSpPr>
          <p:grpSpPr>
            <a:xfrm>
              <a:off x="11062227" y="523302"/>
              <a:ext cx="5014906" cy="5729131"/>
              <a:chOff x="11062227" y="523302"/>
              <a:chExt cx="5014906" cy="5729131"/>
            </a:xfrm>
          </p:grpSpPr>
          <p:grpSp>
            <p:nvGrpSpPr>
              <p:cNvPr id="115" name="Group 114">
                <a:extLst>
                  <a:ext uri="{FF2B5EF4-FFF2-40B4-BE49-F238E27FC236}">
                    <a16:creationId xmlns:a16="http://schemas.microsoft.com/office/drawing/2014/main" id="{8639DA67-AC10-4787-AEFB-645C73A1A0F9}"/>
                  </a:ext>
                </a:extLst>
              </p:cNvPr>
              <p:cNvGrpSpPr/>
              <p:nvPr/>
            </p:nvGrpSpPr>
            <p:grpSpPr>
              <a:xfrm>
                <a:off x="14143037" y="2125662"/>
                <a:ext cx="1219200" cy="1219200"/>
                <a:chOff x="14143037" y="2125662"/>
                <a:chExt cx="1219200" cy="1219200"/>
              </a:xfrm>
            </p:grpSpPr>
            <p:sp>
              <p:nvSpPr>
                <p:cNvPr id="125" name="Oval 124">
                  <a:extLst>
                    <a:ext uri="{FF2B5EF4-FFF2-40B4-BE49-F238E27FC236}">
                      <a16:creationId xmlns:a16="http://schemas.microsoft.com/office/drawing/2014/main" id="{AC209063-34D2-4E34-8FAA-A4CEA41E3537}"/>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6" name="Freeform 215">
                  <a:extLst>
                    <a:ext uri="{FF2B5EF4-FFF2-40B4-BE49-F238E27FC236}">
                      <a16:creationId xmlns:a16="http://schemas.microsoft.com/office/drawing/2014/main" id="{CE144A20-2314-4825-8E35-1A2567D05F5D}"/>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6" name="Group 115">
                <a:extLst>
                  <a:ext uri="{FF2B5EF4-FFF2-40B4-BE49-F238E27FC236}">
                    <a16:creationId xmlns:a16="http://schemas.microsoft.com/office/drawing/2014/main" id="{5B1A0C75-86D3-4DF7-8184-07C662D68E6F}"/>
                  </a:ext>
                </a:extLst>
              </p:cNvPr>
              <p:cNvGrpSpPr/>
              <p:nvPr/>
            </p:nvGrpSpPr>
            <p:grpSpPr>
              <a:xfrm>
                <a:off x="15362237" y="5537537"/>
                <a:ext cx="714896" cy="714896"/>
                <a:chOff x="14395189" y="818837"/>
                <a:chExt cx="714896" cy="714896"/>
              </a:xfrm>
            </p:grpSpPr>
            <p:sp>
              <p:nvSpPr>
                <p:cNvPr id="123" name="Oval 122">
                  <a:extLst>
                    <a:ext uri="{FF2B5EF4-FFF2-40B4-BE49-F238E27FC236}">
                      <a16:creationId xmlns:a16="http://schemas.microsoft.com/office/drawing/2014/main" id="{3816F0A7-206F-4EF9-8A54-0C08E7409D2D}"/>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214">
                  <a:extLst>
                    <a:ext uri="{FF2B5EF4-FFF2-40B4-BE49-F238E27FC236}">
                      <a16:creationId xmlns:a16="http://schemas.microsoft.com/office/drawing/2014/main" id="{03F6DBC1-5A23-4AF7-B4B1-164F1AB6539D}"/>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7" name="Group 116">
                <a:extLst>
                  <a:ext uri="{FF2B5EF4-FFF2-40B4-BE49-F238E27FC236}">
                    <a16:creationId xmlns:a16="http://schemas.microsoft.com/office/drawing/2014/main" id="{B29E29B4-93FE-48A7-848C-37CC618A2EB8}"/>
                  </a:ext>
                </a:extLst>
              </p:cNvPr>
              <p:cNvGrpSpPr/>
              <p:nvPr/>
            </p:nvGrpSpPr>
            <p:grpSpPr>
              <a:xfrm>
                <a:off x="11062227" y="523302"/>
                <a:ext cx="689548" cy="689548"/>
                <a:chOff x="14143037" y="2125662"/>
                <a:chExt cx="1219200" cy="1219200"/>
              </a:xfrm>
            </p:grpSpPr>
            <p:sp>
              <p:nvSpPr>
                <p:cNvPr id="121" name="Oval 120">
                  <a:extLst>
                    <a:ext uri="{FF2B5EF4-FFF2-40B4-BE49-F238E27FC236}">
                      <a16:creationId xmlns:a16="http://schemas.microsoft.com/office/drawing/2014/main" id="{904E3ADE-56F7-4198-8212-3FA23808FC14}"/>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2" name="Freeform 215">
                  <a:extLst>
                    <a:ext uri="{FF2B5EF4-FFF2-40B4-BE49-F238E27FC236}">
                      <a16:creationId xmlns:a16="http://schemas.microsoft.com/office/drawing/2014/main" id="{50D48D4A-D767-451F-ABC1-3597E69C28B6}"/>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8" name="Group 117">
                <a:extLst>
                  <a:ext uri="{FF2B5EF4-FFF2-40B4-BE49-F238E27FC236}">
                    <a16:creationId xmlns:a16="http://schemas.microsoft.com/office/drawing/2014/main" id="{3D51B588-9C21-45B9-A062-4527685C68A9}"/>
                  </a:ext>
                </a:extLst>
              </p:cNvPr>
              <p:cNvGrpSpPr/>
              <p:nvPr/>
            </p:nvGrpSpPr>
            <p:grpSpPr>
              <a:xfrm>
                <a:off x="12859693" y="3797736"/>
                <a:ext cx="967048" cy="967048"/>
                <a:chOff x="14395189" y="818837"/>
                <a:chExt cx="714896" cy="714896"/>
              </a:xfrm>
            </p:grpSpPr>
            <p:sp>
              <p:nvSpPr>
                <p:cNvPr id="119" name="Oval 118">
                  <a:extLst>
                    <a:ext uri="{FF2B5EF4-FFF2-40B4-BE49-F238E27FC236}">
                      <a16:creationId xmlns:a16="http://schemas.microsoft.com/office/drawing/2014/main" id="{D9C1DA4C-3FC7-4B37-9EB5-273D998FEEFE}"/>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214">
                  <a:extLst>
                    <a:ext uri="{FF2B5EF4-FFF2-40B4-BE49-F238E27FC236}">
                      <a16:creationId xmlns:a16="http://schemas.microsoft.com/office/drawing/2014/main" id="{5C2DD078-88D9-4BE6-903B-BCDECE73A440}"/>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92" name="Group 91">
              <a:extLst>
                <a:ext uri="{FF2B5EF4-FFF2-40B4-BE49-F238E27FC236}">
                  <a16:creationId xmlns:a16="http://schemas.microsoft.com/office/drawing/2014/main" id="{B41B75CE-19DE-4261-B09E-291F062F58D4}"/>
                </a:ext>
              </a:extLst>
            </p:cNvPr>
            <p:cNvGrpSpPr/>
            <p:nvPr/>
          </p:nvGrpSpPr>
          <p:grpSpPr>
            <a:xfrm>
              <a:off x="7854943" y="3631697"/>
              <a:ext cx="3216796" cy="3811680"/>
              <a:chOff x="5402548" y="785353"/>
              <a:chExt cx="3216796" cy="3811680"/>
            </a:xfrm>
          </p:grpSpPr>
          <p:grpSp>
            <p:nvGrpSpPr>
              <p:cNvPr id="103" name="Group 102">
                <a:extLst>
                  <a:ext uri="{FF2B5EF4-FFF2-40B4-BE49-F238E27FC236}">
                    <a16:creationId xmlns:a16="http://schemas.microsoft.com/office/drawing/2014/main" id="{EAADC1BF-4B8F-45BD-A68A-164B09BD343A}"/>
                  </a:ext>
                </a:extLst>
              </p:cNvPr>
              <p:cNvGrpSpPr/>
              <p:nvPr/>
            </p:nvGrpSpPr>
            <p:grpSpPr>
              <a:xfrm>
                <a:off x="7724566" y="2287873"/>
                <a:ext cx="894778" cy="894778"/>
                <a:chOff x="14143037" y="2125662"/>
                <a:chExt cx="1219200" cy="1219200"/>
              </a:xfrm>
            </p:grpSpPr>
            <p:sp>
              <p:nvSpPr>
                <p:cNvPr id="113" name="Oval 112">
                  <a:extLst>
                    <a:ext uri="{FF2B5EF4-FFF2-40B4-BE49-F238E27FC236}">
                      <a16:creationId xmlns:a16="http://schemas.microsoft.com/office/drawing/2014/main" id="{5E6A64B5-7B1B-4A9C-A457-28AE8C1E51BB}"/>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4" name="Freeform 215">
                  <a:extLst>
                    <a:ext uri="{FF2B5EF4-FFF2-40B4-BE49-F238E27FC236}">
                      <a16:creationId xmlns:a16="http://schemas.microsoft.com/office/drawing/2014/main" id="{0C70199B-4483-4F2E-91F9-C39D6FD52EFB}"/>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04" name="Group 103">
                <a:extLst>
                  <a:ext uri="{FF2B5EF4-FFF2-40B4-BE49-F238E27FC236}">
                    <a16:creationId xmlns:a16="http://schemas.microsoft.com/office/drawing/2014/main" id="{A60AC637-3233-47EA-BE7A-66F5E65F3DA5}"/>
                  </a:ext>
                </a:extLst>
              </p:cNvPr>
              <p:cNvGrpSpPr/>
              <p:nvPr/>
            </p:nvGrpSpPr>
            <p:grpSpPr>
              <a:xfrm>
                <a:off x="7256351" y="3882137"/>
                <a:ext cx="714896" cy="714896"/>
                <a:chOff x="14395189" y="818837"/>
                <a:chExt cx="714896" cy="714896"/>
              </a:xfrm>
            </p:grpSpPr>
            <p:sp>
              <p:nvSpPr>
                <p:cNvPr id="111" name="Oval 110">
                  <a:extLst>
                    <a:ext uri="{FF2B5EF4-FFF2-40B4-BE49-F238E27FC236}">
                      <a16:creationId xmlns:a16="http://schemas.microsoft.com/office/drawing/2014/main" id="{421F96B8-90C2-4978-BB4E-BC04CB4941C7}"/>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214">
                  <a:extLst>
                    <a:ext uri="{FF2B5EF4-FFF2-40B4-BE49-F238E27FC236}">
                      <a16:creationId xmlns:a16="http://schemas.microsoft.com/office/drawing/2014/main" id="{481B7563-8B01-491C-89DA-5B3898242671}"/>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05" name="Group 104">
                <a:extLst>
                  <a:ext uri="{FF2B5EF4-FFF2-40B4-BE49-F238E27FC236}">
                    <a16:creationId xmlns:a16="http://schemas.microsoft.com/office/drawing/2014/main" id="{0D295AF4-E469-4E4B-A124-7685A0326A42}"/>
                  </a:ext>
                </a:extLst>
              </p:cNvPr>
              <p:cNvGrpSpPr/>
              <p:nvPr/>
            </p:nvGrpSpPr>
            <p:grpSpPr>
              <a:xfrm>
                <a:off x="7755741" y="785353"/>
                <a:ext cx="689548" cy="689548"/>
                <a:chOff x="14143037" y="2125662"/>
                <a:chExt cx="1219200" cy="1219200"/>
              </a:xfrm>
            </p:grpSpPr>
            <p:sp>
              <p:nvSpPr>
                <p:cNvPr id="109" name="Oval 108">
                  <a:extLst>
                    <a:ext uri="{FF2B5EF4-FFF2-40B4-BE49-F238E27FC236}">
                      <a16:creationId xmlns:a16="http://schemas.microsoft.com/office/drawing/2014/main" id="{362B1A41-2651-49CF-B433-E0F65AB0942C}"/>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0" name="Freeform 215">
                  <a:extLst>
                    <a:ext uri="{FF2B5EF4-FFF2-40B4-BE49-F238E27FC236}">
                      <a16:creationId xmlns:a16="http://schemas.microsoft.com/office/drawing/2014/main" id="{E2C594F3-1D1A-4F59-A998-870630C4FEC4}"/>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06" name="Group 105">
                <a:extLst>
                  <a:ext uri="{FF2B5EF4-FFF2-40B4-BE49-F238E27FC236}">
                    <a16:creationId xmlns:a16="http://schemas.microsoft.com/office/drawing/2014/main" id="{C15ED10A-726B-40D5-A9E1-5E9DD1F3154F}"/>
                  </a:ext>
                </a:extLst>
              </p:cNvPr>
              <p:cNvGrpSpPr/>
              <p:nvPr/>
            </p:nvGrpSpPr>
            <p:grpSpPr>
              <a:xfrm>
                <a:off x="5402548" y="2747507"/>
                <a:ext cx="967048" cy="967048"/>
                <a:chOff x="14395189" y="818837"/>
                <a:chExt cx="714896" cy="714896"/>
              </a:xfrm>
            </p:grpSpPr>
            <p:sp>
              <p:nvSpPr>
                <p:cNvPr id="107" name="Oval 106">
                  <a:extLst>
                    <a:ext uri="{FF2B5EF4-FFF2-40B4-BE49-F238E27FC236}">
                      <a16:creationId xmlns:a16="http://schemas.microsoft.com/office/drawing/2014/main" id="{E657DEC3-557C-4D52-AF5F-D09047A33BD0}"/>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214">
                  <a:extLst>
                    <a:ext uri="{FF2B5EF4-FFF2-40B4-BE49-F238E27FC236}">
                      <a16:creationId xmlns:a16="http://schemas.microsoft.com/office/drawing/2014/main" id="{8E48128A-616B-422F-ADAF-335FA3C8B544}"/>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93" name="Group 92">
              <a:extLst>
                <a:ext uri="{FF2B5EF4-FFF2-40B4-BE49-F238E27FC236}">
                  <a16:creationId xmlns:a16="http://schemas.microsoft.com/office/drawing/2014/main" id="{89347DF3-C3FA-4620-BAFB-E24EC716E083}"/>
                </a:ext>
              </a:extLst>
            </p:cNvPr>
            <p:cNvGrpSpPr/>
            <p:nvPr/>
          </p:nvGrpSpPr>
          <p:grpSpPr>
            <a:xfrm>
              <a:off x="11629801" y="5464512"/>
              <a:ext cx="1705246" cy="1682036"/>
              <a:chOff x="11062227" y="523302"/>
              <a:chExt cx="4300010" cy="4241482"/>
            </a:xfrm>
          </p:grpSpPr>
          <p:grpSp>
            <p:nvGrpSpPr>
              <p:cNvPr id="94" name="Group 93">
                <a:extLst>
                  <a:ext uri="{FF2B5EF4-FFF2-40B4-BE49-F238E27FC236}">
                    <a16:creationId xmlns:a16="http://schemas.microsoft.com/office/drawing/2014/main" id="{166F6749-F9B5-49B0-9BC3-EC57F30E41AD}"/>
                  </a:ext>
                </a:extLst>
              </p:cNvPr>
              <p:cNvGrpSpPr/>
              <p:nvPr/>
            </p:nvGrpSpPr>
            <p:grpSpPr>
              <a:xfrm>
                <a:off x="14143037" y="2125662"/>
                <a:ext cx="1219200" cy="1219200"/>
                <a:chOff x="14143037" y="2125662"/>
                <a:chExt cx="1219200" cy="1219200"/>
              </a:xfrm>
            </p:grpSpPr>
            <p:sp>
              <p:nvSpPr>
                <p:cNvPr id="101" name="Oval 100">
                  <a:extLst>
                    <a:ext uri="{FF2B5EF4-FFF2-40B4-BE49-F238E27FC236}">
                      <a16:creationId xmlns:a16="http://schemas.microsoft.com/office/drawing/2014/main" id="{2EE223F7-7FF0-4C58-94F2-C772143B7736}"/>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215">
                  <a:extLst>
                    <a:ext uri="{FF2B5EF4-FFF2-40B4-BE49-F238E27FC236}">
                      <a16:creationId xmlns:a16="http://schemas.microsoft.com/office/drawing/2014/main" id="{FAFCB8D0-49BD-4C9E-9725-987E5305308B}"/>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95" name="Group 94">
                <a:extLst>
                  <a:ext uri="{FF2B5EF4-FFF2-40B4-BE49-F238E27FC236}">
                    <a16:creationId xmlns:a16="http://schemas.microsoft.com/office/drawing/2014/main" id="{034883CF-14EF-4286-B257-F86707946CED}"/>
                  </a:ext>
                </a:extLst>
              </p:cNvPr>
              <p:cNvGrpSpPr/>
              <p:nvPr/>
            </p:nvGrpSpPr>
            <p:grpSpPr>
              <a:xfrm>
                <a:off x="11062227" y="523302"/>
                <a:ext cx="689548" cy="689548"/>
                <a:chOff x="14143037" y="2125662"/>
                <a:chExt cx="1219200" cy="1219200"/>
              </a:xfrm>
            </p:grpSpPr>
            <p:sp>
              <p:nvSpPr>
                <p:cNvPr id="99" name="Oval 98">
                  <a:extLst>
                    <a:ext uri="{FF2B5EF4-FFF2-40B4-BE49-F238E27FC236}">
                      <a16:creationId xmlns:a16="http://schemas.microsoft.com/office/drawing/2014/main" id="{13A66403-799F-4984-957C-9B65CC0E1F05}"/>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215">
                  <a:extLst>
                    <a:ext uri="{FF2B5EF4-FFF2-40B4-BE49-F238E27FC236}">
                      <a16:creationId xmlns:a16="http://schemas.microsoft.com/office/drawing/2014/main" id="{8AEC5C19-428E-425B-A9EF-BCE315984E73}"/>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96" name="Group 95">
                <a:extLst>
                  <a:ext uri="{FF2B5EF4-FFF2-40B4-BE49-F238E27FC236}">
                    <a16:creationId xmlns:a16="http://schemas.microsoft.com/office/drawing/2014/main" id="{B66BEA50-D600-497D-A90F-919D9824393C}"/>
                  </a:ext>
                </a:extLst>
              </p:cNvPr>
              <p:cNvGrpSpPr/>
              <p:nvPr/>
            </p:nvGrpSpPr>
            <p:grpSpPr>
              <a:xfrm>
                <a:off x="12859693" y="3797736"/>
                <a:ext cx="967048" cy="967048"/>
                <a:chOff x="14395189" y="818837"/>
                <a:chExt cx="714896" cy="714896"/>
              </a:xfrm>
            </p:grpSpPr>
            <p:sp>
              <p:nvSpPr>
                <p:cNvPr id="97" name="Oval 96">
                  <a:extLst>
                    <a:ext uri="{FF2B5EF4-FFF2-40B4-BE49-F238E27FC236}">
                      <a16:creationId xmlns:a16="http://schemas.microsoft.com/office/drawing/2014/main" id="{B321DF5D-637B-40FF-A85F-7E7AB16B6ED5}"/>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8" name="Freeform 214">
                  <a:extLst>
                    <a:ext uri="{FF2B5EF4-FFF2-40B4-BE49-F238E27FC236}">
                      <a16:creationId xmlns:a16="http://schemas.microsoft.com/office/drawing/2014/main" id="{19F94D67-9ECB-4C76-93C2-A2C288C368B4}"/>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pic>
        <p:nvPicPr>
          <p:cNvPr id="127" name="Picture 126">
            <a:extLst>
              <a:ext uri="{FF2B5EF4-FFF2-40B4-BE49-F238E27FC236}">
                <a16:creationId xmlns:a16="http://schemas.microsoft.com/office/drawing/2014/main" id="{EE83B8C0-23B4-4BAB-A905-F0C4608297C9}"/>
              </a:ext>
            </a:extLst>
          </p:cNvPr>
          <p:cNvPicPr>
            <a:picLocks noChangeAspect="1"/>
          </p:cNvPicPr>
          <p:nvPr userDrawn="1"/>
        </p:nvPicPr>
        <p:blipFill rotWithShape="1">
          <a:blip r:embed="rId3"/>
          <a:srcRect l="363" t="24986" b="7766"/>
          <a:stretch/>
        </p:blipFill>
        <p:spPr>
          <a:xfrm>
            <a:off x="2221214" y="1"/>
            <a:ext cx="9961474" cy="6724338"/>
          </a:xfrm>
          <a:prstGeom prst="rect">
            <a:avLst/>
          </a:prstGeom>
        </p:spPr>
      </p:pic>
      <p:sp>
        <p:nvSpPr>
          <p:cNvPr id="6" name="Rectangle 5">
            <a:extLst>
              <a:ext uri="{FF2B5EF4-FFF2-40B4-BE49-F238E27FC236}">
                <a16:creationId xmlns:a16="http://schemas.microsoft.com/office/drawing/2014/main" id="{EB6A3AEF-3298-4639-82A5-379FE3CD8A97}"/>
              </a:ext>
            </a:extLst>
          </p:cNvPr>
          <p:cNvSpPr/>
          <p:nvPr userDrawn="1"/>
        </p:nvSpPr>
        <p:spPr bwMode="auto">
          <a:xfrm>
            <a:off x="1892635" y="-13399"/>
            <a:ext cx="7090387" cy="6871398"/>
          </a:xfrm>
          <a:prstGeom prst="rect">
            <a:avLst/>
          </a:prstGeom>
          <a:gradFill flip="none" rotWithShape="1">
            <a:gsLst>
              <a:gs pos="47000">
                <a:srgbClr val="FFFFFF">
                  <a:alpha val="79000"/>
                </a:srgbClr>
              </a:gs>
              <a:gs pos="0">
                <a:schemeClr val="tx1">
                  <a:lumMod val="95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40" y="4002128"/>
            <a:ext cx="4280008" cy="995838"/>
          </a:xfrm>
          <a:noFill/>
        </p:spPr>
        <p:txBody>
          <a:bodyPr wrap="square" tIns="91440" bIns="91440" anchor="ctr" anchorCtr="0">
            <a:spAutoFit/>
          </a:bodyPr>
          <a:lstStyle>
            <a:lvl1pPr>
              <a:defRPr sz="5882" spc="-98" baseline="0">
                <a:solidFill>
                  <a:schemeClr val="accent2"/>
                </a:solidFill>
              </a:defRPr>
            </a:lvl1pPr>
          </a:lstStyle>
          <a:p>
            <a:r>
              <a:rPr lang="en-US"/>
              <a:t>Section title</a:t>
            </a:r>
          </a:p>
        </p:txBody>
      </p:sp>
    </p:spTree>
    <p:extLst>
      <p:ext uri="{BB962C8B-B14F-4D97-AF65-F5344CB8AC3E}">
        <p14:creationId xmlns:p14="http://schemas.microsoft.com/office/powerpoint/2010/main" val="3874672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60FA90-BED7-42F6-BAD3-85B17A14D870}"/>
              </a:ext>
            </a:extLst>
          </p:cNvPr>
          <p:cNvSpPr/>
          <p:nvPr userDrawn="1"/>
        </p:nvSpPr>
        <p:spPr bwMode="auto">
          <a:xfrm>
            <a:off x="-1" y="0"/>
            <a:ext cx="19576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76BFE057-0950-4990-AB23-076F346B7B2C}"/>
              </a:ext>
            </a:extLst>
          </p:cNvPr>
          <p:cNvPicPr>
            <a:picLocks noChangeAspect="1"/>
          </p:cNvPicPr>
          <p:nvPr userDrawn="1"/>
        </p:nvPicPr>
        <p:blipFill rotWithShape="1">
          <a:blip r:embed="rId2"/>
          <a:srcRect t="6388" r="6388"/>
          <a:stretch/>
        </p:blipFill>
        <p:spPr>
          <a:xfrm>
            <a:off x="1906459" y="0"/>
            <a:ext cx="10285541" cy="6858000"/>
          </a:xfrm>
          <a:prstGeom prst="rect">
            <a:avLst/>
          </a:prstGeom>
        </p:spPr>
      </p:pic>
      <p:pic>
        <p:nvPicPr>
          <p:cNvPr id="52" name="Picture 51">
            <a:extLst>
              <a:ext uri="{FF2B5EF4-FFF2-40B4-BE49-F238E27FC236}">
                <a16:creationId xmlns:a16="http://schemas.microsoft.com/office/drawing/2014/main" id="{FD3724A3-1E47-4DD5-B67D-50FE6AF4E39A}"/>
              </a:ext>
            </a:extLst>
          </p:cNvPr>
          <p:cNvPicPr>
            <a:picLocks noChangeAspect="1"/>
          </p:cNvPicPr>
          <p:nvPr userDrawn="1"/>
        </p:nvPicPr>
        <p:blipFill rotWithShape="1">
          <a:blip r:embed="rId3"/>
          <a:srcRect l="363" t="24986" b="7766"/>
          <a:stretch/>
        </p:blipFill>
        <p:spPr>
          <a:xfrm>
            <a:off x="2032519" y="0"/>
            <a:ext cx="10159481" cy="6858000"/>
          </a:xfrm>
          <a:prstGeom prst="rect">
            <a:avLst/>
          </a:prstGeom>
        </p:spPr>
      </p:pic>
      <p:sp>
        <p:nvSpPr>
          <p:cNvPr id="6" name="Rectangle 5">
            <a:extLst>
              <a:ext uri="{FF2B5EF4-FFF2-40B4-BE49-F238E27FC236}">
                <a16:creationId xmlns:a16="http://schemas.microsoft.com/office/drawing/2014/main" id="{EB6A3AEF-3298-4639-82A5-379FE3CD8A97}"/>
              </a:ext>
            </a:extLst>
          </p:cNvPr>
          <p:cNvSpPr/>
          <p:nvPr userDrawn="1"/>
        </p:nvSpPr>
        <p:spPr bwMode="auto">
          <a:xfrm>
            <a:off x="1906460" y="0"/>
            <a:ext cx="7076562" cy="6858000"/>
          </a:xfrm>
          <a:prstGeom prst="rect">
            <a:avLst/>
          </a:prstGeom>
          <a:gradFill flip="none" rotWithShape="1">
            <a:gsLst>
              <a:gs pos="47000">
                <a:srgbClr val="FFFFFF">
                  <a:alpha val="79000"/>
                </a:srgbClr>
              </a:gs>
              <a:gs pos="0">
                <a:schemeClr val="tx1">
                  <a:lumMod val="95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0" name="Group 89">
            <a:extLst>
              <a:ext uri="{FF2B5EF4-FFF2-40B4-BE49-F238E27FC236}">
                <a16:creationId xmlns:a16="http://schemas.microsoft.com/office/drawing/2014/main" id="{42F65A33-B64F-4818-BADD-3C0A4649E1C4}"/>
              </a:ext>
            </a:extLst>
          </p:cNvPr>
          <p:cNvGrpSpPr/>
          <p:nvPr userDrawn="1"/>
        </p:nvGrpSpPr>
        <p:grpSpPr>
          <a:xfrm>
            <a:off x="4004342" y="1"/>
            <a:ext cx="8060559" cy="6785003"/>
            <a:chOff x="7854943" y="523302"/>
            <a:chExt cx="8222190" cy="6920075"/>
          </a:xfrm>
        </p:grpSpPr>
        <p:grpSp>
          <p:nvGrpSpPr>
            <p:cNvPr id="91" name="Group 90">
              <a:extLst>
                <a:ext uri="{FF2B5EF4-FFF2-40B4-BE49-F238E27FC236}">
                  <a16:creationId xmlns:a16="http://schemas.microsoft.com/office/drawing/2014/main" id="{BCEBCB6C-E9BC-4F49-9853-3D680E8DD5A2}"/>
                </a:ext>
              </a:extLst>
            </p:cNvPr>
            <p:cNvGrpSpPr/>
            <p:nvPr/>
          </p:nvGrpSpPr>
          <p:grpSpPr>
            <a:xfrm>
              <a:off x="11062227" y="523302"/>
              <a:ext cx="5014906" cy="5729131"/>
              <a:chOff x="11062227" y="523302"/>
              <a:chExt cx="5014906" cy="5729131"/>
            </a:xfrm>
          </p:grpSpPr>
          <p:grpSp>
            <p:nvGrpSpPr>
              <p:cNvPr id="115" name="Group 114">
                <a:extLst>
                  <a:ext uri="{FF2B5EF4-FFF2-40B4-BE49-F238E27FC236}">
                    <a16:creationId xmlns:a16="http://schemas.microsoft.com/office/drawing/2014/main" id="{8639DA67-AC10-4787-AEFB-645C73A1A0F9}"/>
                  </a:ext>
                </a:extLst>
              </p:cNvPr>
              <p:cNvGrpSpPr/>
              <p:nvPr/>
            </p:nvGrpSpPr>
            <p:grpSpPr>
              <a:xfrm>
                <a:off x="14143037" y="2125662"/>
                <a:ext cx="1219200" cy="1219200"/>
                <a:chOff x="14143037" y="2125662"/>
                <a:chExt cx="1219200" cy="1219200"/>
              </a:xfrm>
            </p:grpSpPr>
            <p:sp>
              <p:nvSpPr>
                <p:cNvPr id="125" name="Oval 124">
                  <a:extLst>
                    <a:ext uri="{FF2B5EF4-FFF2-40B4-BE49-F238E27FC236}">
                      <a16:creationId xmlns:a16="http://schemas.microsoft.com/office/drawing/2014/main" id="{AC209063-34D2-4E34-8FAA-A4CEA41E3537}"/>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6" name="Freeform 215">
                  <a:extLst>
                    <a:ext uri="{FF2B5EF4-FFF2-40B4-BE49-F238E27FC236}">
                      <a16:creationId xmlns:a16="http://schemas.microsoft.com/office/drawing/2014/main" id="{CE144A20-2314-4825-8E35-1A2567D05F5D}"/>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6" name="Group 115">
                <a:extLst>
                  <a:ext uri="{FF2B5EF4-FFF2-40B4-BE49-F238E27FC236}">
                    <a16:creationId xmlns:a16="http://schemas.microsoft.com/office/drawing/2014/main" id="{5B1A0C75-86D3-4DF7-8184-07C662D68E6F}"/>
                  </a:ext>
                </a:extLst>
              </p:cNvPr>
              <p:cNvGrpSpPr/>
              <p:nvPr/>
            </p:nvGrpSpPr>
            <p:grpSpPr>
              <a:xfrm>
                <a:off x="15362237" y="5537537"/>
                <a:ext cx="714896" cy="714896"/>
                <a:chOff x="14395189" y="818837"/>
                <a:chExt cx="714896" cy="714896"/>
              </a:xfrm>
            </p:grpSpPr>
            <p:sp>
              <p:nvSpPr>
                <p:cNvPr id="123" name="Oval 122">
                  <a:extLst>
                    <a:ext uri="{FF2B5EF4-FFF2-40B4-BE49-F238E27FC236}">
                      <a16:creationId xmlns:a16="http://schemas.microsoft.com/office/drawing/2014/main" id="{3816F0A7-206F-4EF9-8A54-0C08E7409D2D}"/>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214">
                  <a:extLst>
                    <a:ext uri="{FF2B5EF4-FFF2-40B4-BE49-F238E27FC236}">
                      <a16:creationId xmlns:a16="http://schemas.microsoft.com/office/drawing/2014/main" id="{03F6DBC1-5A23-4AF7-B4B1-164F1AB6539D}"/>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7" name="Group 116">
                <a:extLst>
                  <a:ext uri="{FF2B5EF4-FFF2-40B4-BE49-F238E27FC236}">
                    <a16:creationId xmlns:a16="http://schemas.microsoft.com/office/drawing/2014/main" id="{B29E29B4-93FE-48A7-848C-37CC618A2EB8}"/>
                  </a:ext>
                </a:extLst>
              </p:cNvPr>
              <p:cNvGrpSpPr/>
              <p:nvPr/>
            </p:nvGrpSpPr>
            <p:grpSpPr>
              <a:xfrm>
                <a:off x="11062227" y="523302"/>
                <a:ext cx="689548" cy="689548"/>
                <a:chOff x="14143037" y="2125662"/>
                <a:chExt cx="1219200" cy="1219200"/>
              </a:xfrm>
            </p:grpSpPr>
            <p:sp>
              <p:nvSpPr>
                <p:cNvPr id="121" name="Oval 120">
                  <a:extLst>
                    <a:ext uri="{FF2B5EF4-FFF2-40B4-BE49-F238E27FC236}">
                      <a16:creationId xmlns:a16="http://schemas.microsoft.com/office/drawing/2014/main" id="{904E3ADE-56F7-4198-8212-3FA23808FC14}"/>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2" name="Freeform 215">
                  <a:extLst>
                    <a:ext uri="{FF2B5EF4-FFF2-40B4-BE49-F238E27FC236}">
                      <a16:creationId xmlns:a16="http://schemas.microsoft.com/office/drawing/2014/main" id="{50D48D4A-D767-451F-ABC1-3597E69C28B6}"/>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8" name="Group 117">
                <a:extLst>
                  <a:ext uri="{FF2B5EF4-FFF2-40B4-BE49-F238E27FC236}">
                    <a16:creationId xmlns:a16="http://schemas.microsoft.com/office/drawing/2014/main" id="{3D51B588-9C21-45B9-A062-4527685C68A9}"/>
                  </a:ext>
                </a:extLst>
              </p:cNvPr>
              <p:cNvGrpSpPr/>
              <p:nvPr/>
            </p:nvGrpSpPr>
            <p:grpSpPr>
              <a:xfrm>
                <a:off x="12859693" y="3797736"/>
                <a:ext cx="967048" cy="967048"/>
                <a:chOff x="14395189" y="818837"/>
                <a:chExt cx="714896" cy="714896"/>
              </a:xfrm>
            </p:grpSpPr>
            <p:sp>
              <p:nvSpPr>
                <p:cNvPr id="119" name="Oval 118">
                  <a:extLst>
                    <a:ext uri="{FF2B5EF4-FFF2-40B4-BE49-F238E27FC236}">
                      <a16:creationId xmlns:a16="http://schemas.microsoft.com/office/drawing/2014/main" id="{D9C1DA4C-3FC7-4B37-9EB5-273D998FEEFE}"/>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214">
                  <a:extLst>
                    <a:ext uri="{FF2B5EF4-FFF2-40B4-BE49-F238E27FC236}">
                      <a16:creationId xmlns:a16="http://schemas.microsoft.com/office/drawing/2014/main" id="{5C2DD078-88D9-4BE6-903B-BCDECE73A440}"/>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92" name="Group 91">
              <a:extLst>
                <a:ext uri="{FF2B5EF4-FFF2-40B4-BE49-F238E27FC236}">
                  <a16:creationId xmlns:a16="http://schemas.microsoft.com/office/drawing/2014/main" id="{B41B75CE-19DE-4261-B09E-291F062F58D4}"/>
                </a:ext>
              </a:extLst>
            </p:cNvPr>
            <p:cNvGrpSpPr/>
            <p:nvPr/>
          </p:nvGrpSpPr>
          <p:grpSpPr>
            <a:xfrm>
              <a:off x="7854943" y="3631697"/>
              <a:ext cx="3216796" cy="3811680"/>
              <a:chOff x="5402548" y="785353"/>
              <a:chExt cx="3216796" cy="3811680"/>
            </a:xfrm>
          </p:grpSpPr>
          <p:grpSp>
            <p:nvGrpSpPr>
              <p:cNvPr id="103" name="Group 102">
                <a:extLst>
                  <a:ext uri="{FF2B5EF4-FFF2-40B4-BE49-F238E27FC236}">
                    <a16:creationId xmlns:a16="http://schemas.microsoft.com/office/drawing/2014/main" id="{EAADC1BF-4B8F-45BD-A68A-164B09BD343A}"/>
                  </a:ext>
                </a:extLst>
              </p:cNvPr>
              <p:cNvGrpSpPr/>
              <p:nvPr/>
            </p:nvGrpSpPr>
            <p:grpSpPr>
              <a:xfrm>
                <a:off x="7724566" y="2287873"/>
                <a:ext cx="894778" cy="894778"/>
                <a:chOff x="14143037" y="2125662"/>
                <a:chExt cx="1219200" cy="1219200"/>
              </a:xfrm>
            </p:grpSpPr>
            <p:sp>
              <p:nvSpPr>
                <p:cNvPr id="113" name="Oval 112">
                  <a:extLst>
                    <a:ext uri="{FF2B5EF4-FFF2-40B4-BE49-F238E27FC236}">
                      <a16:creationId xmlns:a16="http://schemas.microsoft.com/office/drawing/2014/main" id="{5E6A64B5-7B1B-4A9C-A457-28AE8C1E51BB}"/>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4" name="Freeform 215">
                  <a:extLst>
                    <a:ext uri="{FF2B5EF4-FFF2-40B4-BE49-F238E27FC236}">
                      <a16:creationId xmlns:a16="http://schemas.microsoft.com/office/drawing/2014/main" id="{0C70199B-4483-4F2E-91F9-C39D6FD52EFB}"/>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04" name="Group 103">
                <a:extLst>
                  <a:ext uri="{FF2B5EF4-FFF2-40B4-BE49-F238E27FC236}">
                    <a16:creationId xmlns:a16="http://schemas.microsoft.com/office/drawing/2014/main" id="{A60AC637-3233-47EA-BE7A-66F5E65F3DA5}"/>
                  </a:ext>
                </a:extLst>
              </p:cNvPr>
              <p:cNvGrpSpPr/>
              <p:nvPr/>
            </p:nvGrpSpPr>
            <p:grpSpPr>
              <a:xfrm>
                <a:off x="7256351" y="3882137"/>
                <a:ext cx="714896" cy="714896"/>
                <a:chOff x="14395189" y="818837"/>
                <a:chExt cx="714896" cy="714896"/>
              </a:xfrm>
            </p:grpSpPr>
            <p:sp>
              <p:nvSpPr>
                <p:cNvPr id="111" name="Oval 110">
                  <a:extLst>
                    <a:ext uri="{FF2B5EF4-FFF2-40B4-BE49-F238E27FC236}">
                      <a16:creationId xmlns:a16="http://schemas.microsoft.com/office/drawing/2014/main" id="{421F96B8-90C2-4978-BB4E-BC04CB4941C7}"/>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214">
                  <a:extLst>
                    <a:ext uri="{FF2B5EF4-FFF2-40B4-BE49-F238E27FC236}">
                      <a16:creationId xmlns:a16="http://schemas.microsoft.com/office/drawing/2014/main" id="{481B7563-8B01-491C-89DA-5B3898242671}"/>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05" name="Group 104">
                <a:extLst>
                  <a:ext uri="{FF2B5EF4-FFF2-40B4-BE49-F238E27FC236}">
                    <a16:creationId xmlns:a16="http://schemas.microsoft.com/office/drawing/2014/main" id="{0D295AF4-E469-4E4B-A124-7685A0326A42}"/>
                  </a:ext>
                </a:extLst>
              </p:cNvPr>
              <p:cNvGrpSpPr/>
              <p:nvPr/>
            </p:nvGrpSpPr>
            <p:grpSpPr>
              <a:xfrm>
                <a:off x="7755741" y="785353"/>
                <a:ext cx="689548" cy="689548"/>
                <a:chOff x="14143037" y="2125662"/>
                <a:chExt cx="1219200" cy="1219200"/>
              </a:xfrm>
            </p:grpSpPr>
            <p:sp>
              <p:nvSpPr>
                <p:cNvPr id="109" name="Oval 108">
                  <a:extLst>
                    <a:ext uri="{FF2B5EF4-FFF2-40B4-BE49-F238E27FC236}">
                      <a16:creationId xmlns:a16="http://schemas.microsoft.com/office/drawing/2014/main" id="{362B1A41-2651-49CF-B433-E0F65AB0942C}"/>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0" name="Freeform 215">
                  <a:extLst>
                    <a:ext uri="{FF2B5EF4-FFF2-40B4-BE49-F238E27FC236}">
                      <a16:creationId xmlns:a16="http://schemas.microsoft.com/office/drawing/2014/main" id="{E2C594F3-1D1A-4F59-A998-870630C4FEC4}"/>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06" name="Group 105">
                <a:extLst>
                  <a:ext uri="{FF2B5EF4-FFF2-40B4-BE49-F238E27FC236}">
                    <a16:creationId xmlns:a16="http://schemas.microsoft.com/office/drawing/2014/main" id="{C15ED10A-726B-40D5-A9E1-5E9DD1F3154F}"/>
                  </a:ext>
                </a:extLst>
              </p:cNvPr>
              <p:cNvGrpSpPr/>
              <p:nvPr/>
            </p:nvGrpSpPr>
            <p:grpSpPr>
              <a:xfrm>
                <a:off x="5402548" y="2747507"/>
                <a:ext cx="967048" cy="967048"/>
                <a:chOff x="14395189" y="818837"/>
                <a:chExt cx="714896" cy="714896"/>
              </a:xfrm>
            </p:grpSpPr>
            <p:sp>
              <p:nvSpPr>
                <p:cNvPr id="107" name="Oval 106">
                  <a:extLst>
                    <a:ext uri="{FF2B5EF4-FFF2-40B4-BE49-F238E27FC236}">
                      <a16:creationId xmlns:a16="http://schemas.microsoft.com/office/drawing/2014/main" id="{E657DEC3-557C-4D52-AF5F-D09047A33BD0}"/>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214">
                  <a:extLst>
                    <a:ext uri="{FF2B5EF4-FFF2-40B4-BE49-F238E27FC236}">
                      <a16:creationId xmlns:a16="http://schemas.microsoft.com/office/drawing/2014/main" id="{8E48128A-616B-422F-ADAF-335FA3C8B544}"/>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93" name="Group 92">
              <a:extLst>
                <a:ext uri="{FF2B5EF4-FFF2-40B4-BE49-F238E27FC236}">
                  <a16:creationId xmlns:a16="http://schemas.microsoft.com/office/drawing/2014/main" id="{89347DF3-C3FA-4620-BAFB-E24EC716E083}"/>
                </a:ext>
              </a:extLst>
            </p:cNvPr>
            <p:cNvGrpSpPr/>
            <p:nvPr/>
          </p:nvGrpSpPr>
          <p:grpSpPr>
            <a:xfrm>
              <a:off x="11629801" y="5464512"/>
              <a:ext cx="1705246" cy="1682036"/>
              <a:chOff x="11062227" y="523302"/>
              <a:chExt cx="4300010" cy="4241482"/>
            </a:xfrm>
          </p:grpSpPr>
          <p:grpSp>
            <p:nvGrpSpPr>
              <p:cNvPr id="94" name="Group 93">
                <a:extLst>
                  <a:ext uri="{FF2B5EF4-FFF2-40B4-BE49-F238E27FC236}">
                    <a16:creationId xmlns:a16="http://schemas.microsoft.com/office/drawing/2014/main" id="{166F6749-F9B5-49B0-9BC3-EC57F30E41AD}"/>
                  </a:ext>
                </a:extLst>
              </p:cNvPr>
              <p:cNvGrpSpPr/>
              <p:nvPr/>
            </p:nvGrpSpPr>
            <p:grpSpPr>
              <a:xfrm>
                <a:off x="14143037" y="2125662"/>
                <a:ext cx="1219200" cy="1219200"/>
                <a:chOff x="14143037" y="2125662"/>
                <a:chExt cx="1219200" cy="1219200"/>
              </a:xfrm>
            </p:grpSpPr>
            <p:sp>
              <p:nvSpPr>
                <p:cNvPr id="101" name="Oval 100">
                  <a:extLst>
                    <a:ext uri="{FF2B5EF4-FFF2-40B4-BE49-F238E27FC236}">
                      <a16:creationId xmlns:a16="http://schemas.microsoft.com/office/drawing/2014/main" id="{2EE223F7-7FF0-4C58-94F2-C772143B7736}"/>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215">
                  <a:extLst>
                    <a:ext uri="{FF2B5EF4-FFF2-40B4-BE49-F238E27FC236}">
                      <a16:creationId xmlns:a16="http://schemas.microsoft.com/office/drawing/2014/main" id="{FAFCB8D0-49BD-4C9E-9725-987E5305308B}"/>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95" name="Group 94">
                <a:extLst>
                  <a:ext uri="{FF2B5EF4-FFF2-40B4-BE49-F238E27FC236}">
                    <a16:creationId xmlns:a16="http://schemas.microsoft.com/office/drawing/2014/main" id="{034883CF-14EF-4286-B257-F86707946CED}"/>
                  </a:ext>
                </a:extLst>
              </p:cNvPr>
              <p:cNvGrpSpPr/>
              <p:nvPr/>
            </p:nvGrpSpPr>
            <p:grpSpPr>
              <a:xfrm>
                <a:off x="11062227" y="523302"/>
                <a:ext cx="689548" cy="689548"/>
                <a:chOff x="14143037" y="2125662"/>
                <a:chExt cx="1219200" cy="1219200"/>
              </a:xfrm>
            </p:grpSpPr>
            <p:sp>
              <p:nvSpPr>
                <p:cNvPr id="99" name="Oval 98">
                  <a:extLst>
                    <a:ext uri="{FF2B5EF4-FFF2-40B4-BE49-F238E27FC236}">
                      <a16:creationId xmlns:a16="http://schemas.microsoft.com/office/drawing/2014/main" id="{13A66403-799F-4984-957C-9B65CC0E1F05}"/>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215">
                  <a:extLst>
                    <a:ext uri="{FF2B5EF4-FFF2-40B4-BE49-F238E27FC236}">
                      <a16:creationId xmlns:a16="http://schemas.microsoft.com/office/drawing/2014/main" id="{8AEC5C19-428E-425B-A9EF-BCE315984E73}"/>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96" name="Group 95">
                <a:extLst>
                  <a:ext uri="{FF2B5EF4-FFF2-40B4-BE49-F238E27FC236}">
                    <a16:creationId xmlns:a16="http://schemas.microsoft.com/office/drawing/2014/main" id="{B66BEA50-D600-497D-A90F-919D9824393C}"/>
                  </a:ext>
                </a:extLst>
              </p:cNvPr>
              <p:cNvGrpSpPr/>
              <p:nvPr/>
            </p:nvGrpSpPr>
            <p:grpSpPr>
              <a:xfrm>
                <a:off x="12859693" y="3797736"/>
                <a:ext cx="967048" cy="967048"/>
                <a:chOff x="14395189" y="818837"/>
                <a:chExt cx="714896" cy="714896"/>
              </a:xfrm>
            </p:grpSpPr>
            <p:sp>
              <p:nvSpPr>
                <p:cNvPr id="97" name="Oval 96">
                  <a:extLst>
                    <a:ext uri="{FF2B5EF4-FFF2-40B4-BE49-F238E27FC236}">
                      <a16:creationId xmlns:a16="http://schemas.microsoft.com/office/drawing/2014/main" id="{B321DF5D-637B-40FF-A85F-7E7AB16B6ED5}"/>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8" name="Freeform 214">
                  <a:extLst>
                    <a:ext uri="{FF2B5EF4-FFF2-40B4-BE49-F238E27FC236}">
                      <a16:creationId xmlns:a16="http://schemas.microsoft.com/office/drawing/2014/main" id="{19F94D67-9ECB-4C76-93C2-A2C288C368B4}"/>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sp>
        <p:nvSpPr>
          <p:cNvPr id="2" name="Title 1"/>
          <p:cNvSpPr>
            <a:spLocks noGrp="1"/>
          </p:cNvSpPr>
          <p:nvPr userDrawn="1">
            <p:ph type="title" hasCustomPrompt="1"/>
          </p:nvPr>
        </p:nvSpPr>
        <p:spPr>
          <a:xfrm>
            <a:off x="269240" y="4002128"/>
            <a:ext cx="4280008" cy="995838"/>
          </a:xfrm>
          <a:noFill/>
        </p:spPr>
        <p:txBody>
          <a:bodyPr wrap="square" tIns="91440" bIns="91440" anchor="ctr" anchorCtr="0">
            <a:spAutoFit/>
          </a:bodyPr>
          <a:lstStyle>
            <a:lvl1pPr>
              <a:defRPr sz="5882" spc="-98" baseline="0">
                <a:solidFill>
                  <a:schemeClr val="accent2"/>
                </a:solidFill>
              </a:defRPr>
            </a:lvl1pPr>
          </a:lstStyle>
          <a:p>
            <a:r>
              <a:rPr lang="en-US"/>
              <a:t>Section title</a:t>
            </a:r>
          </a:p>
        </p:txBody>
      </p:sp>
    </p:spTree>
    <p:extLst>
      <p:ext uri="{BB962C8B-B14F-4D97-AF65-F5344CB8AC3E}">
        <p14:creationId xmlns:p14="http://schemas.microsoft.com/office/powerpoint/2010/main" val="2959192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F2F2F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E79153-ED87-4F88-804B-FB2218968B83}"/>
              </a:ext>
            </a:extLst>
          </p:cNvPr>
          <p:cNvSpPr/>
          <p:nvPr userDrawn="1"/>
        </p:nvSpPr>
        <p:spPr bwMode="auto">
          <a:xfrm>
            <a:off x="0" y="0"/>
            <a:ext cx="12192000" cy="68580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D8D5F197-EE67-4A73-8003-36A11A23ABBC}"/>
              </a:ext>
            </a:extLst>
          </p:cNvPr>
          <p:cNvGrpSpPr/>
          <p:nvPr userDrawn="1"/>
        </p:nvGrpSpPr>
        <p:grpSpPr>
          <a:xfrm>
            <a:off x="0" y="0"/>
            <a:ext cx="12192000" cy="6858000"/>
            <a:chOff x="0" y="0"/>
            <a:chExt cx="12436475" cy="6994525"/>
          </a:xfrm>
        </p:grpSpPr>
        <p:pic>
          <p:nvPicPr>
            <p:cNvPr id="10" name="Picture 9">
              <a:extLst>
                <a:ext uri="{FF2B5EF4-FFF2-40B4-BE49-F238E27FC236}">
                  <a16:creationId xmlns:a16="http://schemas.microsoft.com/office/drawing/2014/main" id="{EB27115E-6E00-4F6B-9ACB-FC1EAC786708}"/>
                </a:ext>
              </a:extLst>
            </p:cNvPr>
            <p:cNvPicPr>
              <a:picLocks noChangeAspect="1"/>
            </p:cNvPicPr>
            <p:nvPr userDrawn="1"/>
          </p:nvPicPr>
          <p:blipFill rotWithShape="1">
            <a:blip r:embed="rId2"/>
            <a:srcRect r="3106"/>
            <a:stretch/>
          </p:blipFill>
          <p:spPr>
            <a:xfrm>
              <a:off x="5659212" y="0"/>
              <a:ext cx="6777263" cy="6994525"/>
            </a:xfrm>
            <a:prstGeom prst="rect">
              <a:avLst/>
            </a:prstGeom>
          </p:spPr>
        </p:pic>
        <p:pic>
          <p:nvPicPr>
            <p:cNvPr id="11" name="Picture 10">
              <a:extLst>
                <a:ext uri="{FF2B5EF4-FFF2-40B4-BE49-F238E27FC236}">
                  <a16:creationId xmlns:a16="http://schemas.microsoft.com/office/drawing/2014/main" id="{34DE3698-42E6-4BF7-886A-8ABAFDA5F7F2}"/>
                </a:ext>
              </a:extLst>
            </p:cNvPr>
            <p:cNvPicPr>
              <a:picLocks noChangeAspect="1"/>
            </p:cNvPicPr>
            <p:nvPr userDrawn="1"/>
          </p:nvPicPr>
          <p:blipFill rotWithShape="1">
            <a:blip r:embed="rId2"/>
            <a:srcRect l="18755"/>
            <a:stretch/>
          </p:blipFill>
          <p:spPr>
            <a:xfrm>
              <a:off x="0" y="0"/>
              <a:ext cx="5682702" cy="6994525"/>
            </a:xfrm>
            <a:prstGeom prst="rect">
              <a:avLst/>
            </a:prstGeom>
          </p:spPr>
        </p:pic>
      </p:grpSp>
      <p:sp>
        <p:nvSpPr>
          <p:cNvPr id="3" name="Rectangle 2">
            <a:extLst>
              <a:ext uri="{FF2B5EF4-FFF2-40B4-BE49-F238E27FC236}">
                <a16:creationId xmlns:a16="http://schemas.microsoft.com/office/drawing/2014/main" id="{F413177F-EE9A-4906-8F6A-53C6DAEA4A32}"/>
              </a:ext>
            </a:extLst>
          </p:cNvPr>
          <p:cNvSpPr/>
          <p:nvPr userDrawn="1"/>
        </p:nvSpPr>
        <p:spPr bwMode="auto">
          <a:xfrm>
            <a:off x="0" y="0"/>
            <a:ext cx="12072165" cy="6858000"/>
          </a:xfrm>
          <a:prstGeom prst="rect">
            <a:avLst/>
          </a:prstGeom>
          <a:gradFill flip="none" rotWithShape="1">
            <a:gsLst>
              <a:gs pos="0">
                <a:schemeClr val="accent2">
                  <a:alpha val="90000"/>
                </a:schemeClr>
              </a:gs>
              <a:gs pos="100000">
                <a:schemeClr val="accent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642748" y="4006593"/>
            <a:ext cx="11130609" cy="995838"/>
          </a:xfrm>
          <a:noFill/>
        </p:spPr>
        <p:txBody>
          <a:bodyPr wrap="square" tIns="91440" bIns="91440" anchor="ctr" anchorCtr="0">
            <a:spAutoFit/>
          </a:bodyPr>
          <a:lstStyle>
            <a:lvl1pPr>
              <a:defRPr sz="5882" spc="-98" baseline="0">
                <a:gradFill>
                  <a:gsLst>
                    <a:gs pos="100000">
                      <a:schemeClr val="tx1"/>
                    </a:gs>
                    <a:gs pos="0">
                      <a:schemeClr val="tx1"/>
                    </a:gs>
                  </a:gsLst>
                  <a:lin ang="5400000" scaled="0"/>
                </a:gradFill>
              </a:defRPr>
            </a:lvl1pPr>
          </a:lstStyle>
          <a:p>
            <a:r>
              <a:rPr lang="en-US"/>
              <a:t>Section title</a:t>
            </a:r>
          </a:p>
        </p:txBody>
      </p:sp>
      <p:sp>
        <p:nvSpPr>
          <p:cNvPr id="2" name="Oval 1">
            <a:extLst>
              <a:ext uri="{FF2B5EF4-FFF2-40B4-BE49-F238E27FC236}">
                <a16:creationId xmlns:a16="http://schemas.microsoft.com/office/drawing/2014/main" id="{AD243810-DF5B-4CEE-BCE6-5CB7AC462FD1}"/>
              </a:ext>
            </a:extLst>
          </p:cNvPr>
          <p:cNvSpPr/>
          <p:nvPr userDrawn="1"/>
        </p:nvSpPr>
        <p:spPr bwMode="auto">
          <a:xfrm>
            <a:off x="-404306" y="4078142"/>
            <a:ext cx="793558" cy="793670"/>
          </a:xfrm>
          <a:prstGeom prst="ellipse">
            <a:avLst/>
          </a:prstGeom>
          <a:solidFill>
            <a:srgbClr val="FFFFFF">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6791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360146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28130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415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95995869"/>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575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01247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0C343E-B20C-4EB9-8F5A-BC2578403B2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8234" t="12768" b="18234"/>
          <a:stretch/>
        </p:blipFill>
        <p:spPr>
          <a:xfrm flipH="1">
            <a:off x="0" y="0"/>
            <a:ext cx="12192000" cy="6858001"/>
          </a:xfrm>
          <a:prstGeom prst="rect">
            <a:avLst/>
          </a:prstGeom>
        </p:spPr>
      </p:pic>
      <p:sp>
        <p:nvSpPr>
          <p:cNvPr id="8" name="Rectangle 7">
            <a:extLst>
              <a:ext uri="{FF2B5EF4-FFF2-40B4-BE49-F238E27FC236}">
                <a16:creationId xmlns:a16="http://schemas.microsoft.com/office/drawing/2014/main" id="{7974FFF3-37BC-4951-BCC4-D8B8C89C6921}"/>
              </a:ext>
            </a:extLst>
          </p:cNvPr>
          <p:cNvSpPr/>
          <p:nvPr userDrawn="1"/>
        </p:nvSpPr>
        <p:spPr bwMode="auto">
          <a:xfrm>
            <a:off x="-1" y="0"/>
            <a:ext cx="9905806" cy="6858000"/>
          </a:xfrm>
          <a:prstGeom prst="rect">
            <a:avLst/>
          </a:prstGeom>
          <a:gradFill flip="none" rotWithShape="1">
            <a:gsLst>
              <a:gs pos="26000">
                <a:schemeClr val="bg1">
                  <a:alpha val="93000"/>
                </a:schemeClr>
              </a:gs>
              <a:gs pos="100000">
                <a:schemeClr val="bg1">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F908484A-B774-49CD-96F4-0DC2C66F60C1}"/>
              </a:ext>
            </a:extLst>
          </p:cNvPr>
          <p:cNvSpPr/>
          <p:nvPr userDrawn="1"/>
        </p:nvSpPr>
        <p:spPr bwMode="auto">
          <a:xfrm>
            <a:off x="0" y="2233598"/>
            <a:ext cx="12192000" cy="2390805"/>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7416E68E-7BEC-43A3-93E5-7863416FBA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0" y="2632329"/>
            <a:ext cx="12191999" cy="1593341"/>
          </a:xfrm>
          <a:prstGeom prst="rect">
            <a:avLst/>
          </a:prstGeom>
          <a:noFill/>
        </p:spPr>
        <p:txBody>
          <a:bodyPr wrap="square" lIns="179285" tIns="143428" rIns="179285" bIns="143428" rtlCol="0">
            <a:spAutoFit/>
          </a:bodyPr>
          <a:lstStyle/>
          <a:p>
            <a:pPr algn="ctr">
              <a:lnSpc>
                <a:spcPct val="90000"/>
              </a:lnSpc>
              <a:spcAft>
                <a:spcPts val="588"/>
              </a:spcAft>
            </a:pPr>
            <a:r>
              <a:rPr lang="en-US" sz="9411">
                <a:solidFill>
                  <a:schemeClr val="bg1"/>
                </a:solidFill>
                <a:latin typeface="+mj-lt"/>
              </a:rPr>
              <a:t>Thank You</a:t>
            </a:r>
          </a:p>
        </p:txBody>
      </p:sp>
      <p:pic>
        <p:nvPicPr>
          <p:cNvPr id="9" name="Picture 8">
            <a:extLst>
              <a:ext uri="{FF2B5EF4-FFF2-40B4-BE49-F238E27FC236}">
                <a16:creationId xmlns:a16="http://schemas.microsoft.com/office/drawing/2014/main" id="{AB291604-269F-403D-B109-FBDE3BFFEEEB}"/>
              </a:ext>
            </a:extLst>
          </p:cNvPr>
          <p:cNvPicPr>
            <a:picLocks noChangeAspect="1"/>
          </p:cNvPicPr>
          <p:nvPr userDrawn="1"/>
        </p:nvPicPr>
        <p:blipFill>
          <a:blip r:embed="rId4"/>
          <a:stretch>
            <a:fillRect/>
          </a:stretch>
        </p:blipFill>
        <p:spPr>
          <a:xfrm>
            <a:off x="320955" y="931636"/>
            <a:ext cx="2666948" cy="475527"/>
          </a:xfrm>
          <a:prstGeom prst="rect">
            <a:avLst/>
          </a:prstGeom>
        </p:spPr>
      </p:pic>
    </p:spTree>
    <p:extLst>
      <p:ext uri="{BB962C8B-B14F-4D97-AF65-F5344CB8AC3E}">
        <p14:creationId xmlns:p14="http://schemas.microsoft.com/office/powerpoint/2010/main" val="42658036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0904456-B682-48B5-B56A-9BF55D690B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5568"/>
          <a:stretch/>
        </p:blipFill>
        <p:spPr>
          <a:xfrm>
            <a:off x="0" y="0"/>
            <a:ext cx="12192000" cy="6864259"/>
          </a:xfrm>
          <a:prstGeom prst="rect">
            <a:avLst/>
          </a:prstGeom>
        </p:spPr>
      </p:pic>
      <p:grpSp>
        <p:nvGrpSpPr>
          <p:cNvPr id="47" name="Group 46">
            <a:extLst>
              <a:ext uri="{FF2B5EF4-FFF2-40B4-BE49-F238E27FC236}">
                <a16:creationId xmlns:a16="http://schemas.microsoft.com/office/drawing/2014/main" id="{786BC408-6A3B-4FF7-A8A5-BFAE13FCB6C4}"/>
              </a:ext>
            </a:extLst>
          </p:cNvPr>
          <p:cNvGrpSpPr/>
          <p:nvPr userDrawn="1"/>
        </p:nvGrpSpPr>
        <p:grpSpPr>
          <a:xfrm>
            <a:off x="0" y="0"/>
            <a:ext cx="12192000" cy="6858000"/>
            <a:chOff x="0" y="0"/>
            <a:chExt cx="12436475" cy="6994525"/>
          </a:xfrm>
        </p:grpSpPr>
        <p:pic>
          <p:nvPicPr>
            <p:cNvPr id="49" name="Picture 48">
              <a:extLst>
                <a:ext uri="{FF2B5EF4-FFF2-40B4-BE49-F238E27FC236}">
                  <a16:creationId xmlns:a16="http://schemas.microsoft.com/office/drawing/2014/main" id="{28CBAF29-85B0-48E5-95C4-C85DD4969F65}"/>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r="3106"/>
            <a:stretch/>
          </p:blipFill>
          <p:spPr>
            <a:xfrm>
              <a:off x="5659212" y="0"/>
              <a:ext cx="6777263" cy="6994525"/>
            </a:xfrm>
            <a:prstGeom prst="rect">
              <a:avLst/>
            </a:prstGeom>
          </p:spPr>
        </p:pic>
        <p:pic>
          <p:nvPicPr>
            <p:cNvPr id="50" name="Picture 49">
              <a:extLst>
                <a:ext uri="{FF2B5EF4-FFF2-40B4-BE49-F238E27FC236}">
                  <a16:creationId xmlns:a16="http://schemas.microsoft.com/office/drawing/2014/main" id="{DC0AB07D-25BA-47A9-AD79-69288CE380CA}"/>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l="18755"/>
            <a:stretch/>
          </p:blipFill>
          <p:spPr>
            <a:xfrm>
              <a:off x="0" y="0"/>
              <a:ext cx="5682702" cy="6994525"/>
            </a:xfrm>
            <a:prstGeom prst="rect">
              <a:avLst/>
            </a:prstGeom>
          </p:spPr>
        </p:pic>
      </p:grpSp>
      <p:sp>
        <p:nvSpPr>
          <p:cNvPr id="51" name="Rectangle 50">
            <a:extLst>
              <a:ext uri="{FF2B5EF4-FFF2-40B4-BE49-F238E27FC236}">
                <a16:creationId xmlns:a16="http://schemas.microsoft.com/office/drawing/2014/main" id="{736AB2EC-C589-4764-BCB4-C995EFD186D4}"/>
              </a:ext>
            </a:extLst>
          </p:cNvPr>
          <p:cNvSpPr/>
          <p:nvPr userDrawn="1"/>
        </p:nvSpPr>
        <p:spPr bwMode="auto">
          <a:xfrm>
            <a:off x="0" y="0"/>
            <a:ext cx="9905806" cy="6864258"/>
          </a:xfrm>
          <a:prstGeom prst="rect">
            <a:avLst/>
          </a:prstGeom>
          <a:gradFill flip="none" rotWithShape="1">
            <a:gsLst>
              <a:gs pos="0">
                <a:schemeClr val="bg1">
                  <a:alpha val="80000"/>
                </a:schemeClr>
              </a:gs>
              <a:gs pos="100000">
                <a:schemeClr val="bg1">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a:extLst>
              <a:ext uri="{FF2B5EF4-FFF2-40B4-BE49-F238E27FC236}">
                <a16:creationId xmlns:a16="http://schemas.microsoft.com/office/drawing/2014/main" id="{1FC910FE-ECC0-477C-8EB3-E4E7A8B11835}"/>
              </a:ext>
            </a:extLst>
          </p:cNvPr>
          <p:cNvGrpSpPr/>
          <p:nvPr userDrawn="1"/>
        </p:nvGrpSpPr>
        <p:grpSpPr>
          <a:xfrm>
            <a:off x="4261370" y="216356"/>
            <a:ext cx="7803530" cy="6568648"/>
            <a:chOff x="7854943" y="523302"/>
            <a:chExt cx="8222190" cy="6920075"/>
          </a:xfrm>
        </p:grpSpPr>
        <p:grpSp>
          <p:nvGrpSpPr>
            <p:cNvPr id="53" name="Group 52">
              <a:extLst>
                <a:ext uri="{FF2B5EF4-FFF2-40B4-BE49-F238E27FC236}">
                  <a16:creationId xmlns:a16="http://schemas.microsoft.com/office/drawing/2014/main" id="{5F9FAA7D-43B6-432B-87AE-FA89A40BFD1C}"/>
                </a:ext>
              </a:extLst>
            </p:cNvPr>
            <p:cNvGrpSpPr/>
            <p:nvPr/>
          </p:nvGrpSpPr>
          <p:grpSpPr>
            <a:xfrm>
              <a:off x="11062227" y="523302"/>
              <a:ext cx="5014906" cy="5729131"/>
              <a:chOff x="11062227" y="523302"/>
              <a:chExt cx="5014906" cy="5729131"/>
            </a:xfrm>
          </p:grpSpPr>
          <p:grpSp>
            <p:nvGrpSpPr>
              <p:cNvPr id="114" name="Group 113">
                <a:extLst>
                  <a:ext uri="{FF2B5EF4-FFF2-40B4-BE49-F238E27FC236}">
                    <a16:creationId xmlns:a16="http://schemas.microsoft.com/office/drawing/2014/main" id="{14AC6BA9-D66B-44F0-859A-AE1C11541BCC}"/>
                  </a:ext>
                </a:extLst>
              </p:cNvPr>
              <p:cNvGrpSpPr/>
              <p:nvPr/>
            </p:nvGrpSpPr>
            <p:grpSpPr>
              <a:xfrm>
                <a:off x="14143037" y="2125662"/>
                <a:ext cx="1219200" cy="1219200"/>
                <a:chOff x="14143037" y="2125662"/>
                <a:chExt cx="1219200" cy="1219200"/>
              </a:xfrm>
            </p:grpSpPr>
            <p:sp>
              <p:nvSpPr>
                <p:cNvPr id="124" name="Oval 123">
                  <a:extLst>
                    <a:ext uri="{FF2B5EF4-FFF2-40B4-BE49-F238E27FC236}">
                      <a16:creationId xmlns:a16="http://schemas.microsoft.com/office/drawing/2014/main" id="{F697B57B-3682-499E-A918-5CA0EB229167}"/>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215">
                  <a:extLst>
                    <a:ext uri="{FF2B5EF4-FFF2-40B4-BE49-F238E27FC236}">
                      <a16:creationId xmlns:a16="http://schemas.microsoft.com/office/drawing/2014/main" id="{FEB55B36-1961-4FF4-9246-80652C5EA98E}"/>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5" name="Group 114">
                <a:extLst>
                  <a:ext uri="{FF2B5EF4-FFF2-40B4-BE49-F238E27FC236}">
                    <a16:creationId xmlns:a16="http://schemas.microsoft.com/office/drawing/2014/main" id="{AB36DADD-3E5C-4BBB-9F0A-38BE9F90720D}"/>
                  </a:ext>
                </a:extLst>
              </p:cNvPr>
              <p:cNvGrpSpPr/>
              <p:nvPr/>
            </p:nvGrpSpPr>
            <p:grpSpPr>
              <a:xfrm>
                <a:off x="15362237" y="5537537"/>
                <a:ext cx="714896" cy="714896"/>
                <a:chOff x="14395189" y="818837"/>
                <a:chExt cx="714896" cy="714896"/>
              </a:xfrm>
            </p:grpSpPr>
            <p:sp>
              <p:nvSpPr>
                <p:cNvPr id="122" name="Oval 121">
                  <a:extLst>
                    <a:ext uri="{FF2B5EF4-FFF2-40B4-BE49-F238E27FC236}">
                      <a16:creationId xmlns:a16="http://schemas.microsoft.com/office/drawing/2014/main" id="{AE586434-C3E2-424F-B902-2AB2A3CBC9F4}"/>
                    </a:ext>
                  </a:extLst>
                </p:cNvPr>
                <p:cNvSpPr/>
                <p:nvPr/>
              </p:nvSpPr>
              <p:spPr bwMode="auto">
                <a:xfrm>
                  <a:off x="14395189" y="818837"/>
                  <a:ext cx="714896" cy="714896"/>
                </a:xfrm>
                <a:prstGeom prst="ellipse">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214">
                  <a:extLst>
                    <a:ext uri="{FF2B5EF4-FFF2-40B4-BE49-F238E27FC236}">
                      <a16:creationId xmlns:a16="http://schemas.microsoft.com/office/drawing/2014/main" id="{AC257317-D9DD-414C-B214-4D5D7D1514D8}"/>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6" name="Group 115">
                <a:extLst>
                  <a:ext uri="{FF2B5EF4-FFF2-40B4-BE49-F238E27FC236}">
                    <a16:creationId xmlns:a16="http://schemas.microsoft.com/office/drawing/2014/main" id="{88045AF5-F38C-4F29-953C-FEC6B8C42D47}"/>
                  </a:ext>
                </a:extLst>
              </p:cNvPr>
              <p:cNvGrpSpPr/>
              <p:nvPr/>
            </p:nvGrpSpPr>
            <p:grpSpPr>
              <a:xfrm>
                <a:off x="11062227" y="523302"/>
                <a:ext cx="689548" cy="689548"/>
                <a:chOff x="14143037" y="2125662"/>
                <a:chExt cx="1219200" cy="1219200"/>
              </a:xfrm>
            </p:grpSpPr>
            <p:sp>
              <p:nvSpPr>
                <p:cNvPr id="120" name="Oval 119">
                  <a:extLst>
                    <a:ext uri="{FF2B5EF4-FFF2-40B4-BE49-F238E27FC236}">
                      <a16:creationId xmlns:a16="http://schemas.microsoft.com/office/drawing/2014/main" id="{38EEFC94-5815-4938-B5B8-C7A8340B2FCB}"/>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215">
                  <a:extLst>
                    <a:ext uri="{FF2B5EF4-FFF2-40B4-BE49-F238E27FC236}">
                      <a16:creationId xmlns:a16="http://schemas.microsoft.com/office/drawing/2014/main" id="{56FDB518-5375-4969-BA3F-E8B6A84F0585}"/>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2">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7" name="Group 116">
                <a:extLst>
                  <a:ext uri="{FF2B5EF4-FFF2-40B4-BE49-F238E27FC236}">
                    <a16:creationId xmlns:a16="http://schemas.microsoft.com/office/drawing/2014/main" id="{1163FF46-35B6-4A04-AC32-0E0BCD4BA2BF}"/>
                  </a:ext>
                </a:extLst>
              </p:cNvPr>
              <p:cNvGrpSpPr/>
              <p:nvPr/>
            </p:nvGrpSpPr>
            <p:grpSpPr>
              <a:xfrm>
                <a:off x="12859693" y="3797736"/>
                <a:ext cx="967048" cy="967048"/>
                <a:chOff x="14395189" y="818837"/>
                <a:chExt cx="714896" cy="714896"/>
              </a:xfrm>
            </p:grpSpPr>
            <p:sp>
              <p:nvSpPr>
                <p:cNvPr id="118" name="Oval 117">
                  <a:extLst>
                    <a:ext uri="{FF2B5EF4-FFF2-40B4-BE49-F238E27FC236}">
                      <a16:creationId xmlns:a16="http://schemas.microsoft.com/office/drawing/2014/main" id="{C30BCECF-0551-4006-96D8-519BB3EF7EA5}"/>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214">
                  <a:extLst>
                    <a:ext uri="{FF2B5EF4-FFF2-40B4-BE49-F238E27FC236}">
                      <a16:creationId xmlns:a16="http://schemas.microsoft.com/office/drawing/2014/main" id="{B7E466FC-D3FC-4EB9-9C7E-5770FA9CEDB7}"/>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54" name="Group 53">
              <a:extLst>
                <a:ext uri="{FF2B5EF4-FFF2-40B4-BE49-F238E27FC236}">
                  <a16:creationId xmlns:a16="http://schemas.microsoft.com/office/drawing/2014/main" id="{0943C755-10EB-4DBD-A130-31D65F3D59A1}"/>
                </a:ext>
              </a:extLst>
            </p:cNvPr>
            <p:cNvGrpSpPr/>
            <p:nvPr/>
          </p:nvGrpSpPr>
          <p:grpSpPr>
            <a:xfrm>
              <a:off x="7854943" y="3631697"/>
              <a:ext cx="3216796" cy="3811680"/>
              <a:chOff x="5402548" y="785353"/>
              <a:chExt cx="3216796" cy="3811680"/>
            </a:xfrm>
          </p:grpSpPr>
          <p:grpSp>
            <p:nvGrpSpPr>
              <p:cNvPr id="65" name="Group 64">
                <a:extLst>
                  <a:ext uri="{FF2B5EF4-FFF2-40B4-BE49-F238E27FC236}">
                    <a16:creationId xmlns:a16="http://schemas.microsoft.com/office/drawing/2014/main" id="{B7A5C211-6ED8-4134-B8C0-E1E1DB031422}"/>
                  </a:ext>
                </a:extLst>
              </p:cNvPr>
              <p:cNvGrpSpPr/>
              <p:nvPr/>
            </p:nvGrpSpPr>
            <p:grpSpPr>
              <a:xfrm>
                <a:off x="7724566" y="2287873"/>
                <a:ext cx="894778" cy="894778"/>
                <a:chOff x="14143037" y="2125662"/>
                <a:chExt cx="1219200" cy="1219200"/>
              </a:xfrm>
            </p:grpSpPr>
            <p:sp>
              <p:nvSpPr>
                <p:cNvPr id="75" name="Oval 74">
                  <a:extLst>
                    <a:ext uri="{FF2B5EF4-FFF2-40B4-BE49-F238E27FC236}">
                      <a16:creationId xmlns:a16="http://schemas.microsoft.com/office/drawing/2014/main" id="{5F813EA8-2F27-47D3-A6C8-C96E8ADC6F5E}"/>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215">
                  <a:extLst>
                    <a:ext uri="{FF2B5EF4-FFF2-40B4-BE49-F238E27FC236}">
                      <a16:creationId xmlns:a16="http://schemas.microsoft.com/office/drawing/2014/main" id="{AFDCBD75-009C-4777-9DB0-140172F93B41}"/>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66" name="Group 65">
                <a:extLst>
                  <a:ext uri="{FF2B5EF4-FFF2-40B4-BE49-F238E27FC236}">
                    <a16:creationId xmlns:a16="http://schemas.microsoft.com/office/drawing/2014/main" id="{77D2BC0A-D44D-4000-B22D-DB62459706C2}"/>
                  </a:ext>
                </a:extLst>
              </p:cNvPr>
              <p:cNvGrpSpPr/>
              <p:nvPr/>
            </p:nvGrpSpPr>
            <p:grpSpPr>
              <a:xfrm>
                <a:off x="7256351" y="3882137"/>
                <a:ext cx="714896" cy="714896"/>
                <a:chOff x="14395189" y="818837"/>
                <a:chExt cx="714896" cy="714896"/>
              </a:xfrm>
            </p:grpSpPr>
            <p:sp>
              <p:nvSpPr>
                <p:cNvPr id="73" name="Oval 72">
                  <a:extLst>
                    <a:ext uri="{FF2B5EF4-FFF2-40B4-BE49-F238E27FC236}">
                      <a16:creationId xmlns:a16="http://schemas.microsoft.com/office/drawing/2014/main" id="{D0D182D1-B0F8-4394-AE41-3E0302C572A3}"/>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214">
                  <a:extLst>
                    <a:ext uri="{FF2B5EF4-FFF2-40B4-BE49-F238E27FC236}">
                      <a16:creationId xmlns:a16="http://schemas.microsoft.com/office/drawing/2014/main" id="{55B22EF5-0137-40FB-8614-9F56D8E3723E}"/>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67" name="Group 66">
                <a:extLst>
                  <a:ext uri="{FF2B5EF4-FFF2-40B4-BE49-F238E27FC236}">
                    <a16:creationId xmlns:a16="http://schemas.microsoft.com/office/drawing/2014/main" id="{A49A3DE6-1F7E-4E63-8DBA-D9CA1DD4BE7F}"/>
                  </a:ext>
                </a:extLst>
              </p:cNvPr>
              <p:cNvGrpSpPr/>
              <p:nvPr/>
            </p:nvGrpSpPr>
            <p:grpSpPr>
              <a:xfrm>
                <a:off x="7755741" y="785353"/>
                <a:ext cx="689548" cy="689548"/>
                <a:chOff x="14143037" y="2125662"/>
                <a:chExt cx="1219200" cy="1219200"/>
              </a:xfrm>
            </p:grpSpPr>
            <p:sp>
              <p:nvSpPr>
                <p:cNvPr id="71" name="Oval 70">
                  <a:extLst>
                    <a:ext uri="{FF2B5EF4-FFF2-40B4-BE49-F238E27FC236}">
                      <a16:creationId xmlns:a16="http://schemas.microsoft.com/office/drawing/2014/main" id="{38EF763E-9B42-404E-A15E-F730735EF80C}"/>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215">
                  <a:extLst>
                    <a:ext uri="{FF2B5EF4-FFF2-40B4-BE49-F238E27FC236}">
                      <a16:creationId xmlns:a16="http://schemas.microsoft.com/office/drawing/2014/main" id="{28DB8667-ECB1-4FCB-8498-71262991CCE4}"/>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68" name="Group 67">
                <a:extLst>
                  <a:ext uri="{FF2B5EF4-FFF2-40B4-BE49-F238E27FC236}">
                    <a16:creationId xmlns:a16="http://schemas.microsoft.com/office/drawing/2014/main" id="{DA895429-0706-4841-A4AB-D0F80FA20ED9}"/>
                  </a:ext>
                </a:extLst>
              </p:cNvPr>
              <p:cNvGrpSpPr/>
              <p:nvPr/>
            </p:nvGrpSpPr>
            <p:grpSpPr>
              <a:xfrm>
                <a:off x="5402548" y="2747507"/>
                <a:ext cx="967048" cy="967048"/>
                <a:chOff x="14395189" y="818837"/>
                <a:chExt cx="714896" cy="714896"/>
              </a:xfrm>
            </p:grpSpPr>
            <p:sp>
              <p:nvSpPr>
                <p:cNvPr id="69" name="Oval 68">
                  <a:extLst>
                    <a:ext uri="{FF2B5EF4-FFF2-40B4-BE49-F238E27FC236}">
                      <a16:creationId xmlns:a16="http://schemas.microsoft.com/office/drawing/2014/main" id="{1ED054BB-C45B-416A-9EAE-A7A75B34A525}"/>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214">
                  <a:extLst>
                    <a:ext uri="{FF2B5EF4-FFF2-40B4-BE49-F238E27FC236}">
                      <a16:creationId xmlns:a16="http://schemas.microsoft.com/office/drawing/2014/main" id="{4248EF12-6A57-4D82-B5A6-C11AFB152D70}"/>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55" name="Group 54">
              <a:extLst>
                <a:ext uri="{FF2B5EF4-FFF2-40B4-BE49-F238E27FC236}">
                  <a16:creationId xmlns:a16="http://schemas.microsoft.com/office/drawing/2014/main" id="{42D6BAC8-7CBD-4C3E-AB56-BA53BDA5F793}"/>
                </a:ext>
              </a:extLst>
            </p:cNvPr>
            <p:cNvGrpSpPr/>
            <p:nvPr/>
          </p:nvGrpSpPr>
          <p:grpSpPr>
            <a:xfrm>
              <a:off x="11629801" y="5464512"/>
              <a:ext cx="1705246" cy="1682036"/>
              <a:chOff x="11062227" y="523302"/>
              <a:chExt cx="4300010" cy="4241482"/>
            </a:xfrm>
          </p:grpSpPr>
          <p:grpSp>
            <p:nvGrpSpPr>
              <p:cNvPr id="56" name="Group 55">
                <a:extLst>
                  <a:ext uri="{FF2B5EF4-FFF2-40B4-BE49-F238E27FC236}">
                    <a16:creationId xmlns:a16="http://schemas.microsoft.com/office/drawing/2014/main" id="{0CCAC621-3F6A-4899-ADD8-60AF8DDF17AE}"/>
                  </a:ext>
                </a:extLst>
              </p:cNvPr>
              <p:cNvGrpSpPr/>
              <p:nvPr/>
            </p:nvGrpSpPr>
            <p:grpSpPr>
              <a:xfrm>
                <a:off x="14143037" y="2125662"/>
                <a:ext cx="1219200" cy="1219200"/>
                <a:chOff x="14143037" y="2125662"/>
                <a:chExt cx="1219200" cy="1219200"/>
              </a:xfrm>
            </p:grpSpPr>
            <p:sp>
              <p:nvSpPr>
                <p:cNvPr id="63" name="Oval 62">
                  <a:extLst>
                    <a:ext uri="{FF2B5EF4-FFF2-40B4-BE49-F238E27FC236}">
                      <a16:creationId xmlns:a16="http://schemas.microsoft.com/office/drawing/2014/main" id="{82FEF029-E02A-4E87-80AE-57576F36AB4A}"/>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215">
                  <a:extLst>
                    <a:ext uri="{FF2B5EF4-FFF2-40B4-BE49-F238E27FC236}">
                      <a16:creationId xmlns:a16="http://schemas.microsoft.com/office/drawing/2014/main" id="{EF49CDEE-A859-49BE-8605-A1CBFF1B5807}"/>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57" name="Group 56">
                <a:extLst>
                  <a:ext uri="{FF2B5EF4-FFF2-40B4-BE49-F238E27FC236}">
                    <a16:creationId xmlns:a16="http://schemas.microsoft.com/office/drawing/2014/main" id="{3C68EB4C-28D4-4C2C-92CF-752D4FAB0288}"/>
                  </a:ext>
                </a:extLst>
              </p:cNvPr>
              <p:cNvGrpSpPr/>
              <p:nvPr/>
            </p:nvGrpSpPr>
            <p:grpSpPr>
              <a:xfrm>
                <a:off x="11062227" y="523302"/>
                <a:ext cx="689548" cy="689548"/>
                <a:chOff x="14143037" y="2125662"/>
                <a:chExt cx="1219200" cy="1219200"/>
              </a:xfrm>
            </p:grpSpPr>
            <p:sp>
              <p:nvSpPr>
                <p:cNvPr id="61" name="Oval 60">
                  <a:extLst>
                    <a:ext uri="{FF2B5EF4-FFF2-40B4-BE49-F238E27FC236}">
                      <a16:creationId xmlns:a16="http://schemas.microsoft.com/office/drawing/2014/main" id="{980889D0-BDD7-46D6-927A-12EB52E9D270}"/>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215">
                  <a:extLst>
                    <a:ext uri="{FF2B5EF4-FFF2-40B4-BE49-F238E27FC236}">
                      <a16:creationId xmlns:a16="http://schemas.microsoft.com/office/drawing/2014/main" id="{114E3227-F17A-4759-91A5-470B8D885C37}"/>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58" name="Group 57">
                <a:extLst>
                  <a:ext uri="{FF2B5EF4-FFF2-40B4-BE49-F238E27FC236}">
                    <a16:creationId xmlns:a16="http://schemas.microsoft.com/office/drawing/2014/main" id="{736AF2D5-674A-46E8-80FD-E7A4C3658EBF}"/>
                  </a:ext>
                </a:extLst>
              </p:cNvPr>
              <p:cNvGrpSpPr/>
              <p:nvPr/>
            </p:nvGrpSpPr>
            <p:grpSpPr>
              <a:xfrm>
                <a:off x="12859693" y="3797736"/>
                <a:ext cx="967048" cy="967048"/>
                <a:chOff x="14395189" y="818837"/>
                <a:chExt cx="714896" cy="714896"/>
              </a:xfrm>
            </p:grpSpPr>
            <p:sp>
              <p:nvSpPr>
                <p:cNvPr id="59" name="Oval 58">
                  <a:extLst>
                    <a:ext uri="{FF2B5EF4-FFF2-40B4-BE49-F238E27FC236}">
                      <a16:creationId xmlns:a16="http://schemas.microsoft.com/office/drawing/2014/main" id="{F201BD70-C5AD-43D4-8410-8E0800BAB1A1}"/>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214">
                  <a:extLst>
                    <a:ext uri="{FF2B5EF4-FFF2-40B4-BE49-F238E27FC236}">
                      <a16:creationId xmlns:a16="http://schemas.microsoft.com/office/drawing/2014/main" id="{546668EF-0B5E-4E7F-9624-4550BE08570B}"/>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pic>
        <p:nvPicPr>
          <p:cNvPr id="24" name="Picture 23">
            <a:extLst>
              <a:ext uri="{FF2B5EF4-FFF2-40B4-BE49-F238E27FC236}">
                <a16:creationId xmlns:a16="http://schemas.microsoft.com/office/drawing/2014/main" id="{69562CD3-1FC9-48DE-8B35-7AFDA8D42B0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
        <p:nvSpPr>
          <p:cNvPr id="11" name="Rectangle 10">
            <a:extLst>
              <a:ext uri="{FF2B5EF4-FFF2-40B4-BE49-F238E27FC236}">
                <a16:creationId xmlns:a16="http://schemas.microsoft.com/office/drawing/2014/main" id="{5840FCDF-545E-49D7-B310-14FCF12F1C66}"/>
              </a:ext>
            </a:extLst>
          </p:cNvPr>
          <p:cNvSpPr/>
          <p:nvPr userDrawn="1"/>
        </p:nvSpPr>
        <p:spPr bwMode="auto">
          <a:xfrm>
            <a:off x="-1" y="2233598"/>
            <a:ext cx="12192001" cy="2390805"/>
          </a:xfrm>
          <a:prstGeom prst="rect">
            <a:avLst/>
          </a:prstGeom>
          <a:solidFill>
            <a:srgbClr val="FFFFFF">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a:extLst>
              <a:ext uri="{FF2B5EF4-FFF2-40B4-BE49-F238E27FC236}">
                <a16:creationId xmlns:a16="http://schemas.microsoft.com/office/drawing/2014/main" id="{C5D17CAB-C414-4A2E-AFD8-CB9116234C35}"/>
              </a:ext>
            </a:extLst>
          </p:cNvPr>
          <p:cNvSpPr txBox="1"/>
          <p:nvPr userDrawn="1"/>
        </p:nvSpPr>
        <p:spPr>
          <a:xfrm>
            <a:off x="0" y="2632329"/>
            <a:ext cx="12191999" cy="1593341"/>
          </a:xfrm>
          <a:prstGeom prst="rect">
            <a:avLst/>
          </a:prstGeom>
          <a:noFill/>
        </p:spPr>
        <p:txBody>
          <a:bodyPr wrap="square" lIns="179285" tIns="143428" rIns="179285" bIns="143428" rtlCol="0">
            <a:spAutoFit/>
          </a:bodyPr>
          <a:lstStyle/>
          <a:p>
            <a:pPr algn="ctr">
              <a:lnSpc>
                <a:spcPct val="90000"/>
              </a:lnSpc>
              <a:spcAft>
                <a:spcPts val="588"/>
              </a:spcAft>
            </a:pPr>
            <a:r>
              <a:rPr lang="en-US" sz="9411">
                <a:solidFill>
                  <a:schemeClr val="accent2"/>
                </a:solidFill>
                <a:latin typeface="+mj-lt"/>
              </a:rPr>
              <a:t>Thank You</a:t>
            </a:r>
          </a:p>
        </p:txBody>
      </p:sp>
      <p:pic>
        <p:nvPicPr>
          <p:cNvPr id="77" name="Picture 76">
            <a:extLst>
              <a:ext uri="{FF2B5EF4-FFF2-40B4-BE49-F238E27FC236}">
                <a16:creationId xmlns:a16="http://schemas.microsoft.com/office/drawing/2014/main" id="{D94611F7-4CC6-40C4-B94F-40FA4AA2F1E4}"/>
              </a:ext>
            </a:extLst>
          </p:cNvPr>
          <p:cNvPicPr>
            <a:picLocks noChangeAspect="1"/>
          </p:cNvPicPr>
          <p:nvPr userDrawn="1"/>
        </p:nvPicPr>
        <p:blipFill>
          <a:blip r:embed="rId6"/>
          <a:stretch>
            <a:fillRect/>
          </a:stretch>
        </p:blipFill>
        <p:spPr>
          <a:xfrm>
            <a:off x="320955" y="931636"/>
            <a:ext cx="2666948" cy="475527"/>
          </a:xfrm>
          <a:prstGeom prst="rect">
            <a:avLst/>
          </a:prstGeom>
        </p:spPr>
      </p:pic>
    </p:spTree>
    <p:extLst>
      <p:ext uri="{BB962C8B-B14F-4D97-AF65-F5344CB8AC3E}">
        <p14:creationId xmlns:p14="http://schemas.microsoft.com/office/powerpoint/2010/main" val="16725963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a:t>
            </a:r>
            <a:r>
              <a:rPr lang="en-US" sz="686" baseline="0">
                <a:gradFill>
                  <a:gsLst>
                    <a:gs pos="0">
                      <a:schemeClr val="tx1"/>
                    </a:gs>
                    <a:gs pos="100000">
                      <a:schemeClr val="tx1"/>
                    </a:gs>
                  </a:gsLst>
                  <a:lin ang="5400000" scaled="0"/>
                </a:gradFill>
                <a:cs typeface="Segoe UI" pitchFamily="34" charset="0"/>
              </a:rPr>
              <a:t> Copyright</a:t>
            </a:r>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830044348"/>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00882887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27546717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73252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60382331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a:xfrm>
            <a:off x="363968" y="273947"/>
            <a:ext cx="10971866" cy="1144038"/>
          </a:xfrm>
        </p:spPr>
        <p:txBody>
          <a:bodyPr anchor="t">
            <a:normAutofit/>
          </a:bodyPr>
          <a:lstStyle>
            <a:lvl1pPr>
              <a:defRPr sz="4800">
                <a:solidFill>
                  <a:schemeClr val="tx2"/>
                </a:solidFill>
              </a:defRPr>
            </a:lvl1pPr>
          </a:lstStyle>
          <a:p>
            <a:r>
              <a:rPr lang="en-US"/>
              <a:t>Click to edit Master title style</a:t>
            </a:r>
            <a:endParaRPr lang="en-IN"/>
          </a:p>
        </p:txBody>
      </p:sp>
    </p:spTree>
    <p:extLst>
      <p:ext uri="{BB962C8B-B14F-4D97-AF65-F5344CB8AC3E}">
        <p14:creationId xmlns:p14="http://schemas.microsoft.com/office/powerpoint/2010/main" val="27831841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3150285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25174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5114" y="1608881"/>
            <a:ext cx="5602147" cy="4568082"/>
          </a:xfrm>
        </p:spPr>
        <p:txBody>
          <a:bodyPr>
            <a:normAutofit/>
          </a:bodyPr>
          <a:lstStyle>
            <a:lvl1pPr>
              <a:defRPr sz="3200"/>
            </a:lvl1pPr>
            <a:lvl2pPr>
              <a:defRPr sz="2800"/>
            </a:lvl2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93397" y="1608881"/>
            <a:ext cx="5439928" cy="4568082"/>
          </a:xfrm>
        </p:spPr>
        <p:txBody>
          <a:bodyPr>
            <a:normAutofit/>
          </a:bodyPr>
          <a:lstStyle>
            <a:lvl1pPr>
              <a:defRPr sz="3200"/>
            </a:lvl1pPr>
            <a:lvl2pPr>
              <a:defRPr sz="2800"/>
            </a:lvl2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reeform 5"/>
          <p:cNvSpPr/>
          <p:nvPr userDrawn="1"/>
        </p:nvSpPr>
        <p:spPr>
          <a:xfrm>
            <a:off x="11070195" y="5781041"/>
            <a:ext cx="1121805" cy="1076960"/>
          </a:xfrm>
          <a:custGeom>
            <a:avLst/>
            <a:gdLst>
              <a:gd name="connsiteX0" fmla="*/ 2027600 w 2027600"/>
              <a:gd name="connsiteY0" fmla="*/ 0 h 1946545"/>
              <a:gd name="connsiteX1" fmla="*/ 2027600 w 2027600"/>
              <a:gd name="connsiteY1" fmla="*/ 1946545 h 1946545"/>
              <a:gd name="connsiteX2" fmla="*/ 0 w 2027600"/>
              <a:gd name="connsiteY2" fmla="*/ 1946545 h 1946545"/>
              <a:gd name="connsiteX3" fmla="*/ 0 w 2027600"/>
              <a:gd name="connsiteY3" fmla="*/ 957534 h 1946545"/>
            </a:gdLst>
            <a:ahLst/>
            <a:cxnLst>
              <a:cxn ang="0">
                <a:pos x="connsiteX0" y="connsiteY0"/>
              </a:cxn>
              <a:cxn ang="0">
                <a:pos x="connsiteX1" y="connsiteY1"/>
              </a:cxn>
              <a:cxn ang="0">
                <a:pos x="connsiteX2" y="connsiteY2"/>
              </a:cxn>
              <a:cxn ang="0">
                <a:pos x="connsiteX3" y="connsiteY3"/>
              </a:cxn>
            </a:cxnLst>
            <a:rect l="l" t="t" r="r" b="b"/>
            <a:pathLst>
              <a:path w="2027600" h="1946545">
                <a:moveTo>
                  <a:pt x="2027600" y="0"/>
                </a:moveTo>
                <a:lnTo>
                  <a:pt x="2027600" y="1946545"/>
                </a:lnTo>
                <a:lnTo>
                  <a:pt x="0" y="1946545"/>
                </a:lnTo>
                <a:lnTo>
                  <a:pt x="0" y="957534"/>
                </a:lnTo>
                <a:close/>
              </a:path>
            </a:pathLst>
          </a:cu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800"/>
              <a:t>  </a:t>
            </a:r>
          </a:p>
        </p:txBody>
      </p:sp>
      <p:pic>
        <p:nvPicPr>
          <p:cNvPr id="7" name="Icertis Logo Positiv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6487" y="6316646"/>
            <a:ext cx="869218" cy="370867"/>
          </a:xfrm>
          <a:prstGeom prst="rect">
            <a:avLst/>
          </a:prstGeom>
        </p:spPr>
      </p:pic>
    </p:spTree>
    <p:extLst>
      <p:ext uri="{BB962C8B-B14F-4D97-AF65-F5344CB8AC3E}">
        <p14:creationId xmlns:p14="http://schemas.microsoft.com/office/powerpoint/2010/main" val="45551830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22982" y="304192"/>
            <a:ext cx="11619924" cy="909867"/>
          </a:xfrm>
          <a:prstGeom prst="rect">
            <a:avLst/>
          </a:prstGeom>
        </p:spPr>
        <p:txBody>
          <a:bodyPr/>
          <a:lstStyle>
            <a:lvl1pPr>
              <a:defRPr sz="4267" b="0">
                <a:solidFill>
                  <a:srgbClr val="D40E8C"/>
                </a:solidFill>
                <a:latin typeface="+mj-lt"/>
              </a:defRPr>
            </a:lvl1pPr>
          </a:lstStyle>
          <a:p>
            <a:r>
              <a:rPr lang="en-US"/>
              <a:t>Click to edit Master title style</a:t>
            </a:r>
          </a:p>
        </p:txBody>
      </p:sp>
      <p:sp>
        <p:nvSpPr>
          <p:cNvPr id="5" name="Text Placeholder 4">
            <a:extLst>
              <a:ext uri="{FF2B5EF4-FFF2-40B4-BE49-F238E27FC236}">
                <a16:creationId xmlns:a16="http://schemas.microsoft.com/office/drawing/2014/main" id="{7152E22A-26B9-084E-A88D-0AF65EF4BB74}"/>
              </a:ext>
            </a:extLst>
          </p:cNvPr>
          <p:cNvSpPr>
            <a:spLocks noGrp="1"/>
          </p:cNvSpPr>
          <p:nvPr>
            <p:ph type="body" sz="quarter" idx="10"/>
          </p:nvPr>
        </p:nvSpPr>
        <p:spPr>
          <a:xfrm>
            <a:off x="322982" y="1466127"/>
            <a:ext cx="11619252" cy="4723007"/>
          </a:xfrm>
          <a:prstGeom prst="rect">
            <a:avLst/>
          </a:prstGeom>
        </p:spPr>
        <p:txBody>
          <a:bodyPr/>
          <a:lstStyle>
            <a:lvl1pPr>
              <a:defRPr sz="3733">
                <a:solidFill>
                  <a:srgbClr val="D40E8C"/>
                </a:solidFill>
                <a:latin typeface="+mn-lt"/>
              </a:defRPr>
            </a:lvl1pPr>
            <a:lvl2pPr>
              <a:defRPr sz="3200">
                <a:solidFill>
                  <a:srgbClr val="D40E8C"/>
                </a:solidFill>
                <a:latin typeface="+mn-lt"/>
              </a:defRPr>
            </a:lvl2pPr>
            <a:lvl3pPr>
              <a:defRPr sz="2400">
                <a:solidFill>
                  <a:srgbClr val="D40E8C"/>
                </a:solidFill>
                <a:latin typeface="+mn-lt"/>
              </a:defRPr>
            </a:lvl3pPr>
            <a:lvl4pPr>
              <a:defRPr sz="2133">
                <a:solidFill>
                  <a:srgbClr val="D40E8C"/>
                </a:solidFill>
                <a:latin typeface="+mn-lt"/>
              </a:defRPr>
            </a:lvl4pPr>
            <a:lvl5pPr>
              <a:defRPr sz="2133">
                <a:solidFill>
                  <a:srgbClr val="D40E8C"/>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715973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8DDF4-7273-470E-9130-845EFBEAD8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2D06F3-7DDA-4270-9C0A-4C7A0E7E7C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C74022-D642-46C3-B7C4-9D0B3A4E3298}"/>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5" name="Footer Placeholder 4">
            <a:extLst>
              <a:ext uri="{FF2B5EF4-FFF2-40B4-BE49-F238E27FC236}">
                <a16:creationId xmlns:a16="http://schemas.microsoft.com/office/drawing/2014/main" id="{807C7A85-E135-4AEC-840A-6658ED8B34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639826-F047-4707-94D9-65D93CAABD7C}"/>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285251122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4C53A-5D3F-476A-8D07-3652B2D2D9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B0AA3D-9789-4D9C-B490-25E5F951E0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523687-ED29-4BC6-A657-F27E239E3C62}"/>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5" name="Footer Placeholder 4">
            <a:extLst>
              <a:ext uri="{FF2B5EF4-FFF2-40B4-BE49-F238E27FC236}">
                <a16:creationId xmlns:a16="http://schemas.microsoft.com/office/drawing/2014/main" id="{A1FDF93E-66FA-4EE3-AD1A-477FF25FC7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216EF6-4334-4893-B67D-ECC5EA69135D}"/>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353589229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59993-962A-47D4-9815-7E697F38BCA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0F7630D-C14D-4ACE-BDC4-6072438DB8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519F6AF-2802-4141-88BD-358AEA6035E8}"/>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5" name="Footer Placeholder 4">
            <a:extLst>
              <a:ext uri="{FF2B5EF4-FFF2-40B4-BE49-F238E27FC236}">
                <a16:creationId xmlns:a16="http://schemas.microsoft.com/office/drawing/2014/main" id="{C241FADD-82B4-461E-BB6D-C6C281CEB1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23CCD7-216E-4A87-80CA-308299F2B584}"/>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9214411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79844-0359-478E-9E06-5D7454353B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6C9665-F940-4CF6-BD0A-DDE3F4CB35A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CB4F33-860C-472A-A1C1-59EA78D994B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532CC3-EA88-4B85-B02B-8ADEA61654E3}"/>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6" name="Footer Placeholder 5">
            <a:extLst>
              <a:ext uri="{FF2B5EF4-FFF2-40B4-BE49-F238E27FC236}">
                <a16:creationId xmlns:a16="http://schemas.microsoft.com/office/drawing/2014/main" id="{664DF148-8A69-43F1-B06E-30070B5B47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0A499E-5B1F-4077-B1B8-C1367DA1FE9C}"/>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74196091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7BF80-675F-4F20-B490-3206FB6BDE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7CBA6C-AC76-4705-ACC4-D397F93E72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E51090A-49DE-42D6-AC95-4AD89DFB643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D6B779C-DF99-40F4-B991-FCDAD93FBD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FE10B77-1FF2-4E7C-B207-74742FD2D85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A8338AC-1843-4B93-B1A2-64832A3174E3}"/>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8" name="Footer Placeholder 7">
            <a:extLst>
              <a:ext uri="{FF2B5EF4-FFF2-40B4-BE49-F238E27FC236}">
                <a16:creationId xmlns:a16="http://schemas.microsoft.com/office/drawing/2014/main" id="{C1F57A45-9D16-4EAC-9FAD-11267E19E0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54D0EA9-8241-4808-98D9-E4B83153FE2C}"/>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221685501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A9CCD-29F0-42F0-9501-889F18AD248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C06C7D-1D2F-4E72-8BB2-90DDD8D486F0}"/>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4" name="Footer Placeholder 3">
            <a:extLst>
              <a:ext uri="{FF2B5EF4-FFF2-40B4-BE49-F238E27FC236}">
                <a16:creationId xmlns:a16="http://schemas.microsoft.com/office/drawing/2014/main" id="{4CCB678A-EF8B-46ED-ABF6-B93F659547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A9FF7-0A26-4B22-8A3C-E731392D5F0B}"/>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270389173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181E5D-D1E7-4F2E-910D-95CEF8E639E1}"/>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3" name="Footer Placeholder 2">
            <a:extLst>
              <a:ext uri="{FF2B5EF4-FFF2-40B4-BE49-F238E27FC236}">
                <a16:creationId xmlns:a16="http://schemas.microsoft.com/office/drawing/2014/main" id="{BFBED033-FF59-4A32-9176-3674F4DAC8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80B0BD4-DB98-441F-8DA6-3C9E124F9154}"/>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3316783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a:t>Section title</a:t>
            </a:r>
          </a:p>
        </p:txBody>
      </p:sp>
    </p:spTree>
    <p:extLst>
      <p:ext uri="{BB962C8B-B14F-4D97-AF65-F5344CB8AC3E}">
        <p14:creationId xmlns:p14="http://schemas.microsoft.com/office/powerpoint/2010/main" val="3387807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E9A65-71D6-403C-851F-32DF4FAA22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6DFEDF-1B2E-41DC-AA66-AF7686F3C8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CDF53D-1F5C-4EC8-B928-73D78F0DEA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0FAA77E-8CA1-4550-8D5A-7600D98463BB}"/>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6" name="Footer Placeholder 5">
            <a:extLst>
              <a:ext uri="{FF2B5EF4-FFF2-40B4-BE49-F238E27FC236}">
                <a16:creationId xmlns:a16="http://schemas.microsoft.com/office/drawing/2014/main" id="{983B0DE9-B95C-4262-B988-D4D48441EB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BD9B47-C55F-4CB9-9890-128848396397}"/>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422927676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D91F8-DC5B-4C18-AC40-7D9CC05642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2D23157-A4A3-405F-91DA-62DD74840A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ADFE946-CA11-4BC3-892D-E8CC1BC85F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8D937EE-3D03-4EFA-A672-502CBB95AF6A}"/>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6" name="Footer Placeholder 5">
            <a:extLst>
              <a:ext uri="{FF2B5EF4-FFF2-40B4-BE49-F238E27FC236}">
                <a16:creationId xmlns:a16="http://schemas.microsoft.com/office/drawing/2014/main" id="{CD18DF94-2BAD-4095-A84F-FDBDE92BBC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9253EE-D393-45E6-AAD8-F6F36F5E3E10}"/>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25053073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8CA2E-3BB5-402E-BC1A-01AAD7B20EF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9E76509-869D-460C-A254-D7C4ECDC950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7646DF-5232-49A6-9F94-00110AED48C1}"/>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5" name="Footer Placeholder 4">
            <a:extLst>
              <a:ext uri="{FF2B5EF4-FFF2-40B4-BE49-F238E27FC236}">
                <a16:creationId xmlns:a16="http://schemas.microsoft.com/office/drawing/2014/main" id="{4B3DB36D-12F8-42A7-936C-D0629D415C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D2EFF4-263E-4F6B-879D-7C6021EEABA4}"/>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85096767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C41CBA-DDDA-407F-8424-D2B358F023E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15F0A-6FF3-4AF3-81A3-467273658D0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24EBF5-C17A-445B-AEEB-5E9F499B2396}"/>
              </a:ext>
            </a:extLst>
          </p:cNvPr>
          <p:cNvSpPr>
            <a:spLocks noGrp="1"/>
          </p:cNvSpPr>
          <p:nvPr>
            <p:ph type="dt" sz="half" idx="10"/>
          </p:nvPr>
        </p:nvSpPr>
        <p:spPr/>
        <p:txBody>
          <a:bodyPr/>
          <a:lstStyle/>
          <a:p>
            <a:fld id="{69CAEC7B-CECC-4944-A2E3-609A5934BE7A}" type="datetimeFigureOut">
              <a:rPr lang="en-US" smtClean="0"/>
              <a:t>12/2/19</a:t>
            </a:fld>
            <a:endParaRPr lang="en-US"/>
          </a:p>
        </p:txBody>
      </p:sp>
      <p:sp>
        <p:nvSpPr>
          <p:cNvPr id="5" name="Footer Placeholder 4">
            <a:extLst>
              <a:ext uri="{FF2B5EF4-FFF2-40B4-BE49-F238E27FC236}">
                <a16:creationId xmlns:a16="http://schemas.microsoft.com/office/drawing/2014/main" id="{C90C7B28-6D29-4EC2-B626-C90B20184A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9DC1F5-9B1A-4CAD-A704-2F51047C97C3}"/>
              </a:ext>
            </a:extLst>
          </p:cNvPr>
          <p:cNvSpPr>
            <a:spLocks noGrp="1"/>
          </p:cNvSpPr>
          <p:nvPr>
            <p:ph type="sldNum" sz="quarter" idx="12"/>
          </p:nvPr>
        </p:nvSpPr>
        <p:spPr/>
        <p:txBody>
          <a:bodyPr/>
          <a:lstStyle/>
          <a:p>
            <a:fld id="{F81FF8C2-23B0-4AEF-B9C8-4ECD0BCB51F6}" type="slidenum">
              <a:rPr lang="en-US" smtClean="0"/>
              <a:t>‹#›</a:t>
            </a:fld>
            <a:endParaRPr lang="en-US"/>
          </a:p>
        </p:txBody>
      </p:sp>
    </p:spTree>
    <p:extLst>
      <p:ext uri="{BB962C8B-B14F-4D97-AF65-F5344CB8AC3E}">
        <p14:creationId xmlns:p14="http://schemas.microsoft.com/office/powerpoint/2010/main" val="4108509763"/>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content-page #- ms con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95A9B-CCAD-4D4C-A5FE-6B5C4447F682}"/>
              </a:ext>
            </a:extLst>
          </p:cNvPr>
          <p:cNvSpPr>
            <a:spLocks noGrp="1"/>
          </p:cNvSpPr>
          <p:nvPr>
            <p:ph type="title"/>
          </p:nvPr>
        </p:nvSpPr>
        <p:spPr>
          <a:xfrm>
            <a:off x="269240" y="289512"/>
            <a:ext cx="11655840" cy="899665"/>
          </a:xfrm>
          <a:prstGeom prst="rect">
            <a:avLst/>
          </a:prstGeom>
        </p:spPr>
        <p:txBody>
          <a:bodyPr/>
          <a:lstStyle>
            <a:lvl1pPr>
              <a:defRPr sz="4000">
                <a:solidFill>
                  <a:srgbClr val="1E1E1E"/>
                </a:solidFill>
              </a:defRPr>
            </a:lvl1pPr>
          </a:lstStyle>
          <a:p>
            <a:r>
              <a:rPr lang="en-US"/>
              <a:t>Click to edit Master title style</a:t>
            </a:r>
          </a:p>
        </p:txBody>
      </p:sp>
    </p:spTree>
    <p:extLst>
      <p:ext uri="{BB962C8B-B14F-4D97-AF65-F5344CB8AC3E}">
        <p14:creationId xmlns:p14="http://schemas.microsoft.com/office/powerpoint/2010/main" val="28000917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3A7B2E-1921-46CA-B3CE-D3E696723E93}"/>
              </a:ext>
            </a:extLst>
          </p:cNvPr>
          <p:cNvPicPr>
            <a:picLocks noChangeAspect="1"/>
          </p:cNvPicPr>
          <p:nvPr userDrawn="1"/>
        </p:nvPicPr>
        <p:blipFill rotWithShape="1">
          <a:blip r:embed="rId2"/>
          <a:srcRect l="243" r="-1"/>
          <a:stretch/>
        </p:blipFill>
        <p:spPr>
          <a:xfrm>
            <a:off x="0" y="0"/>
            <a:ext cx="12147849" cy="6858000"/>
          </a:xfrm>
          <a:prstGeom prst="rect">
            <a:avLst/>
          </a:prstGeom>
        </p:spPr>
      </p:pic>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a:t>Section title</a:t>
            </a:r>
          </a:p>
        </p:txBody>
      </p:sp>
    </p:spTree>
    <p:extLst>
      <p:ext uri="{BB962C8B-B14F-4D97-AF65-F5344CB8AC3E}">
        <p14:creationId xmlns:p14="http://schemas.microsoft.com/office/powerpoint/2010/main" val="1934333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2"/>
        </a:solidFill>
        <a:effectLst/>
      </p:bgPr>
    </p:bg>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2642D545-3213-4A33-A86C-642E20076A06}"/>
              </a:ext>
            </a:extLst>
          </p:cNvPr>
          <p:cNvPicPr>
            <a:picLocks noChangeAspect="1"/>
          </p:cNvPicPr>
          <p:nvPr userDrawn="1"/>
        </p:nvPicPr>
        <p:blipFill rotWithShape="1">
          <a:blip r:embed="rId2"/>
          <a:srcRect l="153" r="5773"/>
          <a:stretch/>
        </p:blipFill>
        <p:spPr>
          <a:xfrm>
            <a:off x="-10932" y="0"/>
            <a:ext cx="11455911" cy="6858000"/>
          </a:xfrm>
          <a:prstGeom prst="rect">
            <a:avLst/>
          </a:prstGeom>
          <a:gradFill>
            <a:gsLst>
              <a:gs pos="36000">
                <a:schemeClr val="accent2">
                  <a:alpha val="0"/>
                </a:schemeClr>
              </a:gs>
              <a:gs pos="100000">
                <a:schemeClr val="accent2">
                  <a:alpha val="0"/>
                </a:schemeClr>
              </a:gs>
            </a:gsLst>
            <a:lin ang="0" scaled="1"/>
          </a:gradFill>
        </p:spPr>
      </p:pic>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a:t>Section title</a:t>
            </a:r>
          </a:p>
        </p:txBody>
      </p:sp>
    </p:spTree>
    <p:extLst>
      <p:ext uri="{BB962C8B-B14F-4D97-AF65-F5344CB8AC3E}">
        <p14:creationId xmlns:p14="http://schemas.microsoft.com/office/powerpoint/2010/main" val="2973019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4A83B1-A5A1-49C1-8786-216604899A7E}"/>
              </a:ext>
            </a:extLst>
          </p:cNvPr>
          <p:cNvPicPr>
            <a:picLocks noChangeAspect="1"/>
          </p:cNvPicPr>
          <p:nvPr userDrawn="1"/>
        </p:nvPicPr>
        <p:blipFill>
          <a:blip r:embed="rId2"/>
          <a:stretch>
            <a:fillRect/>
          </a:stretch>
        </p:blipFill>
        <p:spPr>
          <a:xfrm>
            <a:off x="0" y="0"/>
            <a:ext cx="12184709" cy="6858000"/>
          </a:xfrm>
          <a:prstGeom prst="rect">
            <a:avLst/>
          </a:prstGeom>
        </p:spPr>
      </p:pic>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a:t>Section title</a:t>
            </a:r>
          </a:p>
        </p:txBody>
      </p:sp>
    </p:spTree>
    <p:extLst>
      <p:ext uri="{BB962C8B-B14F-4D97-AF65-F5344CB8AC3E}">
        <p14:creationId xmlns:p14="http://schemas.microsoft.com/office/powerpoint/2010/main" val="1867644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324161"/>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84609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52950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9754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453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6369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09819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DBE215-8D76-4C2B-9C0D-A7C64E52944A}"/>
              </a:ext>
            </a:extLst>
          </p:cNvPr>
          <p:cNvPicPr>
            <a:picLocks noChangeAspect="1"/>
          </p:cNvPicPr>
          <p:nvPr userDrawn="1"/>
        </p:nvPicPr>
        <p:blipFill>
          <a:blip r:embed="rId2"/>
          <a:stretch>
            <a:fillRect/>
          </a:stretch>
        </p:blipFill>
        <p:spPr>
          <a:xfrm>
            <a:off x="0" y="0"/>
            <a:ext cx="12184709" cy="6858000"/>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0" y="2632329"/>
            <a:ext cx="12191999" cy="1593341"/>
          </a:xfrm>
          <a:prstGeom prst="rect">
            <a:avLst/>
          </a:prstGeom>
          <a:noFill/>
        </p:spPr>
        <p:txBody>
          <a:bodyPr wrap="square" lIns="179285" tIns="143428" rIns="179285" bIns="143428" rtlCol="0">
            <a:spAutoFit/>
          </a:bodyPr>
          <a:lstStyle/>
          <a:p>
            <a:pPr algn="ctr">
              <a:lnSpc>
                <a:spcPct val="90000"/>
              </a:lnSpc>
              <a:spcAft>
                <a:spcPts val="588"/>
              </a:spcAft>
            </a:pPr>
            <a:r>
              <a:rPr lang="en-US" sz="9411">
                <a:solidFill>
                  <a:schemeClr val="bg1"/>
                </a:solidFill>
                <a:latin typeface="+mj-lt"/>
              </a:rPr>
              <a:t>Thank You</a:t>
            </a:r>
          </a:p>
        </p:txBody>
      </p:sp>
      <p:pic>
        <p:nvPicPr>
          <p:cNvPr id="12" name="Picture 11">
            <a:extLst>
              <a:ext uri="{FF2B5EF4-FFF2-40B4-BE49-F238E27FC236}">
                <a16:creationId xmlns:a16="http://schemas.microsoft.com/office/drawing/2014/main" id="{B70E7E9C-26AA-4514-A8A0-679C5F5F4669}"/>
              </a:ext>
            </a:extLst>
          </p:cNvPr>
          <p:cNvPicPr>
            <a:picLocks noChangeAspect="1"/>
          </p:cNvPicPr>
          <p:nvPr userDrawn="1"/>
        </p:nvPicPr>
        <p:blipFill>
          <a:blip r:embed="rId3"/>
          <a:stretch>
            <a:fillRect/>
          </a:stretch>
        </p:blipFill>
        <p:spPr>
          <a:xfrm>
            <a:off x="263490" y="243545"/>
            <a:ext cx="1629151" cy="599358"/>
          </a:xfrm>
          <a:prstGeom prst="rect">
            <a:avLst/>
          </a:prstGeom>
        </p:spPr>
      </p:pic>
      <p:pic>
        <p:nvPicPr>
          <p:cNvPr id="13" name="Picture 12">
            <a:extLst>
              <a:ext uri="{FF2B5EF4-FFF2-40B4-BE49-F238E27FC236}">
                <a16:creationId xmlns:a16="http://schemas.microsoft.com/office/drawing/2014/main" id="{10E63C4A-2B25-4F35-9DAB-DBB00D29B886}"/>
              </a:ext>
            </a:extLst>
          </p:cNvPr>
          <p:cNvPicPr>
            <a:picLocks noChangeAspect="1"/>
          </p:cNvPicPr>
          <p:nvPr userDrawn="1"/>
        </p:nvPicPr>
        <p:blipFill>
          <a:blip r:embed="rId4"/>
          <a:stretch>
            <a:fillRect/>
          </a:stretch>
        </p:blipFill>
        <p:spPr>
          <a:xfrm>
            <a:off x="418644" y="1015514"/>
            <a:ext cx="1870457" cy="344214"/>
          </a:xfrm>
          <a:prstGeom prst="rect">
            <a:avLst/>
          </a:prstGeom>
        </p:spPr>
      </p:pic>
    </p:spTree>
    <p:extLst>
      <p:ext uri="{BB962C8B-B14F-4D97-AF65-F5344CB8AC3E}">
        <p14:creationId xmlns:p14="http://schemas.microsoft.com/office/powerpoint/2010/main" val="30388870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0904456-B682-48B5-B56A-9BF55D690B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5568"/>
          <a:stretch/>
        </p:blipFill>
        <p:spPr>
          <a:xfrm>
            <a:off x="0" y="0"/>
            <a:ext cx="12192000" cy="6864259"/>
          </a:xfrm>
          <a:prstGeom prst="rect">
            <a:avLst/>
          </a:prstGeom>
        </p:spPr>
      </p:pic>
      <p:pic>
        <p:nvPicPr>
          <p:cNvPr id="78" name="Picture 77">
            <a:extLst>
              <a:ext uri="{FF2B5EF4-FFF2-40B4-BE49-F238E27FC236}">
                <a16:creationId xmlns:a16="http://schemas.microsoft.com/office/drawing/2014/main" id="{BF7A8B48-DF16-4FF7-93A6-0CCD194F9586}"/>
              </a:ext>
            </a:extLst>
          </p:cNvPr>
          <p:cNvPicPr>
            <a:picLocks noChangeAspect="1"/>
          </p:cNvPicPr>
          <p:nvPr userDrawn="1"/>
        </p:nvPicPr>
        <p:blipFill rotWithShape="1">
          <a:blip r:embed="rId3"/>
          <a:srcRect l="153" r="5773"/>
          <a:stretch/>
        </p:blipFill>
        <p:spPr>
          <a:xfrm>
            <a:off x="-10932" y="0"/>
            <a:ext cx="11455911" cy="6858000"/>
          </a:xfrm>
          <a:prstGeom prst="rect">
            <a:avLst/>
          </a:prstGeom>
          <a:gradFill>
            <a:gsLst>
              <a:gs pos="36000">
                <a:schemeClr val="accent2">
                  <a:alpha val="0"/>
                </a:schemeClr>
              </a:gs>
              <a:gs pos="100000">
                <a:schemeClr val="accent2">
                  <a:alpha val="0"/>
                </a:schemeClr>
              </a:gs>
            </a:gsLst>
            <a:lin ang="0" scaled="1"/>
          </a:gradFill>
        </p:spPr>
      </p:pic>
      <p:pic>
        <p:nvPicPr>
          <p:cNvPr id="79" name="Picture 78">
            <a:extLst>
              <a:ext uri="{FF2B5EF4-FFF2-40B4-BE49-F238E27FC236}">
                <a16:creationId xmlns:a16="http://schemas.microsoft.com/office/drawing/2014/main" id="{242113F2-43DD-45DE-90AB-624CD0A0ECB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1097632" y="407119"/>
            <a:ext cx="1270554" cy="272209"/>
          </a:xfrm>
          <a:prstGeom prst="rect">
            <a:avLst/>
          </a:prstGeom>
        </p:spPr>
      </p:pic>
      <p:pic>
        <p:nvPicPr>
          <p:cNvPr id="80" name="Picture 79">
            <a:extLst>
              <a:ext uri="{FF2B5EF4-FFF2-40B4-BE49-F238E27FC236}">
                <a16:creationId xmlns:a16="http://schemas.microsoft.com/office/drawing/2014/main" id="{4B808305-AF41-42C5-A2DA-AF2FB3E94967}"/>
              </a:ext>
            </a:extLst>
          </p:cNvPr>
          <p:cNvPicPr>
            <a:picLocks noChangeAspect="1"/>
          </p:cNvPicPr>
          <p:nvPr userDrawn="1"/>
        </p:nvPicPr>
        <p:blipFill>
          <a:blip r:embed="rId5"/>
          <a:stretch>
            <a:fillRect/>
          </a:stretch>
        </p:blipFill>
        <p:spPr>
          <a:xfrm>
            <a:off x="1038122" y="1006230"/>
            <a:ext cx="1878161" cy="365667"/>
          </a:xfrm>
          <a:prstGeom prst="rect">
            <a:avLst/>
          </a:prstGeom>
        </p:spPr>
      </p:pic>
      <p:sp>
        <p:nvSpPr>
          <p:cNvPr id="48" name="TextBox 47">
            <a:extLst>
              <a:ext uri="{FF2B5EF4-FFF2-40B4-BE49-F238E27FC236}">
                <a16:creationId xmlns:a16="http://schemas.microsoft.com/office/drawing/2014/main" id="{C5D17CAB-C414-4A2E-AFD8-CB9116234C35}"/>
              </a:ext>
            </a:extLst>
          </p:cNvPr>
          <p:cNvSpPr txBox="1"/>
          <p:nvPr userDrawn="1"/>
        </p:nvSpPr>
        <p:spPr>
          <a:xfrm>
            <a:off x="0" y="2632329"/>
            <a:ext cx="12191999" cy="1593341"/>
          </a:xfrm>
          <a:prstGeom prst="rect">
            <a:avLst/>
          </a:prstGeom>
          <a:noFill/>
        </p:spPr>
        <p:txBody>
          <a:bodyPr wrap="square" lIns="179285" tIns="143428" rIns="179285" bIns="143428" rtlCol="0">
            <a:spAutoFit/>
          </a:bodyPr>
          <a:lstStyle/>
          <a:p>
            <a:pPr algn="ctr">
              <a:lnSpc>
                <a:spcPct val="90000"/>
              </a:lnSpc>
              <a:spcAft>
                <a:spcPts val="588"/>
              </a:spcAft>
            </a:pPr>
            <a:r>
              <a:rPr lang="en-US" sz="9411">
                <a:solidFill>
                  <a:schemeClr val="accent2"/>
                </a:solidFill>
                <a:latin typeface="+mj-lt"/>
              </a:rPr>
              <a:t>Thank You</a:t>
            </a:r>
          </a:p>
        </p:txBody>
      </p:sp>
    </p:spTree>
    <p:extLst>
      <p:ext uri="{BB962C8B-B14F-4D97-AF65-F5344CB8AC3E}">
        <p14:creationId xmlns:p14="http://schemas.microsoft.com/office/powerpoint/2010/main" val="23208781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a:t>
            </a:r>
            <a:r>
              <a:rPr lang="en-US" sz="686" baseline="0">
                <a:gradFill>
                  <a:gsLst>
                    <a:gs pos="0">
                      <a:schemeClr val="tx1"/>
                    </a:gs>
                    <a:gs pos="100000">
                      <a:schemeClr val="tx1"/>
                    </a:gs>
                  </a:gsLst>
                  <a:lin ang="5400000" scaled="0"/>
                </a:gradFill>
                <a:cs typeface="Segoe UI" pitchFamily="34" charset="0"/>
              </a:rPr>
              <a:t> Copyright</a:t>
            </a:r>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54635470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7484912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04213176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050672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5872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752279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1984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7669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1080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90052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6534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037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00737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3625938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962720"/>
            <a:ext cx="11653523" cy="932563"/>
          </a:xfrm>
          <a:noFill/>
        </p:spPr>
        <p:txBody>
          <a:bodyPr tIns="91440" bIns="91440" anchor="ctr" anchorCtr="0">
            <a:spAutoFit/>
          </a:bodyPr>
          <a:lstStyle>
            <a:lvl1pPr>
              <a:defRPr sz="5399"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3216544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2968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167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164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17286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70522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9587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278779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38084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73116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05746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84034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2422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38965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13677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087373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020175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2298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71894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759897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409080137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1160247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1" y="2656114"/>
            <a:ext cx="4206970" cy="1682300"/>
          </a:xfrm>
          <a:prstGeom prst="rect">
            <a:avLst/>
          </a:prstGeom>
        </p:spPr>
      </p:pic>
      <p:sp>
        <p:nvSpPr>
          <p:cNvPr id="4" name="TextBox 3"/>
          <p:cNvSpPr txBox="1">
            <a:spLocks noChangeArrowheads="1"/>
          </p:cNvSpPr>
          <p:nvPr userDrawn="1"/>
        </p:nvSpPr>
        <p:spPr bwMode="auto">
          <a:xfrm>
            <a:off x="266127" y="5819470"/>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08" tIns="143369" rIns="179208" bIns="14336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2979" fontAlgn="base">
              <a:lnSpc>
                <a:spcPts val="1173"/>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2979" fontAlgn="base">
              <a:lnSpc>
                <a:spcPts val="1173"/>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2979" fontAlgn="base">
              <a:lnSpc>
                <a:spcPts val="1173"/>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2979" fontAlgn="base">
              <a:lnSpc>
                <a:spcPts val="1173"/>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774726810"/>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08692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2194022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866334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014568201"/>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ustom Layout">
  <p:cSld name="Custom Layout">
    <p:bg>
      <p:bgPr>
        <a:solidFill>
          <a:schemeClr val="dk1"/>
        </a:solidFill>
        <a:effectLst/>
      </p:bgPr>
    </p:bg>
    <p:spTree>
      <p:nvGrpSpPr>
        <p:cNvPr id="1" name="Shape 139"/>
        <p:cNvGrpSpPr/>
        <p:nvPr/>
      </p:nvGrpSpPr>
      <p:grpSpPr>
        <a:xfrm>
          <a:off x="0" y="0"/>
          <a:ext cx="0" cy="0"/>
          <a:chOff x="0" y="0"/>
          <a:chExt cx="0" cy="0"/>
        </a:xfrm>
      </p:grpSpPr>
      <p:pic>
        <p:nvPicPr>
          <p:cNvPr id="140" name="Shape 140"/>
          <p:cNvPicPr preferRelativeResize="0"/>
          <p:nvPr/>
        </p:nvPicPr>
        <p:blipFill rotWithShape="1">
          <a:blip r:embed="rId2">
            <a:alphaModFix/>
          </a:blip>
          <a:srcRect/>
          <a:stretch/>
        </p:blipFill>
        <p:spPr>
          <a:xfrm>
            <a:off x="10559889" y="6453827"/>
            <a:ext cx="1400675" cy="238115"/>
          </a:xfrm>
          <a:prstGeom prst="rect">
            <a:avLst/>
          </a:prstGeom>
          <a:noFill/>
          <a:ln>
            <a:noFill/>
          </a:ln>
        </p:spPr>
      </p:pic>
      <p:sp>
        <p:nvSpPr>
          <p:cNvPr id="141" name="Shape 141"/>
          <p:cNvSpPr txBox="1">
            <a:spLocks noGrp="1"/>
          </p:cNvSpPr>
          <p:nvPr>
            <p:ph type="body" idx="1"/>
          </p:nvPr>
        </p:nvSpPr>
        <p:spPr>
          <a:xfrm>
            <a:off x="484717" y="2119419"/>
            <a:ext cx="11199200" cy="2368000"/>
          </a:xfrm>
          <a:prstGeom prst="rect">
            <a:avLst/>
          </a:prstGeom>
          <a:noFill/>
          <a:ln>
            <a:noFill/>
          </a:ln>
        </p:spPr>
        <p:txBody>
          <a:bodyPr spcFirstLastPara="1" wrap="square" lIns="91425" tIns="91425" rIns="91425" bIns="91425" anchor="ctr" anchorCtr="0"/>
          <a:lstStyle>
            <a:lvl1pPr marL="609585" marR="0" lvl="0" indent="-304792" algn="ctr" rtl="0">
              <a:lnSpc>
                <a:spcPct val="100000"/>
              </a:lnSpc>
              <a:spcBef>
                <a:spcPts val="1440"/>
              </a:spcBef>
              <a:spcAft>
                <a:spcPts val="0"/>
              </a:spcAft>
              <a:buClr>
                <a:schemeClr val="lt1"/>
              </a:buClr>
              <a:buSzPts val="486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L="1219170" marR="0" lvl="1" indent="-304792" algn="l" rtl="0">
              <a:lnSpc>
                <a:spcPct val="100000"/>
              </a:lnSpc>
              <a:spcBef>
                <a:spcPts val="533"/>
              </a:spcBef>
              <a:spcAft>
                <a:spcPts val="0"/>
              </a:spcAft>
              <a:buClr>
                <a:schemeClr val="lt1"/>
              </a:buClr>
              <a:buSzPts val="1800"/>
              <a:buFont typeface="Arial"/>
              <a:buNone/>
              <a:defRPr sz="2667" b="0" i="0" u="none" strike="noStrike" cap="none">
                <a:solidFill>
                  <a:schemeClr val="lt1"/>
                </a:solidFill>
                <a:latin typeface="Source Sans Pro Light"/>
                <a:ea typeface="Source Sans Pro Light"/>
                <a:cs typeface="Source Sans Pro Light"/>
                <a:sym typeface="Source Sans Pro Light"/>
              </a:defRPr>
            </a:lvl2pPr>
            <a:lvl3pPr marL="1828754" marR="0" lvl="2" indent="-304792" algn="l" rtl="0">
              <a:lnSpc>
                <a:spcPct val="100000"/>
              </a:lnSpc>
              <a:spcBef>
                <a:spcPts val="480"/>
              </a:spcBef>
              <a:spcAft>
                <a:spcPts val="0"/>
              </a:spcAft>
              <a:buClr>
                <a:schemeClr val="lt1"/>
              </a:buClr>
              <a:buSzPts val="1440"/>
              <a:buFont typeface="Merriweather Sans"/>
              <a:buNone/>
              <a:defRPr sz="2400" b="0" i="0" u="none" strike="noStrike" cap="none">
                <a:solidFill>
                  <a:schemeClr val="lt1"/>
                </a:solidFill>
                <a:latin typeface="Source Sans Pro Light"/>
                <a:ea typeface="Source Sans Pro Light"/>
                <a:cs typeface="Source Sans Pro Light"/>
                <a:sym typeface="Source Sans Pro Light"/>
              </a:defRPr>
            </a:lvl3pPr>
            <a:lvl4pPr marL="2438339" marR="0" lvl="3" indent="-304792" algn="l" rtl="0">
              <a:lnSpc>
                <a:spcPct val="100000"/>
              </a:lnSpc>
              <a:spcBef>
                <a:spcPts val="480"/>
              </a:spcBef>
              <a:spcAft>
                <a:spcPts val="0"/>
              </a:spcAft>
              <a:buClr>
                <a:schemeClr val="lt1"/>
              </a:buClr>
              <a:buSzPts val="1620"/>
              <a:buFont typeface="Arial"/>
              <a:buNone/>
              <a:defRPr sz="2400" b="0" i="0" u="none" strike="noStrike" cap="none">
                <a:solidFill>
                  <a:schemeClr val="lt1"/>
                </a:solidFill>
                <a:latin typeface="Source Sans Pro Light"/>
                <a:ea typeface="Source Sans Pro Light"/>
                <a:cs typeface="Source Sans Pro Light"/>
                <a:sym typeface="Source Sans Pro Light"/>
              </a:defRPr>
            </a:lvl4pPr>
            <a:lvl5pPr marL="3047924" marR="0" lvl="4" indent="-304792" algn="l" rtl="0">
              <a:lnSpc>
                <a:spcPct val="100000"/>
              </a:lnSpc>
              <a:spcBef>
                <a:spcPts val="427"/>
              </a:spcBef>
              <a:spcAft>
                <a:spcPts val="0"/>
              </a:spcAft>
              <a:buClr>
                <a:schemeClr val="lt1"/>
              </a:buClr>
              <a:buSzPts val="1280"/>
              <a:buFont typeface="Merriweather Sans"/>
              <a:buNone/>
              <a:defRPr sz="2133" b="0" i="0" u="none" strike="noStrike" cap="none">
                <a:solidFill>
                  <a:schemeClr val="lt1"/>
                </a:solidFill>
                <a:latin typeface="Source Sans Pro Light"/>
                <a:ea typeface="Source Sans Pro Light"/>
                <a:cs typeface="Source Sans Pro Light"/>
                <a:sym typeface="Source Sans Pro Light"/>
              </a:defRPr>
            </a:lvl5pPr>
            <a:lvl6pPr marL="3657509" marR="0" lvl="5"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5617652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Black Graphix">
  <p:cSld name="Black Graphix">
    <p:bg>
      <p:bgPr>
        <a:solidFill>
          <a:schemeClr val="dk1"/>
        </a:solidFill>
        <a:effectLst/>
      </p:bgPr>
    </p:bg>
    <p:spTree>
      <p:nvGrpSpPr>
        <p:cNvPr id="1" name="Shape 80"/>
        <p:cNvGrpSpPr/>
        <p:nvPr/>
      </p:nvGrpSpPr>
      <p:grpSpPr>
        <a:xfrm>
          <a:off x="0" y="0"/>
          <a:ext cx="0" cy="0"/>
          <a:chOff x="0" y="0"/>
          <a:chExt cx="0" cy="0"/>
        </a:xfrm>
      </p:grpSpPr>
      <p:sp>
        <p:nvSpPr>
          <p:cNvPr id="81" name="Shape 81"/>
          <p:cNvSpPr txBox="1">
            <a:spLocks noGrp="1"/>
          </p:cNvSpPr>
          <p:nvPr>
            <p:ph type="title"/>
          </p:nvPr>
        </p:nvSpPr>
        <p:spPr>
          <a:xfrm>
            <a:off x="361536" y="219772"/>
            <a:ext cx="11487600" cy="549900"/>
          </a:xfrm>
          <a:prstGeom prst="rect">
            <a:avLst/>
          </a:prstGeom>
          <a:noFill/>
          <a:ln>
            <a:noFill/>
          </a:ln>
        </p:spPr>
        <p:txBody>
          <a:bodyPr spcFirstLastPara="1" wrap="square" lIns="91425" tIns="91425" rIns="91425" bIns="91425" anchor="t" anchorCtr="0"/>
          <a:lstStyle>
            <a:lvl1pPr marR="0" lvl="0" algn="ctr" rtl="0">
              <a:lnSpc>
                <a:spcPct val="90000"/>
              </a:lnSpc>
              <a:spcBef>
                <a:spcPts val="750"/>
              </a:spcBef>
              <a:spcAft>
                <a:spcPts val="0"/>
              </a:spcAft>
              <a:buClr>
                <a:srgbClr val="000000"/>
              </a:buClr>
              <a:buSzPts val="1400"/>
              <a:buFont typeface="Arial"/>
              <a:buNone/>
              <a:defRPr sz="4000" b="1" i="0" u="none" strike="noStrike" cap="none">
                <a:solidFill>
                  <a:schemeClr val="lt1"/>
                </a:solidFill>
                <a:latin typeface="Source Sans Pro SemiBold"/>
                <a:ea typeface="Source Sans Pro SemiBold"/>
                <a:cs typeface="Source Sans Pro SemiBold"/>
                <a:sym typeface="Source Sans Pro SemiBold"/>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82" name="Shape 82"/>
          <p:cNvSpPr txBox="1">
            <a:spLocks noGrp="1"/>
          </p:cNvSpPr>
          <p:nvPr>
            <p:ph type="sldNum" idx="12"/>
          </p:nvPr>
        </p:nvSpPr>
        <p:spPr>
          <a:xfrm>
            <a:off x="11754355" y="6446442"/>
            <a:ext cx="342900" cy="2973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spcBef>
                <a:spcPts val="0"/>
              </a:spcBef>
              <a:spcAft>
                <a:spcPts val="0"/>
              </a:spcAft>
              <a:buNone/>
            </a:pPr>
            <a:fld id="{00000000-1234-1234-1234-123412341234}" type="slidenum">
              <a:rPr lang="en-US"/>
              <a:t>‹#›</a:t>
            </a:fld>
            <a:endParaRPr/>
          </a:p>
        </p:txBody>
      </p:sp>
      <p:pic>
        <p:nvPicPr>
          <p:cNvPr id="83" name="Shape 83"/>
          <p:cNvPicPr preferRelativeResize="0"/>
          <p:nvPr/>
        </p:nvPicPr>
        <p:blipFill rotWithShape="1">
          <a:blip r:embed="rId2">
            <a:alphaModFix/>
          </a:blip>
          <a:srcRect/>
          <a:stretch/>
        </p:blipFill>
        <p:spPr>
          <a:xfrm>
            <a:off x="301752" y="6473952"/>
            <a:ext cx="1965960" cy="192024"/>
          </a:xfrm>
          <a:prstGeom prst="rect">
            <a:avLst/>
          </a:prstGeom>
          <a:noFill/>
          <a:ln>
            <a:noFill/>
          </a:ln>
        </p:spPr>
      </p:pic>
    </p:spTree>
    <p:extLst>
      <p:ext uri="{BB962C8B-B14F-4D97-AF65-F5344CB8AC3E}">
        <p14:creationId xmlns:p14="http://schemas.microsoft.com/office/powerpoint/2010/main" val="2610506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000" b="1" i="0" cap="none" spc="0" baseline="0">
                <a:solidFill>
                  <a:srgbClr val="FFFFFF"/>
                </a:solidFill>
                <a:latin typeface="Segoe UI Semibold" panose="020B0502040204020203" pitchFamily="34" charset="0"/>
                <a:cs typeface="Segoe UI Semibold"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2000" b="1" i="0" spc="0" baseline="0">
                <a:gradFill>
                  <a:gsLst>
                    <a:gs pos="91000">
                      <a:schemeClr val="tx1"/>
                    </a:gs>
                    <a:gs pos="0">
                      <a:schemeClr val="tx1"/>
                    </a:gs>
                  </a:gsLst>
                  <a:lin ang="5400000" scaled="0"/>
                </a:gradFill>
                <a:latin typeface="Segoe UI Semibold" panose="020B0502040204020203" pitchFamily="34" charset="0"/>
                <a:cs typeface="Segoe UI Semibold" panose="020B0502040204020203" pitchFamily="34" charset="0"/>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12954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536076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90459302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6478545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182880" rIns="146304" bIns="91440" anchor="t" anchorCtr="0"/>
          <a:lstStyle>
            <a:lvl1pPr>
              <a:defRPr sz="5294" spc="-98"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48381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b="1" i="0" kern="1200" cap="none" spc="0" baseline="0" dirty="0">
                <a:solidFill>
                  <a:srgbClr val="000000"/>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53744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Gray stage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25724662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569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31703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831696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7339" y="1227277"/>
            <a:ext cx="11653523" cy="1489639"/>
          </a:xfrm>
        </p:spPr>
        <p:txBody>
          <a:bodyPr>
            <a:spAutoFit/>
          </a:bodyPr>
          <a:lstStyle>
            <a:lvl1pPr marL="0" indent="0">
              <a:buNone/>
              <a:defRPr sz="1600" b="0" i="0">
                <a:latin typeface="Segoe UI" panose="020B0502040204020203" pitchFamily="34" charset="0"/>
                <a:cs typeface="Segoe UI" panose="020B0502040204020203" pitchFamily="34" charset="0"/>
              </a:defRPr>
            </a:lvl1pPr>
            <a:lvl2pPr marL="336145" indent="0">
              <a:buNone/>
              <a:defRPr sz="1600" b="0" i="0">
                <a:latin typeface="Segoe UI" panose="020B0502040204020203" pitchFamily="34" charset="0"/>
                <a:cs typeface="Segoe UI" panose="020B0502040204020203" pitchFamily="34" charset="0"/>
              </a:defRPr>
            </a:lvl2pPr>
            <a:lvl3pPr marL="560241" indent="0">
              <a:buNone/>
              <a:defRPr sz="1600" b="0" i="0">
                <a:latin typeface="Segoe UI" panose="020B0502040204020203" pitchFamily="34" charset="0"/>
                <a:cs typeface="Segoe UI" panose="020B0502040204020203" pitchFamily="34" charset="0"/>
              </a:defRPr>
            </a:lvl3pPr>
            <a:lvl4pPr marL="784338" indent="0">
              <a:buNone/>
              <a:defRPr sz="1600" b="0" i="0">
                <a:latin typeface="Segoe UI" panose="020B0502040204020203" pitchFamily="34" charset="0"/>
                <a:cs typeface="Segoe UI" panose="020B0502040204020203" pitchFamily="34" charset="0"/>
              </a:defRPr>
            </a:lvl4pPr>
            <a:lvl5pPr marL="1008434" indent="0">
              <a:buNone/>
              <a:defRPr sz="16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307340" y="314911"/>
            <a:ext cx="11655840" cy="899665"/>
          </a:xfrm>
        </p:spPr>
        <p:txBody>
          <a:bodyPr/>
          <a:lstStyle>
            <a:lvl1pPr>
              <a:defRPr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5509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67309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130430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958496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6110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5" Type="http://schemas.openxmlformats.org/officeDocument/2006/relationships/slideLayout" Target="../slideLayouts/slideLayout183.xml"/><Relationship Id="rId10" Type="http://schemas.openxmlformats.org/officeDocument/2006/relationships/theme" Target="../theme/theme10.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theme" Target="../theme/theme11.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image" Target="../media/image23.png"/><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8" Type="http://schemas.openxmlformats.org/officeDocument/2006/relationships/slideLayout" Target="../slideLayouts/slideLayout195.xml"/><Relationship Id="rId3" Type="http://schemas.openxmlformats.org/officeDocument/2006/relationships/slideLayout" Target="../slideLayouts/slideLayout190.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22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9" Type="http://schemas.openxmlformats.org/officeDocument/2006/relationships/theme" Target="../theme/theme13.xml"/><Relationship Id="rId21" Type="http://schemas.openxmlformats.org/officeDocument/2006/relationships/slideLayout" Target="../slideLayouts/slideLayout247.xml"/><Relationship Id="rId34" Type="http://schemas.openxmlformats.org/officeDocument/2006/relationships/slideLayout" Target="../slideLayouts/slideLayout260.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33" Type="http://schemas.openxmlformats.org/officeDocument/2006/relationships/slideLayout" Target="../slideLayouts/slideLayout259.xml"/><Relationship Id="rId38" Type="http://schemas.openxmlformats.org/officeDocument/2006/relationships/slideLayout" Target="../slideLayouts/slideLayout264.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29" Type="http://schemas.openxmlformats.org/officeDocument/2006/relationships/slideLayout" Target="../slideLayouts/slideLayout255.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32" Type="http://schemas.openxmlformats.org/officeDocument/2006/relationships/slideLayout" Target="../slideLayouts/slideLayout258.xml"/><Relationship Id="rId37" Type="http://schemas.openxmlformats.org/officeDocument/2006/relationships/slideLayout" Target="../slideLayouts/slideLayout263.xml"/><Relationship Id="rId40" Type="http://schemas.openxmlformats.org/officeDocument/2006/relationships/image" Target="../media/image23.png"/><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36" Type="http://schemas.openxmlformats.org/officeDocument/2006/relationships/slideLayout" Target="../slideLayouts/slideLayout262.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31" Type="http://schemas.openxmlformats.org/officeDocument/2006/relationships/slideLayout" Target="../slideLayouts/slideLayout257.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 Id="rId35" Type="http://schemas.openxmlformats.org/officeDocument/2006/relationships/slideLayout" Target="../slideLayouts/slideLayout261.xml"/><Relationship Id="rId8" Type="http://schemas.openxmlformats.org/officeDocument/2006/relationships/slideLayout" Target="../slideLayouts/slideLayout234.xml"/><Relationship Id="rId3" Type="http://schemas.openxmlformats.org/officeDocument/2006/relationships/slideLayout" Target="../slideLayouts/slideLayout22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theme" Target="../theme/theme14.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image" Target="../media/image18.emf"/><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theme" Target="../theme/theme15.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304.xml"/><Relationship Id="rId1" Type="http://schemas.openxmlformats.org/officeDocument/2006/relationships/slideLayout" Target="../slideLayouts/slideLayout303.xml"/><Relationship Id="rId4" Type="http://schemas.openxmlformats.org/officeDocument/2006/relationships/image" Target="../media/image4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image" Target="../media/image46.emf"/><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theme" Target="../theme/theme18.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theme" Target="../theme/theme19.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0" Type="http://schemas.openxmlformats.org/officeDocument/2006/relationships/slideLayout" Target="../slideLayouts/slideLayout362.xml"/><Relationship Id="rId4" Type="http://schemas.openxmlformats.org/officeDocument/2006/relationships/slideLayout" Target="../slideLayouts/slideLayout356.xml"/><Relationship Id="rId9" Type="http://schemas.openxmlformats.org/officeDocument/2006/relationships/slideLayout" Target="../slideLayouts/slideLayout36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image" Target="../media/image18.emf"/><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png"/><Relationship Id="rId5" Type="http://schemas.openxmlformats.org/officeDocument/2006/relationships/slideLayout" Target="../slideLayouts/slideLayout81.xml"/><Relationship Id="rId10" Type="http://schemas.openxmlformats.org/officeDocument/2006/relationships/theme" Target="../theme/theme5.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2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image" Target="../media/image2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theme" Target="../theme/theme8.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image" Target="../media/image2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image" Target="../media/image1.png"/><Relationship Id="rId5" Type="http://schemas.openxmlformats.org/officeDocument/2006/relationships/slideLayout" Target="../slideLayouts/slideLayout174.xml"/><Relationship Id="rId10" Type="http://schemas.openxmlformats.org/officeDocument/2006/relationships/theme" Target="../theme/theme9.xml"/><Relationship Id="rId4" Type="http://schemas.openxmlformats.org/officeDocument/2006/relationships/slideLayout" Target="../slideLayouts/slideLayout173.xml"/><Relationship Id="rId9"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23361870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973" r:id="rId10"/>
    <p:sldLayoutId id="2147483974" r:id="rId11"/>
    <p:sldLayoutId id="2147483975" r:id="rId12"/>
    <p:sldLayoutId id="2147483976" r:id="rId13"/>
    <p:sldLayoutId id="2147483977" r:id="rId14"/>
  </p:sldLayoutIdLst>
  <p:transition>
    <p:fade/>
  </p:transition>
  <p:txStyles>
    <p:title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72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14676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978" r:id="rId4"/>
    <p:sldLayoutId id="2147483979" r:id="rId5"/>
    <p:sldLayoutId id="2147483980" r:id="rId6"/>
    <p:sldLayoutId id="2147483981" r:id="rId7"/>
    <p:sldLayoutId id="2147483982" r:id="rId8"/>
    <p:sldLayoutId id="2147483983" r:id="rId9"/>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7359858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 id="2147483869" r:id="rId28"/>
    <p:sldLayoutId id="2147483870" r:id="rId29"/>
    <p:sldLayoutId id="2147483871" r:id="rId30"/>
    <p:sldLayoutId id="2147483872" r:id="rId31"/>
    <p:sldLayoutId id="2147483873" r:id="rId32"/>
    <p:sldLayoutId id="2147483874" r:id="rId33"/>
    <p:sldLayoutId id="2147483875" r:id="rId34"/>
    <p:sldLayoutId id="2147483876" r:id="rId35"/>
    <p:sldLayoutId id="2147483877" r:id="rId36"/>
    <p:sldLayoutId id="2147483878" r:id="rId37"/>
    <p:sldLayoutId id="2147483879"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AEE7699-FBD8-4BE1-935F-66DCEFBEBD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CD6FB6-E219-4931-B3EB-9F1FCBB7131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FBF187-B202-452F-920B-691C3FB74C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8A6A36-0EA6-4300-87A2-FBF53E97AE38}" type="datetimeFigureOut">
              <a:rPr lang="en-US" smtClean="0"/>
              <a:t>12/2/19</a:t>
            </a:fld>
            <a:endParaRPr lang="en-US"/>
          </a:p>
        </p:txBody>
      </p:sp>
      <p:sp>
        <p:nvSpPr>
          <p:cNvPr id="5" name="Footer Placeholder 4">
            <a:extLst>
              <a:ext uri="{FF2B5EF4-FFF2-40B4-BE49-F238E27FC236}">
                <a16:creationId xmlns:a16="http://schemas.microsoft.com/office/drawing/2014/main" id="{255EA877-B730-40CC-9302-3953BC8C8B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CE5F46-EBE8-403B-9A57-2FD2B95AA1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13B029-895C-4E84-AB4B-DB47A666BF57}" type="slidenum">
              <a:rPr lang="en-US" smtClean="0"/>
              <a:t>‹#›</a:t>
            </a:fld>
            <a:endParaRPr lang="en-US"/>
          </a:p>
        </p:txBody>
      </p:sp>
    </p:spTree>
    <p:extLst>
      <p:ext uri="{BB962C8B-B14F-4D97-AF65-F5344CB8AC3E}">
        <p14:creationId xmlns:p14="http://schemas.microsoft.com/office/powerpoint/2010/main" val="1339651215"/>
      </p:ext>
    </p:extLst>
  </p:cSld>
  <p:clrMap bg1="lt1" tx1="dk1" bg2="lt2" tx2="dk2" accent1="accent1" accent2="accent2" accent3="accent3" accent4="accent4" accent5="accent5" accent6="accent6" hlink="hlink" folHlink="folHlink"/>
  <p:sldLayoutIdLst>
    <p:sldLayoutId id="214748388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3407267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978196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9" r:id="rId13"/>
    <p:sldLayoutId id="2147483940" r:id="rId14"/>
    <p:sldLayoutId id="2147483941" r:id="rId15"/>
    <p:sldLayoutId id="2147483942"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01474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425599"/>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a:xfrm>
            <a:off x="609600" y="6519672"/>
            <a:ext cx="886507" cy="201168"/>
          </a:xfrm>
          <a:prstGeom prst="rect">
            <a:avLst/>
          </a:prstGeom>
          <a:noFill/>
        </p:spPr>
        <p:txBody>
          <a:bodyPr wrap="square" lIns="0" tIns="0" rIns="0" bIns="0" rtlCol="0" anchor="t" anchorCtr="0">
            <a:noAutofit/>
          </a:bodyPr>
          <a:lstStyle/>
          <a:p>
            <a:r>
              <a:rPr lang="en-GB" sz="825">
                <a:solidFill>
                  <a:schemeClr val="bg1"/>
                </a:solidFill>
                <a:latin typeface="+mn-lt"/>
              </a:rPr>
              <a:t>Page </a:t>
            </a:r>
            <a:fld id="{9AE4D82F-B047-469B-AC52-A46321747EAF}" type="slidenum">
              <a:rPr lang="en-GB" sz="825" smtClean="0">
                <a:solidFill>
                  <a:schemeClr val="bg1"/>
                </a:solidFill>
                <a:latin typeface="+mn-lt"/>
              </a:rPr>
              <a:pPr/>
              <a:t>‹#›</a:t>
            </a:fld>
            <a:endParaRPr lang="en-GB" sz="825">
              <a:solidFill>
                <a:schemeClr val="bg1"/>
              </a:solidFill>
              <a:latin typeface="+mn-lt"/>
            </a:endParaRPr>
          </a:p>
        </p:txBody>
      </p:sp>
      <p:sp>
        <p:nvSpPr>
          <p:cNvPr id="8" name="TextBox 7"/>
          <p:cNvSpPr txBox="1"/>
          <p:nvPr userDrawn="1"/>
        </p:nvSpPr>
        <p:spPr>
          <a:xfrm>
            <a:off x="1503215" y="6519672"/>
            <a:ext cx="1248712" cy="201168"/>
          </a:xfrm>
          <a:prstGeom prst="rect">
            <a:avLst/>
          </a:prstGeom>
          <a:noFill/>
        </p:spPr>
        <p:txBody>
          <a:bodyPr wrap="square" lIns="0" tIns="0" rIns="0" bIns="0" rtlCol="0" anchor="t" anchorCtr="0">
            <a:noAutofit/>
          </a:bodyPr>
          <a:lstStyle/>
          <a:p>
            <a:fld id="{CB30F0D7-F92D-4FA1-8A6B-68EDAF989827}" type="datetime4">
              <a:rPr lang="en-GB" sz="825" smtClean="0">
                <a:solidFill>
                  <a:schemeClr val="bg1"/>
                </a:solidFill>
                <a:latin typeface="+mn-lt"/>
              </a:rPr>
              <a:t>02 December 2019</a:t>
            </a:fld>
            <a:endParaRPr lang="en-GB" sz="825">
              <a:solidFill>
                <a:schemeClr val="bg1"/>
              </a:solidFill>
              <a:latin typeface="+mn-lt"/>
            </a:endParaRPr>
          </a:p>
        </p:txBody>
      </p:sp>
      <p:sp>
        <p:nvSpPr>
          <p:cNvPr id="9" name="TextBox 8"/>
          <p:cNvSpPr txBox="1"/>
          <p:nvPr userDrawn="1"/>
        </p:nvSpPr>
        <p:spPr>
          <a:xfrm>
            <a:off x="3457997" y="6519672"/>
            <a:ext cx="3305040" cy="201168"/>
          </a:xfrm>
          <a:prstGeom prst="rect">
            <a:avLst/>
          </a:prstGeom>
          <a:noFill/>
        </p:spPr>
        <p:txBody>
          <a:bodyPr wrap="square" lIns="0" tIns="0" rIns="0" bIns="0" rtlCol="0" anchor="t" anchorCtr="0">
            <a:noAutofit/>
          </a:bodyPr>
          <a:lstStyle/>
          <a:p>
            <a:r>
              <a:rPr lang="fr-FR" sz="825">
                <a:solidFill>
                  <a:schemeClr val="bg1"/>
                </a:solidFill>
                <a:latin typeface="+mn-lt"/>
              </a:rPr>
              <a:t>EY MS Alliance – Intelligent Automation </a:t>
            </a:r>
          </a:p>
        </p:txBody>
      </p:sp>
      <p:sp>
        <p:nvSpPr>
          <p:cNvPr id="14" name="AutoShape 3"/>
          <p:cNvSpPr>
            <a:spLocks noChangeAspect="1" noChangeArrowheads="1" noTextEdit="1"/>
          </p:cNvSpPr>
          <p:nvPr userDrawn="1"/>
        </p:nvSpPr>
        <p:spPr bwMode="auto">
          <a:xfrm>
            <a:off x="11046885" y="6327776"/>
            <a:ext cx="535516" cy="41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5" name="Freeform 5"/>
          <p:cNvSpPr>
            <a:spLocks/>
          </p:cNvSpPr>
          <p:nvPr userDrawn="1"/>
        </p:nvSpPr>
        <p:spPr bwMode="auto">
          <a:xfrm>
            <a:off x="11051117" y="6535738"/>
            <a:ext cx="218016" cy="203200"/>
          </a:xfrm>
          <a:custGeom>
            <a:avLst/>
            <a:gdLst>
              <a:gd name="T0" fmla="*/ 346 w 921"/>
              <a:gd name="T1" fmla="*/ 697 h 1153"/>
              <a:gd name="T2" fmla="*/ 762 w 921"/>
              <a:gd name="T3" fmla="*/ 697 h 1153"/>
              <a:gd name="T4" fmla="*/ 762 w 921"/>
              <a:gd name="T5" fmla="*/ 455 h 1153"/>
              <a:gd name="T6" fmla="*/ 346 w 921"/>
              <a:gd name="T7" fmla="*/ 455 h 1153"/>
              <a:gd name="T8" fmla="*/ 346 w 921"/>
              <a:gd name="T9" fmla="*/ 265 h 1153"/>
              <a:gd name="T10" fmla="*/ 806 w 921"/>
              <a:gd name="T11" fmla="*/ 265 h 1153"/>
              <a:gd name="T12" fmla="*/ 653 w 921"/>
              <a:gd name="T13" fmla="*/ 0 h 1153"/>
              <a:gd name="T14" fmla="*/ 0 w 921"/>
              <a:gd name="T15" fmla="*/ 0 h 1153"/>
              <a:gd name="T16" fmla="*/ 0 w 921"/>
              <a:gd name="T17" fmla="*/ 1153 h 1153"/>
              <a:gd name="T18" fmla="*/ 921 w 921"/>
              <a:gd name="T19" fmla="*/ 1153 h 1153"/>
              <a:gd name="T20" fmla="*/ 921 w 921"/>
              <a:gd name="T21" fmla="*/ 888 h 1153"/>
              <a:gd name="T22" fmla="*/ 346 w 921"/>
              <a:gd name="T23" fmla="*/ 888 h 1153"/>
              <a:gd name="T24" fmla="*/ 346 w 921"/>
              <a:gd name="T25" fmla="*/ 697 h 1153"/>
              <a:gd name="T26" fmla="*/ 346 w 921"/>
              <a:gd name="T27" fmla="*/ 69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1" h="1153">
                <a:moveTo>
                  <a:pt x="346" y="697"/>
                </a:moveTo>
                <a:lnTo>
                  <a:pt x="762" y="697"/>
                </a:lnTo>
                <a:lnTo>
                  <a:pt x="762" y="455"/>
                </a:lnTo>
                <a:lnTo>
                  <a:pt x="346" y="455"/>
                </a:lnTo>
                <a:lnTo>
                  <a:pt x="346" y="265"/>
                </a:lnTo>
                <a:lnTo>
                  <a:pt x="806" y="265"/>
                </a:lnTo>
                <a:lnTo>
                  <a:pt x="653" y="0"/>
                </a:lnTo>
                <a:lnTo>
                  <a:pt x="0" y="0"/>
                </a:lnTo>
                <a:lnTo>
                  <a:pt x="0" y="1153"/>
                </a:lnTo>
                <a:lnTo>
                  <a:pt x="921" y="1153"/>
                </a:lnTo>
                <a:lnTo>
                  <a:pt x="921" y="888"/>
                </a:lnTo>
                <a:lnTo>
                  <a:pt x="346" y="888"/>
                </a:lnTo>
                <a:lnTo>
                  <a:pt x="346" y="697"/>
                </a:lnTo>
                <a:lnTo>
                  <a:pt x="346" y="6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6" name="Freeform 6"/>
          <p:cNvSpPr>
            <a:spLocks/>
          </p:cNvSpPr>
          <p:nvPr userDrawn="1"/>
        </p:nvSpPr>
        <p:spPr bwMode="auto">
          <a:xfrm>
            <a:off x="11231034" y="6535738"/>
            <a:ext cx="270933" cy="203200"/>
          </a:xfrm>
          <a:custGeom>
            <a:avLst/>
            <a:gdLst>
              <a:gd name="T0" fmla="*/ 773 w 1150"/>
              <a:gd name="T1" fmla="*/ 0 h 1153"/>
              <a:gd name="T2" fmla="*/ 577 w 1150"/>
              <a:gd name="T3" fmla="*/ 376 h 1153"/>
              <a:gd name="T4" fmla="*/ 382 w 1150"/>
              <a:gd name="T5" fmla="*/ 0 h 1153"/>
              <a:gd name="T6" fmla="*/ 0 w 1150"/>
              <a:gd name="T7" fmla="*/ 0 h 1153"/>
              <a:gd name="T8" fmla="*/ 402 w 1150"/>
              <a:gd name="T9" fmla="*/ 697 h 1153"/>
              <a:gd name="T10" fmla="*/ 402 w 1150"/>
              <a:gd name="T11" fmla="*/ 1153 h 1153"/>
              <a:gd name="T12" fmla="*/ 746 w 1150"/>
              <a:gd name="T13" fmla="*/ 1153 h 1153"/>
              <a:gd name="T14" fmla="*/ 746 w 1150"/>
              <a:gd name="T15" fmla="*/ 697 h 1153"/>
              <a:gd name="T16" fmla="*/ 1150 w 1150"/>
              <a:gd name="T17" fmla="*/ 0 h 1153"/>
              <a:gd name="T18" fmla="*/ 773 w 1150"/>
              <a:gd name="T19" fmla="*/ 0 h 1153"/>
              <a:gd name="T20" fmla="*/ 773 w 1150"/>
              <a:gd name="T21" fmla="*/ 0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0" h="1153">
                <a:moveTo>
                  <a:pt x="773" y="0"/>
                </a:moveTo>
                <a:lnTo>
                  <a:pt x="577" y="376"/>
                </a:lnTo>
                <a:lnTo>
                  <a:pt x="382" y="0"/>
                </a:lnTo>
                <a:lnTo>
                  <a:pt x="0" y="0"/>
                </a:lnTo>
                <a:lnTo>
                  <a:pt x="402" y="697"/>
                </a:lnTo>
                <a:lnTo>
                  <a:pt x="402" y="1153"/>
                </a:lnTo>
                <a:lnTo>
                  <a:pt x="746" y="1153"/>
                </a:lnTo>
                <a:lnTo>
                  <a:pt x="746" y="697"/>
                </a:lnTo>
                <a:lnTo>
                  <a:pt x="1150" y="0"/>
                </a:lnTo>
                <a:lnTo>
                  <a:pt x="773" y="0"/>
                </a:lnTo>
                <a:lnTo>
                  <a:pt x="7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7" name="Freeform 7"/>
          <p:cNvSpPr>
            <a:spLocks/>
          </p:cNvSpPr>
          <p:nvPr userDrawn="1"/>
        </p:nvSpPr>
        <p:spPr bwMode="auto">
          <a:xfrm>
            <a:off x="11046885" y="6327775"/>
            <a:ext cx="535516" cy="146050"/>
          </a:xfrm>
          <a:custGeom>
            <a:avLst/>
            <a:gdLst>
              <a:gd name="T0" fmla="*/ 2277 w 2277"/>
              <a:gd name="T1" fmla="*/ 0 h 832"/>
              <a:gd name="T2" fmla="*/ 0 w 2277"/>
              <a:gd name="T3" fmla="*/ 832 h 832"/>
              <a:gd name="T4" fmla="*/ 2277 w 2277"/>
              <a:gd name="T5" fmla="*/ 429 h 832"/>
              <a:gd name="T6" fmla="*/ 2277 w 2277"/>
              <a:gd name="T7" fmla="*/ 0 h 832"/>
              <a:gd name="T8" fmla="*/ 2277 w 2277"/>
              <a:gd name="T9" fmla="*/ 0 h 832"/>
            </a:gdLst>
            <a:ahLst/>
            <a:cxnLst>
              <a:cxn ang="0">
                <a:pos x="T0" y="T1"/>
              </a:cxn>
              <a:cxn ang="0">
                <a:pos x="T2" y="T3"/>
              </a:cxn>
              <a:cxn ang="0">
                <a:pos x="T4" y="T5"/>
              </a:cxn>
              <a:cxn ang="0">
                <a:pos x="T6" y="T7"/>
              </a:cxn>
              <a:cxn ang="0">
                <a:pos x="T8" y="T9"/>
              </a:cxn>
            </a:cxnLst>
            <a:rect l="0" t="0" r="r" b="b"/>
            <a:pathLst>
              <a:path w="2277" h="832">
                <a:moveTo>
                  <a:pt x="2277" y="0"/>
                </a:moveTo>
                <a:lnTo>
                  <a:pt x="0" y="832"/>
                </a:lnTo>
                <a:lnTo>
                  <a:pt x="2277" y="429"/>
                </a:lnTo>
                <a:lnTo>
                  <a:pt x="2277" y="0"/>
                </a:lnTo>
                <a:lnTo>
                  <a:pt x="2277"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800"/>
          </a:p>
        </p:txBody>
      </p:sp>
      <p:pic>
        <p:nvPicPr>
          <p:cNvPr id="18" name="Picture 17" descr="MSFT_logo_rgb_C-Wht.png"/>
          <p:cNvPicPr>
            <a:picLocks noChangeAspect="1"/>
          </p:cNvPicPr>
          <p:nvPr userDrawn="1"/>
        </p:nvPicPr>
        <p:blipFill>
          <a:blip r:embed="rId4" cstate="print"/>
          <a:stretch>
            <a:fillRect/>
          </a:stretch>
        </p:blipFill>
        <p:spPr>
          <a:xfrm>
            <a:off x="9398001" y="6410181"/>
            <a:ext cx="1646767" cy="454315"/>
          </a:xfrm>
          <a:prstGeom prst="rect">
            <a:avLst/>
          </a:prstGeom>
        </p:spPr>
      </p:pic>
    </p:spTree>
    <p:extLst>
      <p:ext uri="{BB962C8B-B14F-4D97-AF65-F5344CB8AC3E}">
        <p14:creationId xmlns:p14="http://schemas.microsoft.com/office/powerpoint/2010/main" val="540605499"/>
      </p:ext>
    </p:extLst>
  </p:cSld>
  <p:clrMap bg1="lt1" tx1="dk1" bg2="lt2" tx2="dk2" accent1="accent1" accent2="accent2" accent3="accent3" accent4="accent4" accent5="accent5" accent6="accent6" hlink="hlink" folHlink="folHlink"/>
  <p:sldLayoutIdLst>
    <p:sldLayoutId id="2147483967" r:id="rId1"/>
    <p:sldLayoutId id="2147483968" r:id="rId2"/>
  </p:sldLayoutIdLst>
  <p:hf sldNum="0" hdr="0"/>
  <p:txStyles>
    <p:titleStyle>
      <a:lvl1pPr algn="l" defTabSz="685434" rtl="0" eaLnBrk="1" latinLnBrk="0" hangingPunct="1">
        <a:lnSpc>
          <a:spcPct val="100000"/>
        </a:lnSpc>
        <a:spcBef>
          <a:spcPct val="0"/>
        </a:spcBef>
        <a:buNone/>
        <a:defRPr sz="2200" b="1" kern="1200">
          <a:solidFill>
            <a:schemeClr val="bg1"/>
          </a:solidFill>
          <a:latin typeface="+mn-lt"/>
          <a:ea typeface="+mj-ea"/>
          <a:cs typeface="Arial" pitchFamily="34" charset="0"/>
        </a:defRPr>
      </a:lvl1pPr>
    </p:titleStyle>
    <p:bodyStyle>
      <a:lvl1pPr marL="267319" indent="-267319" algn="l" defTabSz="685434"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1pPr>
      <a:lvl2pPr marL="534639" indent="-267319" algn="l" defTabSz="685434" rtl="0" eaLnBrk="1" latinLnBrk="0" hangingPunct="1">
        <a:spcBef>
          <a:spcPct val="20000"/>
        </a:spcBef>
        <a:buClr>
          <a:schemeClr val="accent2"/>
        </a:buClr>
        <a:buSzPct val="70000"/>
        <a:buFont typeface="Arial" pitchFamily="34" charset="0"/>
        <a:buChar char="►"/>
        <a:defRPr sz="1499" kern="1200">
          <a:solidFill>
            <a:schemeClr val="bg1"/>
          </a:solidFill>
          <a:latin typeface="+mn-lt"/>
          <a:ea typeface="+mn-ea"/>
          <a:cs typeface="+mn-cs"/>
        </a:defRPr>
      </a:lvl2pPr>
      <a:lvl3pPr marL="801958" indent="-267319" algn="l" defTabSz="685434" rtl="0" eaLnBrk="1" latinLnBrk="0" hangingPunct="1">
        <a:spcBef>
          <a:spcPct val="20000"/>
        </a:spcBef>
        <a:buClr>
          <a:schemeClr val="accent2"/>
        </a:buClr>
        <a:buSzPct val="70000"/>
        <a:buFont typeface="Arial" pitchFamily="34" charset="0"/>
        <a:buChar char="►"/>
        <a:defRPr sz="1349" kern="1200">
          <a:solidFill>
            <a:schemeClr val="bg1"/>
          </a:solidFill>
          <a:latin typeface="+mn-lt"/>
          <a:ea typeface="+mn-ea"/>
          <a:cs typeface="+mn-cs"/>
        </a:defRPr>
      </a:lvl3pPr>
      <a:lvl4pPr marL="1069277" indent="-267319" algn="l" defTabSz="685434"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4pPr>
      <a:lvl5pPr marL="1336597" indent="-267319" algn="l" defTabSz="685434"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7">
          <p15:clr>
            <a:srgbClr val="F26B43"/>
          </p15:clr>
        </p15:guide>
        <p15:guide id="2" orient="horz" pos="125">
          <p15:clr>
            <a:srgbClr val="F26B43"/>
          </p15:clr>
        </p15:guide>
        <p15:guide id="3" orient="horz" pos="896">
          <p15:clr>
            <a:srgbClr val="F26B43"/>
          </p15:clr>
        </p15:guide>
        <p15:guide id="4" orient="horz" pos="3858">
          <p15:clr>
            <a:srgbClr val="F26B43"/>
          </p15:clr>
        </p15:guide>
        <p15:guide id="5" pos="381">
          <p15:clr>
            <a:srgbClr val="F26B43"/>
          </p15:clr>
        </p15:guide>
        <p15:guide id="6" pos="7308">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50362910"/>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04004350"/>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50" r:id="rId27"/>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B322BA-EDD7-4A3A-8C98-935F9A9FF87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DA390C-79DB-4490-81F3-C229594243A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12032-0B56-49C2-9DB2-71719CF143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CAEC7B-CECC-4944-A2E3-609A5934BE7A}" type="datetimeFigureOut">
              <a:rPr lang="en-US" smtClean="0"/>
              <a:t>12/2/19</a:t>
            </a:fld>
            <a:endParaRPr lang="en-US"/>
          </a:p>
        </p:txBody>
      </p:sp>
      <p:sp>
        <p:nvSpPr>
          <p:cNvPr id="5" name="Footer Placeholder 4">
            <a:extLst>
              <a:ext uri="{FF2B5EF4-FFF2-40B4-BE49-F238E27FC236}">
                <a16:creationId xmlns:a16="http://schemas.microsoft.com/office/drawing/2014/main" id="{5F3A5FB1-E775-4ACE-97D6-896F67EF66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4B5638C-885E-4749-BFD0-D25B8EE48AB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1FF8C2-23B0-4AEF-B9C8-4ECD0BCB51F6}" type="slidenum">
              <a:rPr lang="en-US" smtClean="0"/>
              <a:t>‹#›</a:t>
            </a:fld>
            <a:endParaRPr lang="en-US"/>
          </a:p>
        </p:txBody>
      </p:sp>
    </p:spTree>
    <p:extLst>
      <p:ext uri="{BB962C8B-B14F-4D97-AF65-F5344CB8AC3E}">
        <p14:creationId xmlns:p14="http://schemas.microsoft.com/office/powerpoint/2010/main" val="298042072"/>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47200446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969" r:id="rId11"/>
    <p:sldLayoutId id="2147483970" r:id="rId12"/>
    <p:sldLayoutId id="2147483971" r:id="rId13"/>
    <p:sldLayoutId id="2147483972" r:id="rId14"/>
  </p:sldLayoutIdLst>
  <p:transition>
    <p:fade/>
  </p:transition>
  <p:txStyles>
    <p:title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72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952108256"/>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922" r:id="rId25"/>
    <p:sldLayoutId id="2147483923" r:id="rId26"/>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300853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60367235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851593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Lst>
  <p:transition>
    <p:fade/>
  </p:transition>
  <p:txStyles>
    <p:titleStyle>
      <a:lvl1pPr algn="l" defTabSz="914367"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392">
          <p15:clr>
            <a:srgbClr val="C35EA4"/>
          </p15:clr>
        </p15:guide>
        <p15:guide id="25" orient="horz" pos="288">
          <p15:clr>
            <a:srgbClr val="C35EA4"/>
          </p15:clr>
        </p15:guide>
        <p15:guide id="26" orient="horz" pos="4032">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11428933"/>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Lst>
  <p:transition>
    <p:fade/>
  </p:transition>
  <p:txStyles>
    <p:titleStyle>
      <a:lvl1pPr algn="l" defTabSz="914367"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392">
          <p15:clr>
            <a:srgbClr val="C35EA4"/>
          </p15:clr>
        </p15:guide>
        <p15:guide id="25" orient="horz" pos="288">
          <p15:clr>
            <a:srgbClr val="C35EA4"/>
          </p15:clr>
        </p15:guide>
        <p15:guide id="26" orient="horz" pos="4032">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40733696"/>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Lst>
  <p:transition>
    <p:fade/>
  </p:transition>
  <p:txStyles>
    <p:titleStyle>
      <a:lvl1pPr algn="l" defTabSz="914367"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392">
          <p15:clr>
            <a:srgbClr val="C35EA4"/>
          </p15:clr>
        </p15:guide>
        <p15:guide id="25" orient="horz" pos="288">
          <p15:clr>
            <a:srgbClr val="C35EA4"/>
          </p15:clr>
        </p15:guide>
        <p15:guide id="26" orient="horz" pos="4032">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629561423"/>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txStyles>
    <p:title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72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4.xml"/></Relationships>
</file>

<file path=ppt/slides/_rels/slide17.xml.rels><?xml version="1.0" encoding="UTF-8" standalone="yes"?>
<Relationships xmlns="http://schemas.openxmlformats.org/package/2006/relationships"><Relationship Id="rId8" Type="http://schemas.openxmlformats.org/officeDocument/2006/relationships/image" Target="../media/image71.jpg"/><Relationship Id="rId13" Type="http://schemas.openxmlformats.org/officeDocument/2006/relationships/image" Target="../media/image76.png"/><Relationship Id="rId18" Type="http://schemas.openxmlformats.org/officeDocument/2006/relationships/image" Target="../media/image81.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17" Type="http://schemas.openxmlformats.org/officeDocument/2006/relationships/image" Target="../media/image80.jpeg"/><Relationship Id="rId2" Type="http://schemas.openxmlformats.org/officeDocument/2006/relationships/notesSlide" Target="../notesSlides/notesSlide11.xml"/><Relationship Id="rId16" Type="http://schemas.openxmlformats.org/officeDocument/2006/relationships/image" Target="../media/image79.png"/><Relationship Id="rId20" Type="http://schemas.openxmlformats.org/officeDocument/2006/relationships/image" Target="../media/image83.png"/><Relationship Id="rId1" Type="http://schemas.openxmlformats.org/officeDocument/2006/relationships/slideLayout" Target="../slideLayouts/slideLayout171.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jpg"/><Relationship Id="rId19" Type="http://schemas.openxmlformats.org/officeDocument/2006/relationships/image" Target="../media/image82.jpe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svg"/></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185.xml"/></Relationships>
</file>

<file path=ppt/slides/_rels/slide1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8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3.xml"/></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185.xml"/></Relationships>
</file>

<file path=ppt/slides/_rels/slide21.xml.rels><?xml version="1.0" encoding="UTF-8" standalone="yes"?>
<Relationships xmlns="http://schemas.openxmlformats.org/package/2006/relationships"><Relationship Id="rId3" Type="http://schemas.openxmlformats.org/officeDocument/2006/relationships/hyperlink" Target="https://www.youtube.com/watch?v=8i4snWofThk&amp;list=PLLasX02E8BPB6opnoui29nWOlaPGV27gZ&amp;index=2" TargetMode="External"/><Relationship Id="rId2" Type="http://schemas.openxmlformats.org/officeDocument/2006/relationships/notesSlide" Target="../notesSlides/notesSlide14.xml"/><Relationship Id="rId1" Type="http://schemas.openxmlformats.org/officeDocument/2006/relationships/slideLayout" Target="../slideLayouts/slideLayout185.xml"/><Relationship Id="rId4" Type="http://schemas.openxmlformats.org/officeDocument/2006/relationships/image" Target="../media/image87.png"/></Relationships>
</file>

<file path=ppt/slides/_rels/slide22.xml.rels><?xml version="1.0" encoding="UTF-8" standalone="yes"?>
<Relationships xmlns="http://schemas.openxmlformats.org/package/2006/relationships"><Relationship Id="rId3" Type="http://schemas.openxmlformats.org/officeDocument/2006/relationships/hyperlink" Target="https://youtu.be/pAkY3CzT8dE" TargetMode="External"/><Relationship Id="rId2" Type="http://schemas.openxmlformats.org/officeDocument/2006/relationships/notesSlide" Target="../notesSlides/notesSlide15.xml"/><Relationship Id="rId1" Type="http://schemas.openxmlformats.org/officeDocument/2006/relationships/slideLayout" Target="../slideLayouts/slideLayout185.xml"/><Relationship Id="rId4" Type="http://schemas.openxmlformats.org/officeDocument/2006/relationships/image" Target="../media/image88.png"/></Relationships>
</file>

<file path=ppt/slides/_rels/slide23.xml.rels><?xml version="1.0" encoding="UTF-8" standalone="yes"?>
<Relationships xmlns="http://schemas.openxmlformats.org/package/2006/relationships"><Relationship Id="rId3" Type="http://schemas.openxmlformats.org/officeDocument/2006/relationships/hyperlink" Target="http://wolterskluwereap.azurewebsites.net/" TargetMode="External"/><Relationship Id="rId2" Type="http://schemas.openxmlformats.org/officeDocument/2006/relationships/notesSlide" Target="../notesSlides/notesSlide16.xml"/><Relationship Id="rId1" Type="http://schemas.openxmlformats.org/officeDocument/2006/relationships/slideLayout" Target="../slideLayouts/slideLayout185.xml"/><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3" Type="http://schemas.openxmlformats.org/officeDocument/2006/relationships/hyperlink" Target="https://customers.microsoft.com/en-us/search?sq=%22Azure%20Search%20(AI)%22&amp;ff=story_product_categories%26%3eArtificial%20Intelligence&amp;p=2&amp;so=story_publish_date%20desc" TargetMode="External"/><Relationship Id="rId2" Type="http://schemas.openxmlformats.org/officeDocument/2006/relationships/image" Target="../media/image90.JPG"/><Relationship Id="rId1" Type="http://schemas.openxmlformats.org/officeDocument/2006/relationships/slideLayout" Target="../slideLayouts/slideLayout14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4.xml"/></Relationships>
</file>

<file path=ppt/slides/_rels/slide26.xml.rels><?xml version="1.0" encoding="UTF-8" standalone="yes"?>
<Relationships xmlns="http://schemas.openxmlformats.org/package/2006/relationships"><Relationship Id="rId3" Type="http://schemas.openxmlformats.org/officeDocument/2006/relationships/hyperlink" Target="https://microsoft.sharepoint.com/teams/AIGTMPortal/Shared%20Documents/Account%20Grid%20With%20AI%20Targeting.xlsm?web=1" TargetMode="External"/><Relationship Id="rId2" Type="http://schemas.openxmlformats.org/officeDocument/2006/relationships/notesSlide" Target="../notesSlides/notesSlide18.xml"/><Relationship Id="rId1" Type="http://schemas.openxmlformats.org/officeDocument/2006/relationships/slideLayout" Target="../slideLayouts/slideLayout200.xml"/><Relationship Id="rId4" Type="http://schemas.openxmlformats.org/officeDocument/2006/relationships/hyperlink" Target="http://aka.ms/AIMegaMap"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6.xml"/></Relationships>
</file>

<file path=ppt/slides/_rels/slide3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3.xml"/><Relationship Id="rId1" Type="http://schemas.openxmlformats.org/officeDocument/2006/relationships/slideLayout" Target="../slideLayouts/slideLayout331.xml"/><Relationship Id="rId4" Type="http://schemas.openxmlformats.org/officeDocument/2006/relationships/image" Target="../media/image92.png"/></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4.xml"/><Relationship Id="rId1" Type="http://schemas.openxmlformats.org/officeDocument/2006/relationships/slideLayout" Target="../slideLayouts/slideLayout331.xml"/><Relationship Id="rId4" Type="http://schemas.openxmlformats.org/officeDocument/2006/relationships/image" Target="../media/image94.png"/></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331.xml"/><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6.xml"/><Relationship Id="rId1" Type="http://schemas.openxmlformats.org/officeDocument/2006/relationships/slideLayout" Target="../slideLayouts/slideLayout331.xml"/><Relationship Id="rId4" Type="http://schemas.openxmlformats.org/officeDocument/2006/relationships/image" Target="../media/image98.png"/></Relationships>
</file>

<file path=ppt/slides/_rels/slide35.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emf"/><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352.xml"/><Relationship Id="rId6" Type="http://schemas.openxmlformats.org/officeDocument/2006/relationships/image" Target="../media/image103.emf"/><Relationship Id="rId5" Type="http://schemas.openxmlformats.org/officeDocument/2006/relationships/image" Target="../media/image102.emf"/><Relationship Id="rId10" Type="http://schemas.openxmlformats.org/officeDocument/2006/relationships/image" Target="../media/image107.png"/><Relationship Id="rId4" Type="http://schemas.openxmlformats.org/officeDocument/2006/relationships/image" Target="../media/image101.emf"/><Relationship Id="rId9" Type="http://schemas.openxmlformats.org/officeDocument/2006/relationships/image" Target="../media/image106.png"/></Relationships>
</file>

<file path=ppt/slides/_rels/slide3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331.xml"/></Relationships>
</file>

<file path=ppt/slides/_rels/slide37.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8.xml"/><Relationship Id="rId1" Type="http://schemas.openxmlformats.org/officeDocument/2006/relationships/slideLayout" Target="../slideLayouts/slideLayout331.xml"/><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9.xml"/><Relationship Id="rId1" Type="http://schemas.openxmlformats.org/officeDocument/2006/relationships/slideLayout" Target="../slideLayouts/slideLayout331.xml"/></Relationships>
</file>

<file path=ppt/slides/_rels/slide39.xml.rels><?xml version="1.0" encoding="UTF-8" standalone="yes"?>
<Relationships xmlns="http://schemas.openxmlformats.org/package/2006/relationships"><Relationship Id="rId3" Type="http://schemas.openxmlformats.org/officeDocument/2006/relationships/hyperlink" Target="https://msgtm.azurewebsites.net/en-US" TargetMode="External"/><Relationship Id="rId2" Type="http://schemas.openxmlformats.org/officeDocument/2006/relationships/notesSlide" Target="../notesSlides/notesSlide30.xml"/><Relationship Id="rId1" Type="http://schemas.openxmlformats.org/officeDocument/2006/relationships/slideLayout" Target="../slideLayouts/slideLayout245.xml"/><Relationship Id="rId4"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4.xml"/></Relationships>
</file>

<file path=ppt/slides/_rels/slide42.xml.rels><?xml version="1.0" encoding="UTF-8" standalone="yes"?>
<Relationships xmlns="http://schemas.openxmlformats.org/package/2006/relationships"><Relationship Id="rId8" Type="http://schemas.openxmlformats.org/officeDocument/2006/relationships/hyperlink" Target="http://aka.ms/rightresource" TargetMode="External"/><Relationship Id="rId13" Type="http://schemas.openxmlformats.org/officeDocument/2006/relationships/hyperlink" Target="https://microsoft.sharepoint.com/teams/servicesportfolio/enterprisestrategy/SitePages/BusinessValueServices.aspx" TargetMode="External"/><Relationship Id="rId18" Type="http://schemas.openxmlformats.org/officeDocument/2006/relationships/hyperlink" Target="https://microsoft.sharepoint.com/teams/ceinsights/Content/Targeting/C+E%20Account%20Grid/Account%20Grid%20Targeting%20v22.0.xlsm" TargetMode="External"/><Relationship Id="rId3" Type="http://schemas.openxmlformats.org/officeDocument/2006/relationships/hyperlink" Target="https://msit.microsoftstream.com/video/078bbaaa-8616-4b5f-8290-6baf84ab5c21" TargetMode="External"/><Relationship Id="rId21" Type="http://schemas.openxmlformats.org/officeDocument/2006/relationships/hyperlink" Target="https://microsoft.sharepoint.com/teams/AIGTMPortal/SitePages/Home.aspx" TargetMode="External"/><Relationship Id="rId7" Type="http://schemas.openxmlformats.org/officeDocument/2006/relationships/hyperlink" Target="https://microsoft.sharepoint.com/teams/CampusIPLibraries/MCS/_layouts/15/DocIdRedir.aspx?ID=CAMPUSIP-7-9325" TargetMode="External"/><Relationship Id="rId12" Type="http://schemas.openxmlformats.org/officeDocument/2006/relationships/hyperlink" Target="https://content.microsoftready.com/FY19Q1/session/DAI-AAI201" TargetMode="External"/><Relationship Id="rId17" Type="http://schemas.openxmlformats.org/officeDocument/2006/relationships/hyperlink" Target="https://microsoft.sharepoint.com/teams/servicesportfolio/SitePages/BuyingScenario.aspx?BuyingScenario=Adoption%20Services&amp;WT.mc_id=NAV_CSA_Adop_Ser" TargetMode="External"/><Relationship Id="rId2" Type="http://schemas.openxmlformats.org/officeDocument/2006/relationships/hyperlink" Target="https://microsoft.sharepoint.com/sites/Infopedia_G01/Pages/AI-Sales-Plays.aspx" TargetMode="External"/><Relationship Id="rId16" Type="http://schemas.openxmlformats.org/officeDocument/2006/relationships/hyperlink" Target="https://microsoft.sharepoint.com/teams/mcs/SitePages/Home.aspx" TargetMode="External"/><Relationship Id="rId20" Type="http://schemas.openxmlformats.org/officeDocument/2006/relationships/hyperlink" Target="https://microsoft.sharepoint.com/:p:/r/teams/Intelligent_Cloud/Data-Ai/_layouts/15/Doc.aspx?sourcedoc=%7b9746B9B6-DCB8-43A5-B551-DF36DCBFEC22%7d&amp;file=FY19%20GPS%20Workshps.pptx&amp;action=edit&amp;mobileredirect=true" TargetMode="External"/><Relationship Id="rId1" Type="http://schemas.openxmlformats.org/officeDocument/2006/relationships/slideLayout" Target="../slideLayouts/slideLayout183.xml"/><Relationship Id="rId6" Type="http://schemas.openxmlformats.org/officeDocument/2006/relationships/hyperlink" Target="https://aka.ms/BookOfDreams" TargetMode="External"/><Relationship Id="rId11" Type="http://schemas.openxmlformats.org/officeDocument/2006/relationships/hyperlink" Target="https://microsoft.sharepoint.com/sites/infopedia/pages/layouts/KCDoc.aspx?k=G05KC-2-48522" TargetMode="External"/><Relationship Id="rId5" Type="http://schemas.openxmlformats.org/officeDocument/2006/relationships/hyperlink" Target="https://microsoft.sharepoint.com/sites/Infopedia_G04/Pages/DTI-Digital-Transformation-for-Industries.aspx" TargetMode="External"/><Relationship Id="rId15" Type="http://schemas.openxmlformats.org/officeDocument/2006/relationships/hyperlink" Target="https://microsoft.sharepoint.com/teams/AIGTMPortal/SitePages/Finished-Solutions-&amp;-Partners.aspx?web=1" TargetMode="External"/><Relationship Id="rId10" Type="http://schemas.openxmlformats.org/officeDocument/2006/relationships/hyperlink" Target="https://microsoft.sharepoint.com/teams/servicesportfolio/sdtrc/Pages/SDT-Landing.aspx" TargetMode="External"/><Relationship Id="rId19" Type="http://schemas.openxmlformats.org/officeDocument/2006/relationships/hyperlink" Target="http://aka.ms/MegaMaps" TargetMode="External"/><Relationship Id="rId4" Type="http://schemas.openxmlformats.org/officeDocument/2006/relationships/hyperlink" Target="https://microsoft.sharepoint.com/teams/Solution_Maps/Pages/Welcome.aspx?TAB=0:Key%20Information" TargetMode="External"/><Relationship Id="rId9" Type="http://schemas.openxmlformats.org/officeDocument/2006/relationships/hyperlink" Target="https://microsoft.sharepoint.com/sites/infopedia/pages/layouts/kcdoc.aspx?k=G00-1-51682" TargetMode="External"/><Relationship Id="rId14" Type="http://schemas.openxmlformats.org/officeDocument/2006/relationships/hyperlink" Target="https://microsoft.sharepoint.com/sites/Infopedia_G04/Pages/DTI-Digital-Maturity-Model.aspx"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44.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image" Target="../media/image111.png"/><Relationship Id="rId1" Type="http://schemas.openxmlformats.org/officeDocument/2006/relationships/slideLayout" Target="../slideLayouts/slideLayout186.xml"/></Relationships>
</file>

<file path=ppt/slides/_rels/slide45.xml.rels><?xml version="1.0" encoding="UTF-8" standalone="yes"?>
<Relationships xmlns="http://schemas.openxmlformats.org/package/2006/relationships"><Relationship Id="rId3" Type="http://schemas.openxmlformats.org/officeDocument/2006/relationships/hyperlink" Target="https://oneask.microsoftcrmportals.com/" TargetMode="External"/><Relationship Id="rId2" Type="http://schemas.openxmlformats.org/officeDocument/2006/relationships/hyperlink" Target="https://microsoft.sharepoint.com/sites/MS_Policy/Policies/Forms/AllItems.aspx?id=/sites/MS_Policy/Policies/End-Customer%20Investment%20Funding%20Policy%20(formerly%20known%20as%20BIF%20Policy).docx&amp;parent=/sites/MS_Policy/Policies&amp;embed=%7b%22o%22:%22https://microsoft.sharepoint.com%22,%22id%22:%22d81c3e1a-86b3-4788-a8e2-6a4e6f6617d7%22,%22af%22:true%7d" TargetMode="External"/><Relationship Id="rId1" Type="http://schemas.openxmlformats.org/officeDocument/2006/relationships/slideLayout" Target="../slideLayouts/slideLayout18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87.xml"/><Relationship Id="rId1" Type="http://schemas.openxmlformats.org/officeDocument/2006/relationships/tags" Target="../tags/tag2.xml"/><Relationship Id="rId5" Type="http://schemas.openxmlformats.org/officeDocument/2006/relationships/hyperlink" Target="https://microsoft.sharepoint.com/teams/CSEHub/Pages/CSEContacts.aspx" TargetMode="External"/><Relationship Id="rId4" Type="http://schemas.openxmlformats.org/officeDocument/2006/relationships/image" Target="../media/image113.png"/></Relationships>
</file>

<file path=ppt/slides/_rels/slide47.xml.rels><?xml version="1.0" encoding="UTF-8" standalone="yes"?>
<Relationships xmlns="http://schemas.openxmlformats.org/package/2006/relationships"><Relationship Id="rId8" Type="http://schemas.openxmlformats.org/officeDocument/2006/relationships/hyperlink" Target="https://microsoft.sharepoint.com/teams/CampusIPLibraries/MCS/_layouts/15/DocIdRedir.aspx?ID=CAMPUSIP-7-9325" TargetMode="External"/><Relationship Id="rId13" Type="http://schemas.openxmlformats.org/officeDocument/2006/relationships/hyperlink" Target="https://docs.microsoft.com/en-us/azure/#pivot=products&amp;panel=ai" TargetMode="External"/><Relationship Id="rId3" Type="http://schemas.openxmlformats.org/officeDocument/2006/relationships/slide" Target="slide39.xml"/><Relationship Id="rId7" Type="http://schemas.openxmlformats.org/officeDocument/2006/relationships/hyperlink" Target="https://aka.ms/BookOfDreams" TargetMode="External"/><Relationship Id="rId12" Type="http://schemas.openxmlformats.org/officeDocument/2006/relationships/hyperlink" Target="https://azure.microsoft.com/en-us/services/virtual-machines/data-science-virtual-machines/" TargetMode="External"/><Relationship Id="rId17" Type="http://schemas.openxmlformats.org/officeDocument/2006/relationships/hyperlink" Target="http://wolterskluwereap.azurewebsites.net/" TargetMode="External"/><Relationship Id="rId2" Type="http://schemas.openxmlformats.org/officeDocument/2006/relationships/slide" Target="slide42.xml"/><Relationship Id="rId16" Type="http://schemas.openxmlformats.org/officeDocument/2006/relationships/hyperlink" Target="https://jfk-demo.azurewebsites.net/#/" TargetMode="External"/><Relationship Id="rId1" Type="http://schemas.openxmlformats.org/officeDocument/2006/relationships/slideLayout" Target="../slideLayouts/slideLayout183.xml"/><Relationship Id="rId6" Type="http://schemas.openxmlformats.org/officeDocument/2006/relationships/hyperlink" Target="http://aka.ms/AIMegaMap" TargetMode="External"/><Relationship Id="rId11" Type="http://schemas.openxmlformats.org/officeDocument/2006/relationships/hyperlink" Target="https://docs.microsoft.com/en-us/python/api/overview/azure-machine-learning/textanalytics?view=azure-ml-py-latest" TargetMode="External"/><Relationship Id="rId5" Type="http://schemas.openxmlformats.org/officeDocument/2006/relationships/hyperlink" Target="https://microsoft.sharepoint.com/teams/AIGTMPortal/Shared%20Documents/Account%20Grid%20With%20AI%20Targeting.xlsm?web=1" TargetMode="External"/><Relationship Id="rId15" Type="http://schemas.openxmlformats.org/officeDocument/2006/relationships/hyperlink" Target="mailto:cog-search-sup@microsoft.com" TargetMode="External"/><Relationship Id="rId10" Type="http://schemas.openxmlformats.org/officeDocument/2006/relationships/hyperlink" Target="https://azure.microsoft.com/en-us/services/search/" TargetMode="External"/><Relationship Id="rId4" Type="http://schemas.openxmlformats.org/officeDocument/2006/relationships/hyperlink" Target="https://microsoft.sharepoint.com/teams/AIGTMPortal/Shared%20Documents/aka.ms/dwr" TargetMode="External"/><Relationship Id="rId9" Type="http://schemas.openxmlformats.org/officeDocument/2006/relationships/hyperlink" Target="https://docs.microsoft.com/en-us/azure/search/cognitive-search-resources-documentation" TargetMode="External"/><Relationship Id="rId14" Type="http://schemas.openxmlformats.org/officeDocument/2006/relationships/hyperlink" Target="https://azure.microsoft.com/en-us/services/cognitive-services/"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zure/search/cognitive-search-quickstart-blob" TargetMode="External"/><Relationship Id="rId2" Type="http://schemas.openxmlformats.org/officeDocument/2006/relationships/hyperlink" Target="https://docs.microsoft.com/en-us/azure/search/cognitive-search-concept-intro" TargetMode="External"/><Relationship Id="rId1" Type="http://schemas.openxmlformats.org/officeDocument/2006/relationships/slideLayout" Target="../slideLayouts/slideLayout183.xml"/><Relationship Id="rId6" Type="http://schemas.openxmlformats.org/officeDocument/2006/relationships/hyperlink" Target="https://microsoft.sharepoint.com/teams/GearUp/SitePages/azureherosolutions.aspx#ContentTop" TargetMode="External"/><Relationship Id="rId5" Type="http://schemas.openxmlformats.org/officeDocument/2006/relationships/hyperlink" Target="https://docs.microsoft.com/en-us/azure/search/cognitive-search-attach-cognitive-services#example-estimating-the-cost-of-document-cracking-and-enrichment" TargetMode="External"/><Relationship Id="rId4" Type="http://schemas.openxmlformats.org/officeDocument/2006/relationships/hyperlink" Target="https://github.com/Rodrigossz/cog-search-webinar"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4.xml"/></Relationships>
</file>

<file path=ppt/slides/_rels/slide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6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45.xml"/></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hyperlink" Target="https://azure.microsoft.com/en-us/global-infrastructure/services/?products=search&amp;regions=all" TargetMode="External"/><Relationship Id="rId1" Type="http://schemas.openxmlformats.org/officeDocument/2006/relationships/slideLayout" Target="../slideLayouts/slideLayout245.xml"/></Relationships>
</file>

<file path=ppt/slides/_rels/slide5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hyperlink" Target="https://microsoft-my.sharepoint.com/:x:/p/kador/EX-54ewfrKlFonxCn-PBtz8BS0EEW6PLnIBn1XDN5KodBQ?e=PcZRTA" TargetMode="External"/><Relationship Id="rId1" Type="http://schemas.openxmlformats.org/officeDocument/2006/relationships/slideLayout" Target="../slideLayouts/slideLayout24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5.xml"/></Relationships>
</file>

<file path=ppt/slides/_rels/slide54.xml.rels><?xml version="1.0" encoding="UTF-8" standalone="yes"?>
<Relationships xmlns="http://schemas.openxmlformats.org/package/2006/relationships"><Relationship Id="rId13" Type="http://schemas.openxmlformats.org/officeDocument/2006/relationships/hyperlink" Target="https://microsoft.sharepoint.com/teams/servicesportfolio/SitePages/Offer.aspx?Title=Patient%20Volume%20Forecasting%20Solution&amp;OID=1288" TargetMode="External"/><Relationship Id="rId18" Type="http://schemas.openxmlformats.org/officeDocument/2006/relationships/hyperlink" Target="https://microsoft.sharepoint.com/teams/servicesportfolio/sitepages/offer.aspx?Title=Online%20Fraud%20Detection&amp;OID=1392" TargetMode="External"/><Relationship Id="rId26" Type="http://schemas.openxmlformats.org/officeDocument/2006/relationships/hyperlink" Target="https://microsoft.sharepoint.com/teams/servicesportfolio/SitePages/Offer.aspx?Title=Student%20Analytics%20Solution&amp;OID=996" TargetMode="External"/><Relationship Id="rId3" Type="http://schemas.openxmlformats.org/officeDocument/2006/relationships/hyperlink" Target="https://microsoft.sharepoint.com/teams/servicesportfolio/SitePages/Offer.aspx?Title=Risk%20and%20Compliance%20Management%20for%20Data%20Privacy&amp;OID=1572" TargetMode="External"/><Relationship Id="rId21" Type="http://schemas.openxmlformats.org/officeDocument/2006/relationships/hyperlink" Target="https://microsoft.sharepoint.com/teams/servicesportfolio/sitepages/offer.aspx?Title=Digital%20Incident%20Response%20&amp;OID=1370" TargetMode="External"/><Relationship Id="rId34" Type="http://schemas.openxmlformats.org/officeDocument/2006/relationships/hyperlink" Target="https://microsoft.sharepoint.com/teams/servicesportfolio/sitepages/offer.aspx?Title=Connected%20Field%20Service&amp;OID=1045" TargetMode="External"/><Relationship Id="rId7" Type="http://schemas.openxmlformats.org/officeDocument/2006/relationships/hyperlink" Target="https://microsoft.sharepoint.com/teams/servicesportfolio/sitepages/offer.aspx?Title=Mobile%20Government%20Worker%20Productivity&amp;OID=1315" TargetMode="External"/><Relationship Id="rId12" Type="http://schemas.openxmlformats.org/officeDocument/2006/relationships/hyperlink" Target="https://microsoft.sharepoint.com/teams/servicesportfolio/SitePages/Offer.aspx?Title=Personalization%20Solution&amp;OID=1241" TargetMode="External"/><Relationship Id="rId17" Type="http://schemas.openxmlformats.org/officeDocument/2006/relationships/hyperlink" Target="https://microsoft.sharepoint.com/teams/servicesportfolio/sitepages/offer.aspx?Title=Banking%20Platform%20as%20a%20Service&amp;OID=1400" TargetMode="External"/><Relationship Id="rId25" Type="http://schemas.openxmlformats.org/officeDocument/2006/relationships/hyperlink" Target="https://microsoft.sharepoint.com/teams/servicesportfolio/sitepages/offer.aspx?Title=Clinical%20Analytics&amp;OID=1363" TargetMode="External"/><Relationship Id="rId33" Type="http://schemas.openxmlformats.org/officeDocument/2006/relationships/hyperlink" Target="https://microsoft.sharepoint.com/teams/servicesportfolio/SitePages/Offer.aspx?Title=Internet%20of%20Things%20Advanced&amp;OID=1292" TargetMode="External"/><Relationship Id="rId2" Type="http://schemas.openxmlformats.org/officeDocument/2006/relationships/notesSlide" Target="../notesSlides/notesSlide36.xml"/><Relationship Id="rId16" Type="http://schemas.openxmlformats.org/officeDocument/2006/relationships/hyperlink" Target="https://microsoft.sharepoint.com/teams/servicesportfolio/sitepages/offer.aspx?Title=Inventory%20Optimization&amp;OID=1379" TargetMode="External"/><Relationship Id="rId20" Type="http://schemas.openxmlformats.org/officeDocument/2006/relationships/hyperlink" Target="https://microsoft.sharepoint.com/teams/servicesportfolio/sitepages/offer.aspx?Title=Next%20Best%20Action%20for%20Banking%20and%20Capital%20Markets&amp;OID=1259" TargetMode="External"/><Relationship Id="rId29" Type="http://schemas.openxmlformats.org/officeDocument/2006/relationships/hyperlink" Target="https://microsoft.sharepoint.com/teams/servicesportfolio/SitePages/Offer.aspx?Title=Intelligent%20Experiences%20with%20Bots&amp;OID=1509" TargetMode="External"/><Relationship Id="rId1" Type="http://schemas.openxmlformats.org/officeDocument/2006/relationships/slideLayout" Target="../slideLayouts/slideLayout364.xml"/><Relationship Id="rId6" Type="http://schemas.openxmlformats.org/officeDocument/2006/relationships/hyperlink" Target="https://microsoft.sharepoint.com/teams/servicesportfolio/SitePages/Offer.aspx?Title=Data%20Warehouse%20Modernization%20Essentials&amp;OID=873" TargetMode="External"/><Relationship Id="rId11" Type="http://schemas.openxmlformats.org/officeDocument/2006/relationships/hyperlink" Target="https://microsoft.sharepoint.com/teams/servicesportfolio/SitePages/Offer.aspx?Title=BI%20Visualization%20Essentials&amp;OID=1555" TargetMode="External"/><Relationship Id="rId24" Type="http://schemas.openxmlformats.org/officeDocument/2006/relationships/hyperlink" Target="https://microsoft.sharepoint.com/teams/servicesportfolio/sitepages/offer.aspx?Title=Customer%20Intelligence&amp;OID=1586" TargetMode="External"/><Relationship Id="rId32" Type="http://schemas.openxmlformats.org/officeDocument/2006/relationships/hyperlink" Target="https://microsoft.sharepoint.com/teams/servicesportfolio/SitePages/Offer.aspx?Title=Predictive%20Maintenance%20Solution&amp;OID=1239" TargetMode="External"/><Relationship Id="rId5" Type="http://schemas.openxmlformats.org/officeDocument/2006/relationships/hyperlink" Target="https://microsoft.sharepoint.com/teams/servicesportfolio/SitePages/Offer.aspx?Title=Migration%20from%20Oracle%20Platform%20to%20SQL%20Server&amp;OID=1238" TargetMode="External"/><Relationship Id="rId15" Type="http://schemas.openxmlformats.org/officeDocument/2006/relationships/hyperlink" Target="https://microsoft.sharepoint.com/teams/servicesportfolio/SitePages/Offer.aspx?Title=Customer%20Experience%20Transformation%20Solution&amp;OID=872" TargetMode="External"/><Relationship Id="rId23" Type="http://schemas.openxmlformats.org/officeDocument/2006/relationships/hyperlink" Target="https://microsoft.sharepoint.com/teams/servicesportfolio/sitepages/offer.aspx?Title=Operational%20Analytics&amp;OID=1364" TargetMode="External"/><Relationship Id="rId28" Type="http://schemas.openxmlformats.org/officeDocument/2006/relationships/hyperlink" Target="https://microsoft.sharepoint.com/teams/servicesportfolio/SitePages/Offer.aspx?Title=Predictive%20Analytics%20Essentials&amp;OID=1558" TargetMode="External"/><Relationship Id="rId10" Type="http://schemas.openxmlformats.org/officeDocument/2006/relationships/hyperlink" Target="https://microsoft.sharepoint.com/teams/servicesportfolio/SitePages/Offer.aspx?Title=Analytics%20for%20Telco%20Solution&amp;OID=825" TargetMode="External"/><Relationship Id="rId19" Type="http://schemas.openxmlformats.org/officeDocument/2006/relationships/hyperlink" Target="https://microsoft.sharepoint.com/teams/servicesportfolio/sitepages/offer.aspx?Title=Next%20Best%20Action%20for%20Insurance&amp;OID=1412" TargetMode="External"/><Relationship Id="rId31" Type="http://schemas.openxmlformats.org/officeDocument/2006/relationships/hyperlink" Target="https://microsoft.sharepoint.com/teams/servicesportfolio/sitepages/offer.aspx?Title=Remote%20Monitoring&amp;OID=1046" TargetMode="External"/><Relationship Id="rId4" Type="http://schemas.openxmlformats.org/officeDocument/2006/relationships/hyperlink" Target="https://microsoft.sharepoint.com/teams/servicesportfolio/SitePages/Offer.aspx?Title=Upgrade%20to%20SQL%20Server&amp;OID=1023" TargetMode="External"/><Relationship Id="rId9" Type="http://schemas.openxmlformats.org/officeDocument/2006/relationships/hyperlink" Target="https://microsoft.sharepoint.com/teams/servicesportfolio/sitepages/offer.aspx?Title=Risk%20Analytics&amp;OID=1408" TargetMode="External"/><Relationship Id="rId14" Type="http://schemas.openxmlformats.org/officeDocument/2006/relationships/hyperlink" Target="https://microsoft.sharepoint.com/teams/servicesportfolio/SitePages/Offer.aspx?Title=Demand%20Forecasting%20Solution&amp;OID=1240" TargetMode="External"/><Relationship Id="rId22" Type="http://schemas.openxmlformats.org/officeDocument/2006/relationships/hyperlink" Target="https://microsoft.sharepoint.com/teams/servicesportfolio/sitepages/offer.aspx?Title=Student%20Analytics%20Solution&amp;OID=996" TargetMode="External"/><Relationship Id="rId27" Type="http://schemas.openxmlformats.org/officeDocument/2006/relationships/hyperlink" Target="https://microsoft.sharepoint.com/teams/servicesportfolio/SitePages/Offer.aspx?Title=Digital%20Ready%20for%20Analytics&amp;OID=1495" TargetMode="External"/><Relationship Id="rId30" Type="http://schemas.openxmlformats.org/officeDocument/2006/relationships/hyperlink" Target="https://microsoft.sharepoint.com/teams/servicesportfolio/sitepages/offer.aspx?Title=Predictive%20Maintenance&amp;OID=1044" TargetMode="External"/><Relationship Id="rId35" Type="http://schemas.openxmlformats.org/officeDocument/2006/relationships/hyperlink" Target="https://microsoft.sharepoint.com/teams/servicesportfolio/SitePages/Offer.aspx?Title=Predictive%20Maintenance&amp;OID=1044" TargetMode="External"/><Relationship Id="rId8" Type="http://schemas.openxmlformats.org/officeDocument/2006/relationships/hyperlink" Target="https://microsoft.sharepoint.com/teams/servicesportfolio/sitepages/offer.aspx?Title=Supply%20Chain%20Visibility&amp;OID=1448"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xml"/><Relationship Id="rId1" Type="http://schemas.openxmlformats.org/officeDocument/2006/relationships/slideLayout" Target="../slideLayouts/slideLayout63.xml"/><Relationship Id="rId5" Type="http://schemas.openxmlformats.org/officeDocument/2006/relationships/image" Target="../media/image64.png"/><Relationship Id="rId4" Type="http://schemas.openxmlformats.org/officeDocument/2006/relationships/image" Target="../media/image63.jpg"/></Relationships>
</file>

<file path=ppt/slides/_rels/slide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7.xml"/></Relationships>
</file>

<file path=ppt/slides/_rels/slide9.xml.rels><?xml version="1.0" encoding="UTF-8" standalone="yes"?>
<Relationships xmlns="http://schemas.openxmlformats.org/package/2006/relationships"><Relationship Id="rId3" Type="http://schemas.openxmlformats.org/officeDocument/2006/relationships/hyperlink" Target="https://microsoft.sharepoint.com/:w:/t/AIGTMPortal/EREO8bosbQRDq01BVwBaY_EBSGH7_A6y2oA2qxsdzz9Iag?e=LZMka8" TargetMode="External"/><Relationship Id="rId2" Type="http://schemas.openxmlformats.org/officeDocument/2006/relationships/notesSlide" Target="../notesSlides/notesSlide7.xml"/><Relationship Id="rId1" Type="http://schemas.openxmlformats.org/officeDocument/2006/relationships/slideLayout" Target="../slideLayouts/slideLayout10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5942-16B4-45BF-9CB5-341514A058B6}"/>
              </a:ext>
            </a:extLst>
          </p:cNvPr>
          <p:cNvSpPr>
            <a:spLocks noGrp="1"/>
          </p:cNvSpPr>
          <p:nvPr>
            <p:ph type="title"/>
          </p:nvPr>
        </p:nvSpPr>
        <p:spPr>
          <a:xfrm>
            <a:off x="269240" y="2245808"/>
            <a:ext cx="6055990" cy="2175081"/>
          </a:xfrm>
        </p:spPr>
        <p:txBody>
          <a:bodyPr vert="horz" lIns="91440" tIns="45720" rIns="91440" bIns="45720" rtlCol="0" anchor="b">
            <a:normAutofit/>
          </a:bodyPr>
          <a:lstStyle/>
          <a:p>
            <a:r>
              <a:rPr lang="en-US" sz="4400" kern="1200">
                <a:solidFill>
                  <a:schemeClr val="tx1"/>
                </a:solidFill>
                <a:latin typeface="+mj-lt"/>
                <a:ea typeface="+mj-ea"/>
                <a:cs typeface="+mj-cs"/>
              </a:rPr>
              <a:t>Knowledge Mining</a:t>
            </a:r>
            <a:br>
              <a:rPr lang="en-US" sz="4400" kern="1200">
                <a:solidFill>
                  <a:schemeClr val="tx1"/>
                </a:solidFill>
                <a:latin typeface="+mj-lt"/>
                <a:ea typeface="+mj-ea"/>
                <a:cs typeface="+mj-cs"/>
              </a:rPr>
            </a:br>
            <a:r>
              <a:rPr lang="en-US" sz="4400" kern="1200">
                <a:solidFill>
                  <a:schemeClr val="tx1"/>
                </a:solidFill>
                <a:latin typeface="+mj-lt"/>
                <a:ea typeface="+mj-ea"/>
                <a:cs typeface="+mj-cs"/>
              </a:rPr>
              <a:t>With Azure Search &amp; Cognitive Services </a:t>
            </a:r>
          </a:p>
        </p:txBody>
      </p:sp>
      <p:sp>
        <p:nvSpPr>
          <p:cNvPr id="24" name="Freeform 14">
            <a:extLst>
              <a:ext uri="{FF2B5EF4-FFF2-40B4-BE49-F238E27FC236}">
                <a16:creationId xmlns:a16="http://schemas.microsoft.com/office/drawing/2014/main" id="{C66F2F30-5DC0-44A0-BFA6-E12F46ED16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5920619" cy="2130951"/>
          </a:xfrm>
          <a:custGeom>
            <a:avLst/>
            <a:gdLst>
              <a:gd name="connsiteX0" fmla="*/ 0 w 5920619"/>
              <a:gd name="connsiteY0" fmla="*/ 0 h 2130951"/>
              <a:gd name="connsiteX1" fmla="*/ 3191370 w 5920619"/>
              <a:gd name="connsiteY1" fmla="*/ 0 h 2130951"/>
              <a:gd name="connsiteX2" fmla="*/ 3346315 w 5920619"/>
              <a:gd name="connsiteY2" fmla="*/ 0 h 2130951"/>
              <a:gd name="connsiteX3" fmla="*/ 5920619 w 5920619"/>
              <a:gd name="connsiteY3" fmla="*/ 0 h 2130951"/>
              <a:gd name="connsiteX4" fmla="*/ 4936971 w 5920619"/>
              <a:gd name="connsiteY4" fmla="*/ 2130951 h 2130951"/>
              <a:gd name="connsiteX5" fmla="*/ 0 w 5920619"/>
              <a:gd name="connsiteY5" fmla="*/ 2130951 h 213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619" h="2130951">
                <a:moveTo>
                  <a:pt x="0" y="0"/>
                </a:moveTo>
                <a:lnTo>
                  <a:pt x="3191370" y="0"/>
                </a:lnTo>
                <a:lnTo>
                  <a:pt x="3346315" y="0"/>
                </a:lnTo>
                <a:lnTo>
                  <a:pt x="5920619" y="0"/>
                </a:lnTo>
                <a:lnTo>
                  <a:pt x="4936971" y="2130951"/>
                </a:lnTo>
                <a:lnTo>
                  <a:pt x="0" y="2130951"/>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21">
            <a:extLst>
              <a:ext uri="{FF2B5EF4-FFF2-40B4-BE49-F238E27FC236}">
                <a16:creationId xmlns:a16="http://schemas.microsoft.com/office/drawing/2014/main" id="{85872F57-7F42-4F97-8391-DDC8D0054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97839" y="0"/>
            <a:ext cx="7094160" cy="2130952"/>
          </a:xfrm>
          <a:custGeom>
            <a:avLst/>
            <a:gdLst>
              <a:gd name="connsiteX0" fmla="*/ 4417853 w 7094160"/>
              <a:gd name="connsiteY0" fmla="*/ 0 h 2130952"/>
              <a:gd name="connsiteX1" fmla="*/ 7094160 w 7094160"/>
              <a:gd name="connsiteY1" fmla="*/ 0 h 2130952"/>
              <a:gd name="connsiteX2" fmla="*/ 7094160 w 7094160"/>
              <a:gd name="connsiteY2" fmla="*/ 2130552 h 2130952"/>
              <a:gd name="connsiteX3" fmla="*/ 5920619 w 7094160"/>
              <a:gd name="connsiteY3" fmla="*/ 2130552 h 2130952"/>
              <a:gd name="connsiteX4" fmla="*/ 5920619 w 7094160"/>
              <a:gd name="connsiteY4" fmla="*/ 2130952 h 2130952"/>
              <a:gd name="connsiteX5" fmla="*/ 2729249 w 7094160"/>
              <a:gd name="connsiteY5" fmla="*/ 2130952 h 2130952"/>
              <a:gd name="connsiteX6" fmla="*/ 2574304 w 7094160"/>
              <a:gd name="connsiteY6" fmla="*/ 2130952 h 2130952"/>
              <a:gd name="connsiteX7" fmla="*/ 0 w 7094160"/>
              <a:gd name="connsiteY7" fmla="*/ 2130952 h 2130952"/>
              <a:gd name="connsiteX8" fmla="*/ 983648 w 7094160"/>
              <a:gd name="connsiteY8" fmla="*/ 1 h 2130952"/>
              <a:gd name="connsiteX9" fmla="*/ 4417853 w 7094160"/>
              <a:gd name="connsiteY9" fmla="*/ 1 h 213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4160" h="2130952">
                <a:moveTo>
                  <a:pt x="4417853" y="0"/>
                </a:moveTo>
                <a:lnTo>
                  <a:pt x="7094160" y="0"/>
                </a:lnTo>
                <a:lnTo>
                  <a:pt x="7094160" y="2130552"/>
                </a:lnTo>
                <a:lnTo>
                  <a:pt x="5920619" y="2130552"/>
                </a:lnTo>
                <a:lnTo>
                  <a:pt x="5920619" y="2130952"/>
                </a:lnTo>
                <a:lnTo>
                  <a:pt x="2729249" y="2130952"/>
                </a:lnTo>
                <a:lnTo>
                  <a:pt x="2574304" y="2130952"/>
                </a:lnTo>
                <a:lnTo>
                  <a:pt x="0" y="2130952"/>
                </a:lnTo>
                <a:lnTo>
                  <a:pt x="983648" y="1"/>
                </a:lnTo>
                <a:lnTo>
                  <a:pt x="4417853" y="1"/>
                </a:lnTo>
                <a:close/>
              </a:path>
            </a:pathLst>
          </a:custGeom>
          <a:solidFill>
            <a:srgbClr val="7F7F7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8" name="Freeform: Shape 17">
            <a:extLst>
              <a:ext uri="{FF2B5EF4-FFF2-40B4-BE49-F238E27FC236}">
                <a16:creationId xmlns:a16="http://schemas.microsoft.com/office/drawing/2014/main" id="{04DC2037-48A0-4F22-B9D4-8EAEBC780A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149721" y="4682920"/>
            <a:ext cx="4522796" cy="2175080"/>
          </a:xfrm>
          <a:custGeom>
            <a:avLst/>
            <a:gdLst>
              <a:gd name="connsiteX0" fmla="*/ 3515449 w 4522796"/>
              <a:gd name="connsiteY0" fmla="*/ 0 h 2175080"/>
              <a:gd name="connsiteX1" fmla="*/ 0 w 4522796"/>
              <a:gd name="connsiteY1" fmla="*/ 0 h 2175080"/>
              <a:gd name="connsiteX2" fmla="*/ 0 w 4522796"/>
              <a:gd name="connsiteY2" fmla="*/ 2175080 h 2175080"/>
              <a:gd name="connsiteX3" fmla="*/ 4522796 w 4522796"/>
              <a:gd name="connsiteY3" fmla="*/ 2175080 h 2175080"/>
            </a:gdLst>
            <a:ahLst/>
            <a:cxnLst>
              <a:cxn ang="0">
                <a:pos x="connsiteX0" y="connsiteY0"/>
              </a:cxn>
              <a:cxn ang="0">
                <a:pos x="connsiteX1" y="connsiteY1"/>
              </a:cxn>
              <a:cxn ang="0">
                <a:pos x="connsiteX2" y="connsiteY2"/>
              </a:cxn>
              <a:cxn ang="0">
                <a:pos x="connsiteX3" y="connsiteY3"/>
              </a:cxn>
            </a:cxnLst>
            <a:rect l="l" t="t" r="r" b="b"/>
            <a:pathLst>
              <a:path w="4522796" h="2175080">
                <a:moveTo>
                  <a:pt x="3515449" y="0"/>
                </a:moveTo>
                <a:lnTo>
                  <a:pt x="0" y="0"/>
                </a:lnTo>
                <a:lnTo>
                  <a:pt x="0" y="2175080"/>
                </a:lnTo>
                <a:lnTo>
                  <a:pt x="4522796" y="217508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a:p>
        </p:txBody>
      </p:sp>
      <p:sp>
        <p:nvSpPr>
          <p:cNvPr id="29" name="Freeform 22">
            <a:extLst>
              <a:ext uri="{FF2B5EF4-FFF2-40B4-BE49-F238E27FC236}">
                <a16:creationId xmlns:a16="http://schemas.microsoft.com/office/drawing/2014/main" id="{0006CBFD-ADA0-43D1-9332-9C34CA1C76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66810" y="4682920"/>
            <a:ext cx="5925190" cy="2175080"/>
          </a:xfrm>
          <a:custGeom>
            <a:avLst/>
            <a:gdLst>
              <a:gd name="connsiteX0" fmla="*/ 1007347 w 5925190"/>
              <a:gd name="connsiteY0" fmla="*/ 0 h 2175080"/>
              <a:gd name="connsiteX1" fmla="*/ 5925190 w 5925190"/>
              <a:gd name="connsiteY1" fmla="*/ 0 h 2175080"/>
              <a:gd name="connsiteX2" fmla="*/ 5925190 w 5925190"/>
              <a:gd name="connsiteY2" fmla="*/ 2175080 h 2175080"/>
              <a:gd name="connsiteX3" fmla="*/ 0 w 5925190"/>
              <a:gd name="connsiteY3" fmla="*/ 2175080 h 2175080"/>
            </a:gdLst>
            <a:ahLst/>
            <a:cxnLst>
              <a:cxn ang="0">
                <a:pos x="connsiteX0" y="connsiteY0"/>
              </a:cxn>
              <a:cxn ang="0">
                <a:pos x="connsiteX1" y="connsiteY1"/>
              </a:cxn>
              <a:cxn ang="0">
                <a:pos x="connsiteX2" y="connsiteY2"/>
              </a:cxn>
              <a:cxn ang="0">
                <a:pos x="connsiteX3" y="connsiteY3"/>
              </a:cxn>
            </a:cxnLst>
            <a:rect l="l" t="t" r="r" b="b"/>
            <a:pathLst>
              <a:path w="5925190" h="2175080">
                <a:moveTo>
                  <a:pt x="1007347" y="0"/>
                </a:moveTo>
                <a:lnTo>
                  <a:pt x="5925190" y="0"/>
                </a:lnTo>
                <a:lnTo>
                  <a:pt x="5925190" y="2175080"/>
                </a:lnTo>
                <a:lnTo>
                  <a:pt x="0" y="217508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5">
            <a:extLst>
              <a:ext uri="{FF2B5EF4-FFF2-40B4-BE49-F238E27FC236}">
                <a16:creationId xmlns:a16="http://schemas.microsoft.com/office/drawing/2014/main" id="{2B931666-F28F-45F3-A074-66D2272D58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682920"/>
            <a:ext cx="7114535" cy="2175080"/>
          </a:xfrm>
          <a:custGeom>
            <a:avLst/>
            <a:gdLst>
              <a:gd name="connsiteX0" fmla="*/ 0 w 7114535"/>
              <a:gd name="connsiteY0" fmla="*/ 0 h 2175080"/>
              <a:gd name="connsiteX1" fmla="*/ 1189345 w 7114535"/>
              <a:gd name="connsiteY1" fmla="*/ 0 h 2175080"/>
              <a:gd name="connsiteX2" fmla="*/ 7114535 w 7114535"/>
              <a:gd name="connsiteY2" fmla="*/ 0 h 2175080"/>
              <a:gd name="connsiteX3" fmla="*/ 6107188 w 7114535"/>
              <a:gd name="connsiteY3" fmla="*/ 2175080 h 2175080"/>
              <a:gd name="connsiteX4" fmla="*/ 1189345 w 7114535"/>
              <a:gd name="connsiteY4" fmla="*/ 2175080 h 2175080"/>
              <a:gd name="connsiteX5" fmla="*/ 0 w 7114535"/>
              <a:gd name="connsiteY5" fmla="*/ 2175080 h 217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4535" h="2175080">
                <a:moveTo>
                  <a:pt x="0" y="0"/>
                </a:moveTo>
                <a:lnTo>
                  <a:pt x="1189345" y="0"/>
                </a:lnTo>
                <a:lnTo>
                  <a:pt x="7114535" y="0"/>
                </a:lnTo>
                <a:lnTo>
                  <a:pt x="6107188" y="2175080"/>
                </a:lnTo>
                <a:lnTo>
                  <a:pt x="1189345" y="2175080"/>
                </a:lnTo>
                <a:lnTo>
                  <a:pt x="0" y="2175080"/>
                </a:lnTo>
                <a:close/>
              </a:path>
            </a:pathLst>
          </a:custGeom>
          <a:solidFill>
            <a:srgbClr val="7F7F7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DEB96B9-FC3F-4523-B8ED-7D0FF561FBEB}"/>
              </a:ext>
            </a:extLst>
          </p:cNvPr>
          <p:cNvSpPr/>
          <p:nvPr/>
        </p:nvSpPr>
        <p:spPr>
          <a:xfrm>
            <a:off x="269240" y="6433064"/>
            <a:ext cx="1483098" cy="240130"/>
          </a:xfrm>
          <a:prstGeom prst="rect">
            <a:avLst/>
          </a:prstGeom>
        </p:spPr>
        <p:txBody>
          <a:bodyPr wrap="none">
            <a:spAutoFit/>
          </a:bodyPr>
          <a:lstStyle/>
          <a:p>
            <a:pPr marL="0" marR="0" lvl="0" indent="0" algn="l" defTabSz="914202" rtl="0" eaLnBrk="1" fontAlgn="base" latinLnBrk="0" hangingPunct="1">
              <a:lnSpc>
                <a:spcPct val="90000"/>
              </a:lnSpc>
              <a:spcBef>
                <a:spcPct val="0"/>
              </a:spcBef>
              <a:spcAft>
                <a:spcPts val="588"/>
              </a:spcAft>
              <a:buClrTx/>
              <a:buSzTx/>
              <a:buFontTx/>
              <a:buNone/>
              <a:tabLst/>
              <a:defRPr/>
            </a:pPr>
            <a:r>
              <a:rPr kumimoji="0" lang="en-US" sz="1067" b="0" i="0" u="none" strike="noStrike" kern="1200" cap="none" spc="0" normalizeH="0" baseline="0" noProof="0">
                <a:ln>
                  <a:noFill/>
                </a:ln>
                <a:solidFill>
                  <a:srgbClr val="FFFFFF"/>
                </a:solidFill>
                <a:effectLst/>
                <a:uLnTx/>
                <a:uFillTx/>
                <a:latin typeface="Segoe UI Semilight" charset="0"/>
                <a:ea typeface="Segoe UI Semilight" charset="0"/>
                <a:cs typeface="Segoe UI Semilight" charset="0"/>
              </a:rPr>
              <a:t>Microsoft Confidential</a:t>
            </a:r>
          </a:p>
        </p:txBody>
      </p:sp>
    </p:spTree>
    <p:extLst>
      <p:ext uri="{BB962C8B-B14F-4D97-AF65-F5344CB8AC3E}">
        <p14:creationId xmlns:p14="http://schemas.microsoft.com/office/powerpoint/2010/main" val="199303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hape 697">
            <a:extLst>
              <a:ext uri="{FF2B5EF4-FFF2-40B4-BE49-F238E27FC236}">
                <a16:creationId xmlns:a16="http://schemas.microsoft.com/office/drawing/2014/main" id="{5966FF76-FAB6-4690-A012-3BAB02F7349B}"/>
              </a:ext>
            </a:extLst>
          </p:cNvPr>
          <p:cNvSpPr txBox="1"/>
          <p:nvPr/>
        </p:nvSpPr>
        <p:spPr>
          <a:xfrm>
            <a:off x="183515" y="569634"/>
            <a:ext cx="11837035" cy="946230"/>
          </a:xfrm>
          <a:prstGeom prst="rect">
            <a:avLst/>
          </a:prstGeom>
          <a:noFill/>
          <a:ln>
            <a:noFill/>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505050"/>
                </a:solidFill>
                <a:effectLst/>
                <a:uLnTx/>
                <a:uFillTx/>
                <a:latin typeface="Segoe UI Light" panose="020B0502040204020203" pitchFamily="34" charset="0"/>
                <a:cs typeface="Segoe UI Light" panose="020B0502040204020203" pitchFamily="34" charset="0"/>
                <a:sym typeface="Source Sans Pro"/>
              </a:rPr>
              <a:t>What can you do with Knowledge Mining?</a:t>
            </a:r>
          </a:p>
        </p:txBody>
      </p:sp>
      <p:sp>
        <p:nvSpPr>
          <p:cNvPr id="15" name="Content Placeholder 2">
            <a:extLst>
              <a:ext uri="{FF2B5EF4-FFF2-40B4-BE49-F238E27FC236}">
                <a16:creationId xmlns:a16="http://schemas.microsoft.com/office/drawing/2014/main" id="{C3DBDC4B-6983-416C-9D8B-C61974F07B8D}"/>
              </a:ext>
            </a:extLst>
          </p:cNvPr>
          <p:cNvSpPr txBox="1">
            <a:spLocks/>
          </p:cNvSpPr>
          <p:nvPr/>
        </p:nvSpPr>
        <p:spPr>
          <a:xfrm>
            <a:off x="370000" y="1651118"/>
            <a:ext cx="11254959" cy="4161813"/>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Enterprise Search</a:t>
            </a:r>
          </a:p>
          <a:p>
            <a:pPr marL="685800" marR="0" lvl="1"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asily add sophisticated search capabilities to your internal LOB applications using the same integrated Microsoft natural language stack that's used in Bing and Office and that’s been improved over 16 years. </a:t>
            </a:r>
          </a:p>
          <a:p>
            <a:pPr marL="457200" marR="0" lvl="1" indent="0" algn="l" defTabSz="914400" rtl="0" eaLnBrk="1" fontAlgn="auto" latinLnBrk="0" hangingPunct="1">
              <a:lnSpc>
                <a:spcPct val="90000"/>
              </a:lnSpc>
              <a:spcBef>
                <a:spcPts val="600"/>
              </a:spcBef>
              <a:spcAft>
                <a:spcPts val="0"/>
              </a:spcAft>
              <a:buClrTx/>
              <a:buSzTx/>
              <a:buNone/>
              <a:tabLst/>
              <a:defRPr/>
            </a:pPr>
            <a:endParaRPr lang="en-US" sz="2000">
              <a:solidFill>
                <a:srgbClr val="000000"/>
              </a:solidFill>
              <a:latin typeface="Segoe UI" panose="020B0502040204020203" pitchFamily="34" charset="0"/>
              <a:cs typeface="Segoe UI" panose="020B0502040204020203" pitchFamily="34" charset="0"/>
            </a:endParaRPr>
          </a:p>
          <a:p>
            <a:pPr marL="0" lvl="0" indent="0">
              <a:spcBef>
                <a:spcPts val="600"/>
              </a:spcBef>
              <a:buNone/>
              <a:defRPr/>
            </a:pPr>
            <a:r>
              <a:rPr lang="en-US" sz="2400" b="1">
                <a:solidFill>
                  <a:srgbClr val="0070C0"/>
                </a:solidFill>
                <a:latin typeface="Segoe UI" panose="020B0502040204020203" pitchFamily="34" charset="0"/>
                <a:cs typeface="Segoe UI" panose="020B0502040204020203" pitchFamily="34" charset="0"/>
              </a:rPr>
              <a:t>Application Integration</a:t>
            </a:r>
          </a:p>
          <a:p>
            <a:pPr lvl="1">
              <a:spcBef>
                <a:spcPts val="600"/>
              </a:spcBef>
              <a:defRPr/>
            </a:pPr>
            <a:r>
              <a:rPr lang="en-US" sz="2000">
                <a:solidFill>
                  <a:srgbClr val="000000"/>
                </a:solidFill>
                <a:latin typeface="Segoe UI" panose="020B0502040204020203" pitchFamily="34" charset="0"/>
                <a:cs typeface="Segoe UI" panose="020B0502040204020203" pitchFamily="34" charset="0"/>
              </a:rPr>
              <a:t>Integrate Search and Cognitive capabilities into your new and existing applications to create advanced solutions that allow users to achieve business goals.</a:t>
            </a:r>
          </a:p>
          <a:p>
            <a:pPr marL="685800" marR="0" lvl="1"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Cognitive Capabilities</a:t>
            </a:r>
          </a:p>
          <a:p>
            <a:pPr marL="685800" marR="0" lvl="1"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ith the new Cognitive Search feature, you can use artificial intelligence to extract insights and structured and unstructured content</a:t>
            </a:r>
            <a:r>
              <a:rPr lang="en-US" sz="2000">
                <a:solidFill>
                  <a:srgbClr val="000000"/>
                </a:solidFill>
                <a:latin typeface="Segoe UI" panose="020B0502040204020203" pitchFamily="34" charset="0"/>
                <a:cs typeface="Segoe UI" panose="020B0502040204020203" pitchFamily="34" charset="0"/>
              </a:rPr>
              <a:t> as well as c</a:t>
            </a:r>
            <a:r>
              <a:rPr kumimoji="0" lang="en-US" sz="20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eate</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pipelines that use pre-built cognitive skills to extend your search power using your own custom skills.</a:t>
            </a:r>
          </a:p>
          <a:p>
            <a:pPr marL="685800" marR="0" lvl="1"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773946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70CD788A-181C-4413-89DA-25602E0553ED}"/>
              </a:ext>
            </a:extLst>
          </p:cNvPr>
          <p:cNvSpPr txBox="1">
            <a:spLocks/>
          </p:cNvSpPr>
          <p:nvPr/>
        </p:nvSpPr>
        <p:spPr>
          <a:xfrm>
            <a:off x="201405" y="569634"/>
            <a:ext cx="11655840" cy="1202484"/>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Top Scenarios &amp; Industries</a:t>
            </a:r>
          </a:p>
        </p:txBody>
      </p:sp>
      <p:sp>
        <p:nvSpPr>
          <p:cNvPr id="41" name="Text Placeholder 3">
            <a:extLst>
              <a:ext uri="{FF2B5EF4-FFF2-40B4-BE49-F238E27FC236}">
                <a16:creationId xmlns:a16="http://schemas.microsoft.com/office/drawing/2014/main" id="{5A77C7A3-F720-4A92-9AAF-8B1201983510}"/>
              </a:ext>
            </a:extLst>
          </p:cNvPr>
          <p:cNvSpPr txBox="1">
            <a:spLocks/>
          </p:cNvSpPr>
          <p:nvPr/>
        </p:nvSpPr>
        <p:spPr>
          <a:xfrm>
            <a:off x="3393317" y="3524079"/>
            <a:ext cx="2595728" cy="27699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000" kern="1200" spc="0" baseline="0">
                <a:gradFill>
                  <a:gsLst>
                    <a:gs pos="0">
                      <a:schemeClr val="tx1"/>
                    </a:gs>
                    <a:gs pos="100000">
                      <a:schemeClr val="tx1"/>
                    </a:gs>
                  </a:gsLst>
                  <a:lin ang="5400000" scaled="0"/>
                </a:gra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800">
                <a:solidFill>
                  <a:srgbClr val="0078D4"/>
                </a:solidFill>
              </a:rPr>
              <a:t>Internal LOB</a:t>
            </a:r>
            <a:r>
              <a:rPr kumimoji="0" lang="en-US" sz="1800" b="0" i="0" u="none" strike="noStrike" kern="1200" cap="none" spc="0" normalizeH="0" baseline="0" noProof="0">
                <a:ln>
                  <a:noFill/>
                </a:ln>
                <a:solidFill>
                  <a:srgbClr val="0078D4"/>
                </a:solidFill>
                <a:effectLst/>
                <a:uLnTx/>
                <a:uFillTx/>
                <a:ea typeface="+mn-ea"/>
                <a:cs typeface="Segoe UI Semilight" panose="020B0402040204020203" pitchFamily="34" charset="0"/>
              </a:rPr>
              <a:t> Search</a:t>
            </a:r>
          </a:p>
        </p:txBody>
      </p:sp>
      <p:sp>
        <p:nvSpPr>
          <p:cNvPr id="42" name="Text Placeholder 3">
            <a:extLst>
              <a:ext uri="{FF2B5EF4-FFF2-40B4-BE49-F238E27FC236}">
                <a16:creationId xmlns:a16="http://schemas.microsoft.com/office/drawing/2014/main" id="{3CF4105B-F038-45C0-95F5-A4E70D4DE56E}"/>
              </a:ext>
            </a:extLst>
          </p:cNvPr>
          <p:cNvSpPr txBox="1">
            <a:spLocks/>
          </p:cNvSpPr>
          <p:nvPr/>
        </p:nvSpPr>
        <p:spPr>
          <a:xfrm>
            <a:off x="6145364" y="3524079"/>
            <a:ext cx="2539762" cy="55399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000" kern="1200" spc="0" baseline="0">
                <a:gradFill>
                  <a:gsLst>
                    <a:gs pos="0">
                      <a:schemeClr val="tx1"/>
                    </a:gs>
                    <a:gs pos="100000">
                      <a:schemeClr val="tx1"/>
                    </a:gs>
                  </a:gsLst>
                  <a:lin ang="5400000" scaled="0"/>
                </a:gra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ea typeface="+mn-ea"/>
                <a:cs typeface="Segoe UI Semilight" panose="020B0402040204020203" pitchFamily="34" charset="0"/>
              </a:rPr>
              <a:t>Entity Linking and Document </a:t>
            </a:r>
            <a:r>
              <a:rPr lang="en-US" sz="1800">
                <a:solidFill>
                  <a:srgbClr val="0078D4"/>
                </a:solidFill>
              </a:rPr>
              <a:t>M</a:t>
            </a:r>
            <a:r>
              <a:rPr kumimoji="0" lang="en-US" sz="1800" b="0" i="0" u="none" strike="noStrike" kern="1200" cap="none" spc="0" normalizeH="0" baseline="0" noProof="0" err="1">
                <a:ln>
                  <a:noFill/>
                </a:ln>
                <a:solidFill>
                  <a:srgbClr val="0078D4"/>
                </a:solidFill>
                <a:effectLst/>
                <a:uLnTx/>
                <a:uFillTx/>
                <a:ea typeface="+mn-ea"/>
                <a:cs typeface="Segoe UI Semilight" panose="020B0402040204020203" pitchFamily="34" charset="0"/>
              </a:rPr>
              <a:t>atching</a:t>
            </a:r>
            <a:endParaRPr kumimoji="0" lang="en-US" sz="1800" b="0" i="0" u="none" strike="noStrike" kern="1200" cap="none" spc="0" normalizeH="0" baseline="0" noProof="0">
              <a:ln>
                <a:noFill/>
              </a:ln>
              <a:solidFill>
                <a:srgbClr val="0078D4"/>
              </a:solidFill>
              <a:effectLst/>
              <a:uLnTx/>
              <a:uFillTx/>
              <a:ea typeface="+mn-ea"/>
              <a:cs typeface="Segoe UI Semilight" panose="020B0402040204020203" pitchFamily="34" charset="0"/>
            </a:endParaRPr>
          </a:p>
        </p:txBody>
      </p:sp>
      <p:sp>
        <p:nvSpPr>
          <p:cNvPr id="43" name="Text Placeholder 3">
            <a:extLst>
              <a:ext uri="{FF2B5EF4-FFF2-40B4-BE49-F238E27FC236}">
                <a16:creationId xmlns:a16="http://schemas.microsoft.com/office/drawing/2014/main" id="{D6EAE50D-972B-48BE-ADAE-716D654DB10D}"/>
              </a:ext>
            </a:extLst>
          </p:cNvPr>
          <p:cNvSpPr txBox="1">
            <a:spLocks/>
          </p:cNvSpPr>
          <p:nvPr/>
        </p:nvSpPr>
        <p:spPr>
          <a:xfrm>
            <a:off x="8924925" y="3524079"/>
            <a:ext cx="2453433" cy="55399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000" kern="1200" spc="0" baseline="0">
                <a:gradFill>
                  <a:gsLst>
                    <a:gs pos="0">
                      <a:schemeClr val="tx1"/>
                    </a:gs>
                    <a:gs pos="100000">
                      <a:schemeClr val="tx1"/>
                    </a:gs>
                  </a:gsLst>
                  <a:lin ang="5400000" scaled="0"/>
                </a:gra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ea typeface="+mn-ea"/>
                <a:cs typeface="Segoe UI Semilight" panose="020B0402040204020203" pitchFamily="34" charset="0"/>
              </a:rPr>
              <a:t>Contract Management &amp; Custom Alerts</a:t>
            </a:r>
          </a:p>
        </p:txBody>
      </p:sp>
      <p:sp>
        <p:nvSpPr>
          <p:cNvPr id="44" name="TextBox 43">
            <a:extLst>
              <a:ext uri="{FF2B5EF4-FFF2-40B4-BE49-F238E27FC236}">
                <a16:creationId xmlns:a16="http://schemas.microsoft.com/office/drawing/2014/main" id="{56BC1C88-7F80-4235-B605-E09CBC5CE07F}"/>
              </a:ext>
            </a:extLst>
          </p:cNvPr>
          <p:cNvSpPr txBox="1"/>
          <p:nvPr/>
        </p:nvSpPr>
        <p:spPr>
          <a:xfrm>
            <a:off x="840014" y="4261999"/>
            <a:ext cx="2286000" cy="17851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a:ln>
                  <a:noFill/>
                </a:ln>
                <a:gradFill>
                  <a:gsLst>
                    <a:gs pos="2917">
                      <a:prstClr val="black"/>
                    </a:gs>
                    <a:gs pos="30000">
                      <a:prstClr val="black"/>
                    </a:gs>
                  </a:gsLst>
                  <a:lin ang="5400000" scaled="0"/>
                </a:gradFill>
                <a:effectLst/>
                <a:uLnTx/>
                <a:uFillTx/>
                <a:ea typeface="+mn-ea"/>
                <a:cs typeface="+mn-cs"/>
              </a:rPr>
              <a:t>“I want to surface relevant product details or content to my custom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prstClr val="black"/>
                  </a:gs>
                  <a:gs pos="30000">
                    <a:prstClr val="black"/>
                  </a:gs>
                </a:gsLst>
                <a:lin ang="5400000" scaled="0"/>
              </a:gra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2917">
                      <a:prstClr val="black"/>
                    </a:gs>
                    <a:gs pos="30000">
                      <a:prstClr val="black"/>
                    </a:gs>
                  </a:gsLst>
                  <a:lin ang="5400000" scaled="0"/>
                </a:gradFill>
                <a:effectLst/>
                <a:uLnTx/>
                <a:uFillTx/>
                <a:ea typeface="+mn-ea"/>
                <a:cs typeface="+mn-cs"/>
              </a:rPr>
              <a:t>Retai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0">
                <a:gradFill>
                  <a:gsLst>
                    <a:gs pos="2917">
                      <a:prstClr val="black"/>
                    </a:gs>
                    <a:gs pos="30000">
                      <a:prstClr val="black"/>
                    </a:gs>
                  </a:gsLst>
                  <a:lin ang="5400000" scaled="0"/>
                </a:gradFill>
              </a:rPr>
              <a:t>Telecommunication</a:t>
            </a:r>
            <a:endParaRPr kumimoji="0" lang="en-US" sz="1200" b="1" i="0" u="none" strike="noStrike" kern="0" cap="none" spc="0" normalizeH="0" baseline="0" noProof="0">
              <a:ln>
                <a:noFill/>
              </a:ln>
              <a:gradFill>
                <a:gsLst>
                  <a:gs pos="2917">
                    <a:prstClr val="black"/>
                  </a:gs>
                  <a:gs pos="30000">
                    <a:prstClr val="black"/>
                  </a:gs>
                </a:gsLst>
                <a:lin ang="5400000" scaled="0"/>
              </a:gra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2917">
                      <a:prstClr val="black"/>
                    </a:gs>
                    <a:gs pos="30000">
                      <a:prstClr val="black"/>
                    </a:gs>
                  </a:gsLst>
                  <a:lin ang="5400000" scaled="0"/>
                </a:gradFill>
                <a:effectLst/>
                <a:uLnTx/>
                <a:uFillTx/>
                <a:ea typeface="+mn-ea"/>
                <a:cs typeface="+mn-cs"/>
              </a:rPr>
              <a:t>Media &amp; Entertainment</a:t>
            </a:r>
          </a:p>
        </p:txBody>
      </p:sp>
      <p:sp>
        <p:nvSpPr>
          <p:cNvPr id="45" name="Rectangle 44">
            <a:extLst>
              <a:ext uri="{FF2B5EF4-FFF2-40B4-BE49-F238E27FC236}">
                <a16:creationId xmlns:a16="http://schemas.microsoft.com/office/drawing/2014/main" id="{D18B6313-AA97-4602-9DB2-5AE49551CF41}"/>
              </a:ext>
            </a:extLst>
          </p:cNvPr>
          <p:cNvSpPr/>
          <p:nvPr/>
        </p:nvSpPr>
        <p:spPr>
          <a:xfrm>
            <a:off x="3343531" y="4261999"/>
            <a:ext cx="2645513" cy="18774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a:ln>
                  <a:noFill/>
                </a:ln>
                <a:solidFill>
                  <a:prstClr val="black"/>
                </a:solidFill>
                <a:effectLst/>
                <a:uLnTx/>
                <a:uFillTx/>
                <a:ea typeface="+mn-ea"/>
                <a:cs typeface="+mn-cs"/>
              </a:rPr>
              <a:t>“I want to manage my business content and have a one-stop-shop to search everyth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Cross-Indust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Application Integration, Finance, Legal, Sales, Support, HR</a:t>
            </a:r>
          </a:p>
        </p:txBody>
      </p:sp>
      <p:sp>
        <p:nvSpPr>
          <p:cNvPr id="46" name="Rectangle 45">
            <a:extLst>
              <a:ext uri="{FF2B5EF4-FFF2-40B4-BE49-F238E27FC236}">
                <a16:creationId xmlns:a16="http://schemas.microsoft.com/office/drawing/2014/main" id="{D9B4BCE1-7777-43AF-87CC-F4F65085EC4A}"/>
              </a:ext>
            </a:extLst>
          </p:cNvPr>
          <p:cNvSpPr/>
          <p:nvPr/>
        </p:nvSpPr>
        <p:spPr>
          <a:xfrm>
            <a:off x="6125768" y="4261999"/>
            <a:ext cx="2526551" cy="212365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a:ln>
                  <a:noFill/>
                </a:ln>
                <a:solidFill>
                  <a:prstClr val="black"/>
                </a:solidFill>
                <a:effectLst/>
                <a:uLnTx/>
                <a:uFillTx/>
                <a:ea typeface="+mn-ea"/>
                <a:cs typeface="Segoe UI" panose="020B0502040204020203" pitchFamily="34" charset="0"/>
              </a:rPr>
              <a:t>“I want to match, group, and merge related material across my data sour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Segoe UI" panose="020B0502040204020203" pitchFamily="34" charset="0"/>
              </a:rPr>
              <a:t>Cross-Indust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Segoe UI" panose="020B0502040204020203" pitchFamily="34" charset="0"/>
              </a:rPr>
              <a:t>Knowledge Dis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Legal, Compliance, Media, Go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ea typeface="+mn-ea"/>
                <a:cs typeface="Segoe UI" panose="020B0502040204020203" pitchFamily="34" charset="0"/>
              </a:rPr>
              <a:t> </a:t>
            </a:r>
            <a:endParaRPr kumimoji="0" lang="en-US" sz="1600" b="1" i="0" u="none" strike="noStrike" kern="0" cap="none" spc="0" normalizeH="0" baseline="0" noProof="0">
              <a:ln>
                <a:noFill/>
              </a:ln>
              <a:solidFill>
                <a:prstClr val="black"/>
              </a:solidFill>
              <a:effectLst/>
              <a:uLnTx/>
              <a:uFillTx/>
              <a:ea typeface="+mn-ea"/>
              <a:cs typeface="+mn-cs"/>
            </a:endParaRPr>
          </a:p>
        </p:txBody>
      </p:sp>
      <p:sp>
        <p:nvSpPr>
          <p:cNvPr id="47" name="Rectangle 46">
            <a:extLst>
              <a:ext uri="{FF2B5EF4-FFF2-40B4-BE49-F238E27FC236}">
                <a16:creationId xmlns:a16="http://schemas.microsoft.com/office/drawing/2014/main" id="{CABFD21D-ED86-44C2-84BD-F273B2DE626A}"/>
              </a:ext>
            </a:extLst>
          </p:cNvPr>
          <p:cNvSpPr/>
          <p:nvPr/>
        </p:nvSpPr>
        <p:spPr>
          <a:xfrm>
            <a:off x="8815417" y="4261999"/>
            <a:ext cx="2681818" cy="18774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a:ln>
                  <a:noFill/>
                </a:ln>
                <a:solidFill>
                  <a:prstClr val="black"/>
                </a:solidFill>
                <a:effectLst/>
                <a:uLnTx/>
                <a:uFillTx/>
                <a:ea typeface="+mn-ea"/>
                <a:cs typeface="+mn-cs"/>
              </a:rPr>
              <a:t>“I want to deeply understand my data in order to filter and drill down on specific signa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Cross-Indust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Knowledge Dis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ea typeface="+mn-ea"/>
                <a:cs typeface="+mn-cs"/>
              </a:rPr>
              <a:t>FSI, Retail, Healthcare, …</a:t>
            </a:r>
          </a:p>
        </p:txBody>
      </p:sp>
      <p:sp>
        <p:nvSpPr>
          <p:cNvPr id="48" name="Text Placeholder 3">
            <a:extLst>
              <a:ext uri="{FF2B5EF4-FFF2-40B4-BE49-F238E27FC236}">
                <a16:creationId xmlns:a16="http://schemas.microsoft.com/office/drawing/2014/main" id="{F03C899F-83F2-4F35-AAC5-3E7903754B5B}"/>
              </a:ext>
            </a:extLst>
          </p:cNvPr>
          <p:cNvSpPr txBox="1">
            <a:spLocks/>
          </p:cNvSpPr>
          <p:nvPr/>
        </p:nvSpPr>
        <p:spPr>
          <a:xfrm>
            <a:off x="685150" y="3524079"/>
            <a:ext cx="2595728" cy="27699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000" kern="1200" spc="0" baseline="0">
                <a:gradFill>
                  <a:gsLst>
                    <a:gs pos="0">
                      <a:schemeClr val="tx1"/>
                    </a:gs>
                    <a:gs pos="100000">
                      <a:schemeClr val="tx1"/>
                    </a:gs>
                  </a:gsLst>
                  <a:lin ang="5400000" scaled="0"/>
                </a:gra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ea typeface="+mn-ea"/>
                <a:cs typeface="Segoe UI Semilight" panose="020B0402040204020203" pitchFamily="34" charset="0"/>
              </a:rPr>
              <a:t>Customer Facing Search</a:t>
            </a:r>
          </a:p>
        </p:txBody>
      </p:sp>
      <p:sp>
        <p:nvSpPr>
          <p:cNvPr id="49" name="Oval 48">
            <a:extLst>
              <a:ext uri="{FF2B5EF4-FFF2-40B4-BE49-F238E27FC236}">
                <a16:creationId xmlns:a16="http://schemas.microsoft.com/office/drawing/2014/main" id="{3311694C-A14F-4418-8507-A64A3B6F3C1F}"/>
              </a:ext>
            </a:extLst>
          </p:cNvPr>
          <p:cNvSpPr/>
          <p:nvPr/>
        </p:nvSpPr>
        <p:spPr bwMode="auto">
          <a:xfrm>
            <a:off x="1327216" y="1896307"/>
            <a:ext cx="1320800" cy="1320800"/>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Oval 49">
            <a:extLst>
              <a:ext uri="{FF2B5EF4-FFF2-40B4-BE49-F238E27FC236}">
                <a16:creationId xmlns:a16="http://schemas.microsoft.com/office/drawing/2014/main" id="{4F476BA9-C1E0-4467-AA86-AFB2EDC6DB2F}"/>
              </a:ext>
            </a:extLst>
          </p:cNvPr>
          <p:cNvSpPr/>
          <p:nvPr/>
        </p:nvSpPr>
        <p:spPr bwMode="auto">
          <a:xfrm>
            <a:off x="4030307" y="1896307"/>
            <a:ext cx="1320800" cy="1320800"/>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Oval 50">
            <a:extLst>
              <a:ext uri="{FF2B5EF4-FFF2-40B4-BE49-F238E27FC236}">
                <a16:creationId xmlns:a16="http://schemas.microsoft.com/office/drawing/2014/main" id="{D5FDC6BF-95C5-4E3A-9972-B142FA34C09C}"/>
              </a:ext>
            </a:extLst>
          </p:cNvPr>
          <p:cNvSpPr/>
          <p:nvPr/>
        </p:nvSpPr>
        <p:spPr bwMode="auto">
          <a:xfrm>
            <a:off x="6733398" y="1896307"/>
            <a:ext cx="1320800" cy="1320800"/>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Oval 51">
            <a:extLst>
              <a:ext uri="{FF2B5EF4-FFF2-40B4-BE49-F238E27FC236}">
                <a16:creationId xmlns:a16="http://schemas.microsoft.com/office/drawing/2014/main" id="{A6FCFED0-A8DE-4D67-B943-4675F0AB3294}"/>
              </a:ext>
            </a:extLst>
          </p:cNvPr>
          <p:cNvSpPr/>
          <p:nvPr/>
        </p:nvSpPr>
        <p:spPr bwMode="auto">
          <a:xfrm>
            <a:off x="9436488" y="1896307"/>
            <a:ext cx="1320800" cy="1320800"/>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 name="Group 308">
            <a:extLst>
              <a:ext uri="{FF2B5EF4-FFF2-40B4-BE49-F238E27FC236}">
                <a16:creationId xmlns:a16="http://schemas.microsoft.com/office/drawing/2014/main" id="{972E16E2-FBFB-4508-8B5D-C9A4908FD27F}"/>
              </a:ext>
            </a:extLst>
          </p:cNvPr>
          <p:cNvGrpSpPr>
            <a:grpSpLocks noChangeAspect="1"/>
          </p:cNvGrpSpPr>
          <p:nvPr/>
        </p:nvGrpSpPr>
        <p:grpSpPr bwMode="auto">
          <a:xfrm>
            <a:off x="1699663" y="2274498"/>
            <a:ext cx="566701" cy="564417"/>
            <a:chOff x="6763" y="3372"/>
            <a:chExt cx="248" cy="247"/>
          </a:xfrm>
          <a:solidFill>
            <a:sysClr val="window" lastClr="FFFFFF"/>
          </a:solidFill>
        </p:grpSpPr>
        <p:sp>
          <p:nvSpPr>
            <p:cNvPr id="54" name="Freeform 309">
              <a:extLst>
                <a:ext uri="{FF2B5EF4-FFF2-40B4-BE49-F238E27FC236}">
                  <a16:creationId xmlns:a16="http://schemas.microsoft.com/office/drawing/2014/main" id="{8897914E-DEE7-4C30-96AE-A846F72CB8AF}"/>
                </a:ext>
              </a:extLst>
            </p:cNvPr>
            <p:cNvSpPr>
              <a:spLocks/>
            </p:cNvSpPr>
            <p:nvPr/>
          </p:nvSpPr>
          <p:spPr bwMode="auto">
            <a:xfrm>
              <a:off x="6796" y="3404"/>
              <a:ext cx="166" cy="116"/>
            </a:xfrm>
            <a:custGeom>
              <a:avLst/>
              <a:gdLst>
                <a:gd name="T0" fmla="*/ 163 w 267"/>
                <a:gd name="T1" fmla="*/ 187 h 187"/>
                <a:gd name="T2" fmla="*/ 163 w 267"/>
                <a:gd name="T3" fmla="*/ 187 h 187"/>
                <a:gd name="T4" fmla="*/ 267 w 267"/>
                <a:gd name="T5" fmla="*/ 84 h 187"/>
                <a:gd name="T6" fmla="*/ 267 w 267"/>
                <a:gd name="T7" fmla="*/ 84 h 187"/>
                <a:gd name="T8" fmla="*/ 267 w 267"/>
                <a:gd name="T9" fmla="*/ 0 h 187"/>
                <a:gd name="T10" fmla="*/ 0 w 267"/>
                <a:gd name="T11" fmla="*/ 0 h 187"/>
                <a:gd name="T12" fmla="*/ 0 w 267"/>
                <a:gd name="T13" fmla="*/ 187 h 187"/>
                <a:gd name="T14" fmla="*/ 163 w 267"/>
                <a:gd name="T15" fmla="*/ 187 h 187"/>
                <a:gd name="T16" fmla="*/ 163 w 267"/>
                <a:gd name="T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87">
                  <a:moveTo>
                    <a:pt x="163" y="187"/>
                  </a:moveTo>
                  <a:lnTo>
                    <a:pt x="163" y="187"/>
                  </a:lnTo>
                  <a:cubicBezTo>
                    <a:pt x="163" y="130"/>
                    <a:pt x="210" y="83"/>
                    <a:pt x="267" y="84"/>
                  </a:cubicBezTo>
                  <a:lnTo>
                    <a:pt x="267" y="84"/>
                  </a:lnTo>
                  <a:lnTo>
                    <a:pt x="267" y="0"/>
                  </a:lnTo>
                  <a:lnTo>
                    <a:pt x="0" y="0"/>
                  </a:lnTo>
                  <a:lnTo>
                    <a:pt x="0" y="187"/>
                  </a:lnTo>
                  <a:lnTo>
                    <a:pt x="163" y="187"/>
                  </a:lnTo>
                  <a:lnTo>
                    <a:pt x="163" y="1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5" name="Freeform 310">
              <a:extLst>
                <a:ext uri="{FF2B5EF4-FFF2-40B4-BE49-F238E27FC236}">
                  <a16:creationId xmlns:a16="http://schemas.microsoft.com/office/drawing/2014/main" id="{EEFE21F5-6D84-4CB9-A2E6-194821804475}"/>
                </a:ext>
              </a:extLst>
            </p:cNvPr>
            <p:cNvSpPr>
              <a:spLocks/>
            </p:cNvSpPr>
            <p:nvPr/>
          </p:nvSpPr>
          <p:spPr bwMode="auto">
            <a:xfrm>
              <a:off x="6763" y="3372"/>
              <a:ext cx="166" cy="115"/>
            </a:xfrm>
            <a:custGeom>
              <a:avLst/>
              <a:gdLst>
                <a:gd name="T0" fmla="*/ 267 w 267"/>
                <a:gd name="T1" fmla="*/ 0 h 185"/>
                <a:gd name="T2" fmla="*/ 267 w 267"/>
                <a:gd name="T3" fmla="*/ 0 h 185"/>
                <a:gd name="T4" fmla="*/ 1 w 267"/>
                <a:gd name="T5" fmla="*/ 0 h 185"/>
                <a:gd name="T6" fmla="*/ 0 w 267"/>
                <a:gd name="T7" fmla="*/ 185 h 185"/>
                <a:gd name="T8" fmla="*/ 27 w 267"/>
                <a:gd name="T9" fmla="*/ 185 h 185"/>
                <a:gd name="T10" fmla="*/ 27 w 267"/>
                <a:gd name="T11" fmla="*/ 27 h 185"/>
                <a:gd name="T12" fmla="*/ 267 w 267"/>
                <a:gd name="T13" fmla="*/ 27 h 185"/>
                <a:gd name="T14" fmla="*/ 267 w 267"/>
                <a:gd name="T15" fmla="*/ 0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85">
                  <a:moveTo>
                    <a:pt x="267" y="0"/>
                  </a:moveTo>
                  <a:lnTo>
                    <a:pt x="267" y="0"/>
                  </a:lnTo>
                  <a:lnTo>
                    <a:pt x="1" y="0"/>
                  </a:lnTo>
                  <a:lnTo>
                    <a:pt x="0" y="185"/>
                  </a:lnTo>
                  <a:lnTo>
                    <a:pt x="27" y="185"/>
                  </a:lnTo>
                  <a:lnTo>
                    <a:pt x="27" y="27"/>
                  </a:lnTo>
                  <a:lnTo>
                    <a:pt x="267" y="27"/>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6" name="Freeform 311">
              <a:extLst>
                <a:ext uri="{FF2B5EF4-FFF2-40B4-BE49-F238E27FC236}">
                  <a16:creationId xmlns:a16="http://schemas.microsoft.com/office/drawing/2014/main" id="{BBBB1953-F8D5-4258-98F4-7602EA56FF8A}"/>
                </a:ext>
              </a:extLst>
            </p:cNvPr>
            <p:cNvSpPr>
              <a:spLocks noEditPoints="1"/>
            </p:cNvSpPr>
            <p:nvPr/>
          </p:nvSpPr>
          <p:spPr bwMode="auto">
            <a:xfrm>
              <a:off x="6862" y="3471"/>
              <a:ext cx="149" cy="148"/>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grpSp>
      <p:grpSp>
        <p:nvGrpSpPr>
          <p:cNvPr id="57" name="Group 152">
            <a:extLst>
              <a:ext uri="{FF2B5EF4-FFF2-40B4-BE49-F238E27FC236}">
                <a16:creationId xmlns:a16="http://schemas.microsoft.com/office/drawing/2014/main" id="{6C7C095E-8F8C-4B3C-810D-74660C20D6FB}"/>
              </a:ext>
            </a:extLst>
          </p:cNvPr>
          <p:cNvGrpSpPr>
            <a:grpSpLocks noChangeAspect="1"/>
          </p:cNvGrpSpPr>
          <p:nvPr/>
        </p:nvGrpSpPr>
        <p:grpSpPr bwMode="auto">
          <a:xfrm>
            <a:off x="4413002" y="2344004"/>
            <a:ext cx="543559" cy="424072"/>
            <a:chOff x="5032" y="2130"/>
            <a:chExt cx="232" cy="181"/>
          </a:xfrm>
          <a:solidFill>
            <a:sysClr val="window" lastClr="FFFFFF"/>
          </a:solidFill>
        </p:grpSpPr>
        <p:sp>
          <p:nvSpPr>
            <p:cNvPr id="58" name="Freeform 153">
              <a:extLst>
                <a:ext uri="{FF2B5EF4-FFF2-40B4-BE49-F238E27FC236}">
                  <a16:creationId xmlns:a16="http://schemas.microsoft.com/office/drawing/2014/main" id="{B4611EA3-4E0B-4256-B045-67ACDAB8A97D}"/>
                </a:ext>
              </a:extLst>
            </p:cNvPr>
            <p:cNvSpPr>
              <a:spLocks/>
            </p:cNvSpPr>
            <p:nvPr/>
          </p:nvSpPr>
          <p:spPr bwMode="auto">
            <a:xfrm>
              <a:off x="5032" y="2162"/>
              <a:ext cx="67" cy="17"/>
            </a:xfrm>
            <a:custGeom>
              <a:avLst/>
              <a:gdLst>
                <a:gd name="T0" fmla="*/ 107 w 107"/>
                <a:gd name="T1" fmla="*/ 0 h 26"/>
                <a:gd name="T2" fmla="*/ 107 w 107"/>
                <a:gd name="T3" fmla="*/ 0 h 26"/>
                <a:gd name="T4" fmla="*/ 0 w 107"/>
                <a:gd name="T5" fmla="*/ 0 h 26"/>
                <a:gd name="T6" fmla="*/ 0 w 107"/>
                <a:gd name="T7" fmla="*/ 26 h 26"/>
                <a:gd name="T8" fmla="*/ 107 w 107"/>
                <a:gd name="T9" fmla="*/ 26 h 26"/>
                <a:gd name="T10" fmla="*/ 107 w 107"/>
                <a:gd name="T11" fmla="*/ 0 h 26"/>
              </a:gdLst>
              <a:ahLst/>
              <a:cxnLst>
                <a:cxn ang="0">
                  <a:pos x="T0" y="T1"/>
                </a:cxn>
                <a:cxn ang="0">
                  <a:pos x="T2" y="T3"/>
                </a:cxn>
                <a:cxn ang="0">
                  <a:pos x="T4" y="T5"/>
                </a:cxn>
                <a:cxn ang="0">
                  <a:pos x="T6" y="T7"/>
                </a:cxn>
                <a:cxn ang="0">
                  <a:pos x="T8" y="T9"/>
                </a:cxn>
                <a:cxn ang="0">
                  <a:pos x="T10" y="T11"/>
                </a:cxn>
              </a:cxnLst>
              <a:rect l="0" t="0" r="r" b="b"/>
              <a:pathLst>
                <a:path w="107" h="26">
                  <a:moveTo>
                    <a:pt x="107" y="0"/>
                  </a:moveTo>
                  <a:lnTo>
                    <a:pt x="107" y="0"/>
                  </a:lnTo>
                  <a:lnTo>
                    <a:pt x="0" y="0"/>
                  </a:lnTo>
                  <a:lnTo>
                    <a:pt x="0" y="26"/>
                  </a:lnTo>
                  <a:lnTo>
                    <a:pt x="107" y="26"/>
                  </a:lnTo>
                  <a:lnTo>
                    <a:pt x="1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9" name="Freeform 154">
              <a:extLst>
                <a:ext uri="{FF2B5EF4-FFF2-40B4-BE49-F238E27FC236}">
                  <a16:creationId xmlns:a16="http://schemas.microsoft.com/office/drawing/2014/main" id="{E47AE6A7-CB73-45B8-8DD1-CCE8A5BC5449}"/>
                </a:ext>
              </a:extLst>
            </p:cNvPr>
            <p:cNvSpPr>
              <a:spLocks noEditPoints="1"/>
            </p:cNvSpPr>
            <p:nvPr/>
          </p:nvSpPr>
          <p:spPr bwMode="auto">
            <a:xfrm>
              <a:off x="5115" y="2162"/>
              <a:ext cx="149" cy="117"/>
            </a:xfrm>
            <a:custGeom>
              <a:avLst/>
              <a:gdLst>
                <a:gd name="T0" fmla="*/ 27 w 240"/>
                <a:gd name="T1" fmla="*/ 133 h 187"/>
                <a:gd name="T2" fmla="*/ 27 w 240"/>
                <a:gd name="T3" fmla="*/ 133 h 187"/>
                <a:gd name="T4" fmla="*/ 214 w 240"/>
                <a:gd name="T5" fmla="*/ 133 h 187"/>
                <a:gd name="T6" fmla="*/ 214 w 240"/>
                <a:gd name="T7" fmla="*/ 160 h 187"/>
                <a:gd name="T8" fmla="*/ 27 w 240"/>
                <a:gd name="T9" fmla="*/ 160 h 187"/>
                <a:gd name="T10" fmla="*/ 27 w 240"/>
                <a:gd name="T11" fmla="*/ 133 h 187"/>
                <a:gd name="T12" fmla="*/ 27 w 240"/>
                <a:gd name="T13" fmla="*/ 80 h 187"/>
                <a:gd name="T14" fmla="*/ 27 w 240"/>
                <a:gd name="T15" fmla="*/ 80 h 187"/>
                <a:gd name="T16" fmla="*/ 214 w 240"/>
                <a:gd name="T17" fmla="*/ 80 h 187"/>
                <a:gd name="T18" fmla="*/ 214 w 240"/>
                <a:gd name="T19" fmla="*/ 107 h 187"/>
                <a:gd name="T20" fmla="*/ 27 w 240"/>
                <a:gd name="T21" fmla="*/ 107 h 187"/>
                <a:gd name="T22" fmla="*/ 27 w 240"/>
                <a:gd name="T23" fmla="*/ 80 h 187"/>
                <a:gd name="T24" fmla="*/ 27 w 240"/>
                <a:gd name="T25" fmla="*/ 27 h 187"/>
                <a:gd name="T26" fmla="*/ 27 w 240"/>
                <a:gd name="T27" fmla="*/ 27 h 187"/>
                <a:gd name="T28" fmla="*/ 214 w 240"/>
                <a:gd name="T29" fmla="*/ 27 h 187"/>
                <a:gd name="T30" fmla="*/ 214 w 240"/>
                <a:gd name="T31" fmla="*/ 53 h 187"/>
                <a:gd name="T32" fmla="*/ 27 w 240"/>
                <a:gd name="T33" fmla="*/ 53 h 187"/>
                <a:gd name="T34" fmla="*/ 27 w 240"/>
                <a:gd name="T35" fmla="*/ 27 h 187"/>
                <a:gd name="T36" fmla="*/ 107 w 240"/>
                <a:gd name="T37" fmla="*/ 187 h 187"/>
                <a:gd name="T38" fmla="*/ 107 w 240"/>
                <a:gd name="T39" fmla="*/ 187 h 187"/>
                <a:gd name="T40" fmla="*/ 240 w 240"/>
                <a:gd name="T41" fmla="*/ 187 h 187"/>
                <a:gd name="T42" fmla="*/ 240 w 240"/>
                <a:gd name="T43" fmla="*/ 0 h 187"/>
                <a:gd name="T44" fmla="*/ 0 w 240"/>
                <a:gd name="T45" fmla="*/ 0 h 187"/>
                <a:gd name="T46" fmla="*/ 0 w 240"/>
                <a:gd name="T47" fmla="*/ 187 h 187"/>
                <a:gd name="T48" fmla="*/ 107 w 240"/>
                <a:gd name="T49" fmla="*/ 187 h 187"/>
                <a:gd name="T50" fmla="*/ 107 w 240"/>
                <a:gd name="T5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0" h="187">
                  <a:moveTo>
                    <a:pt x="27" y="133"/>
                  </a:moveTo>
                  <a:lnTo>
                    <a:pt x="27" y="133"/>
                  </a:lnTo>
                  <a:lnTo>
                    <a:pt x="214" y="133"/>
                  </a:lnTo>
                  <a:lnTo>
                    <a:pt x="214" y="160"/>
                  </a:lnTo>
                  <a:lnTo>
                    <a:pt x="27" y="160"/>
                  </a:lnTo>
                  <a:lnTo>
                    <a:pt x="27" y="133"/>
                  </a:lnTo>
                  <a:close/>
                  <a:moveTo>
                    <a:pt x="27" y="80"/>
                  </a:moveTo>
                  <a:lnTo>
                    <a:pt x="27" y="80"/>
                  </a:lnTo>
                  <a:lnTo>
                    <a:pt x="214" y="80"/>
                  </a:lnTo>
                  <a:lnTo>
                    <a:pt x="214" y="107"/>
                  </a:lnTo>
                  <a:lnTo>
                    <a:pt x="27" y="107"/>
                  </a:lnTo>
                  <a:lnTo>
                    <a:pt x="27" y="80"/>
                  </a:lnTo>
                  <a:close/>
                  <a:moveTo>
                    <a:pt x="27" y="27"/>
                  </a:moveTo>
                  <a:lnTo>
                    <a:pt x="27" y="27"/>
                  </a:lnTo>
                  <a:lnTo>
                    <a:pt x="214" y="27"/>
                  </a:lnTo>
                  <a:lnTo>
                    <a:pt x="214" y="53"/>
                  </a:lnTo>
                  <a:lnTo>
                    <a:pt x="27" y="53"/>
                  </a:lnTo>
                  <a:lnTo>
                    <a:pt x="27" y="27"/>
                  </a:lnTo>
                  <a:close/>
                  <a:moveTo>
                    <a:pt x="107" y="187"/>
                  </a:moveTo>
                  <a:lnTo>
                    <a:pt x="107" y="187"/>
                  </a:lnTo>
                  <a:lnTo>
                    <a:pt x="240" y="187"/>
                  </a:lnTo>
                  <a:lnTo>
                    <a:pt x="240" y="0"/>
                  </a:lnTo>
                  <a:lnTo>
                    <a:pt x="0" y="0"/>
                  </a:lnTo>
                  <a:lnTo>
                    <a:pt x="0" y="187"/>
                  </a:lnTo>
                  <a:lnTo>
                    <a:pt x="107" y="187"/>
                  </a:lnTo>
                  <a:lnTo>
                    <a:pt x="107" y="1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0" name="Freeform 155">
              <a:extLst>
                <a:ext uri="{FF2B5EF4-FFF2-40B4-BE49-F238E27FC236}">
                  <a16:creationId xmlns:a16="http://schemas.microsoft.com/office/drawing/2014/main" id="{F1084E9C-0B93-444A-B68A-3A8EF81D2ED9}"/>
                </a:ext>
              </a:extLst>
            </p:cNvPr>
            <p:cNvSpPr>
              <a:spLocks/>
            </p:cNvSpPr>
            <p:nvPr/>
          </p:nvSpPr>
          <p:spPr bwMode="auto">
            <a:xfrm>
              <a:off x="5032" y="2195"/>
              <a:ext cx="149" cy="116"/>
            </a:xfrm>
            <a:custGeom>
              <a:avLst/>
              <a:gdLst>
                <a:gd name="T0" fmla="*/ 240 w 240"/>
                <a:gd name="T1" fmla="*/ 161 h 187"/>
                <a:gd name="T2" fmla="*/ 240 w 240"/>
                <a:gd name="T3" fmla="*/ 161 h 187"/>
                <a:gd name="T4" fmla="*/ 27 w 240"/>
                <a:gd name="T5" fmla="*/ 161 h 187"/>
                <a:gd name="T6" fmla="*/ 27 w 240"/>
                <a:gd name="T7" fmla="*/ 134 h 187"/>
                <a:gd name="T8" fmla="*/ 107 w 240"/>
                <a:gd name="T9" fmla="*/ 134 h 187"/>
                <a:gd name="T10" fmla="*/ 107 w 240"/>
                <a:gd name="T11" fmla="*/ 107 h 187"/>
                <a:gd name="T12" fmla="*/ 27 w 240"/>
                <a:gd name="T13" fmla="*/ 107 h 187"/>
                <a:gd name="T14" fmla="*/ 27 w 240"/>
                <a:gd name="T15" fmla="*/ 81 h 187"/>
                <a:gd name="T16" fmla="*/ 107 w 240"/>
                <a:gd name="T17" fmla="*/ 81 h 187"/>
                <a:gd name="T18" fmla="*/ 107 w 240"/>
                <a:gd name="T19" fmla="*/ 54 h 187"/>
                <a:gd name="T20" fmla="*/ 27 w 240"/>
                <a:gd name="T21" fmla="*/ 54 h 187"/>
                <a:gd name="T22" fmla="*/ 27 w 240"/>
                <a:gd name="T23" fmla="*/ 27 h 187"/>
                <a:gd name="T24" fmla="*/ 107 w 240"/>
                <a:gd name="T25" fmla="*/ 27 h 187"/>
                <a:gd name="T26" fmla="*/ 107 w 240"/>
                <a:gd name="T27" fmla="*/ 0 h 187"/>
                <a:gd name="T28" fmla="*/ 0 w 240"/>
                <a:gd name="T29" fmla="*/ 0 h 187"/>
                <a:gd name="T30" fmla="*/ 0 w 240"/>
                <a:gd name="T31" fmla="*/ 187 h 187"/>
                <a:gd name="T32" fmla="*/ 240 w 240"/>
                <a:gd name="T33" fmla="*/ 187 h 187"/>
                <a:gd name="T34" fmla="*/ 240 w 240"/>
                <a:gd name="T35" fmla="*/ 16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187">
                  <a:moveTo>
                    <a:pt x="240" y="161"/>
                  </a:moveTo>
                  <a:lnTo>
                    <a:pt x="240" y="161"/>
                  </a:lnTo>
                  <a:lnTo>
                    <a:pt x="27" y="161"/>
                  </a:lnTo>
                  <a:lnTo>
                    <a:pt x="27" y="134"/>
                  </a:lnTo>
                  <a:lnTo>
                    <a:pt x="107" y="134"/>
                  </a:lnTo>
                  <a:lnTo>
                    <a:pt x="107" y="107"/>
                  </a:lnTo>
                  <a:lnTo>
                    <a:pt x="27" y="107"/>
                  </a:lnTo>
                  <a:lnTo>
                    <a:pt x="27" y="81"/>
                  </a:lnTo>
                  <a:lnTo>
                    <a:pt x="107" y="81"/>
                  </a:lnTo>
                  <a:lnTo>
                    <a:pt x="107" y="54"/>
                  </a:lnTo>
                  <a:lnTo>
                    <a:pt x="27" y="54"/>
                  </a:lnTo>
                  <a:lnTo>
                    <a:pt x="27" y="27"/>
                  </a:lnTo>
                  <a:lnTo>
                    <a:pt x="107" y="27"/>
                  </a:lnTo>
                  <a:lnTo>
                    <a:pt x="107" y="0"/>
                  </a:lnTo>
                  <a:lnTo>
                    <a:pt x="0" y="0"/>
                  </a:lnTo>
                  <a:lnTo>
                    <a:pt x="0" y="187"/>
                  </a:lnTo>
                  <a:lnTo>
                    <a:pt x="240" y="187"/>
                  </a:lnTo>
                  <a:lnTo>
                    <a:pt x="240" y="1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1" name="Freeform 156">
              <a:extLst>
                <a:ext uri="{FF2B5EF4-FFF2-40B4-BE49-F238E27FC236}">
                  <a16:creationId xmlns:a16="http://schemas.microsoft.com/office/drawing/2014/main" id="{32354DB1-ADDD-4451-A20B-5AE6E527E009}"/>
                </a:ext>
              </a:extLst>
            </p:cNvPr>
            <p:cNvSpPr>
              <a:spLocks/>
            </p:cNvSpPr>
            <p:nvPr/>
          </p:nvSpPr>
          <p:spPr bwMode="auto">
            <a:xfrm>
              <a:off x="5115" y="2130"/>
              <a:ext cx="149" cy="16"/>
            </a:xfrm>
            <a:custGeom>
              <a:avLst/>
              <a:gdLst>
                <a:gd name="T0" fmla="*/ 240 w 240"/>
                <a:gd name="T1" fmla="*/ 0 h 26"/>
                <a:gd name="T2" fmla="*/ 240 w 240"/>
                <a:gd name="T3" fmla="*/ 0 h 26"/>
                <a:gd name="T4" fmla="*/ 0 w 240"/>
                <a:gd name="T5" fmla="*/ 0 h 26"/>
                <a:gd name="T6" fmla="*/ 0 w 240"/>
                <a:gd name="T7" fmla="*/ 26 h 26"/>
                <a:gd name="T8" fmla="*/ 240 w 240"/>
                <a:gd name="T9" fmla="*/ 26 h 26"/>
                <a:gd name="T10" fmla="*/ 240 w 240"/>
                <a:gd name="T11" fmla="*/ 0 h 26"/>
              </a:gdLst>
              <a:ahLst/>
              <a:cxnLst>
                <a:cxn ang="0">
                  <a:pos x="T0" y="T1"/>
                </a:cxn>
                <a:cxn ang="0">
                  <a:pos x="T2" y="T3"/>
                </a:cxn>
                <a:cxn ang="0">
                  <a:pos x="T4" y="T5"/>
                </a:cxn>
                <a:cxn ang="0">
                  <a:pos x="T6" y="T7"/>
                </a:cxn>
                <a:cxn ang="0">
                  <a:pos x="T8" y="T9"/>
                </a:cxn>
                <a:cxn ang="0">
                  <a:pos x="T10" y="T11"/>
                </a:cxn>
              </a:cxnLst>
              <a:rect l="0" t="0" r="r" b="b"/>
              <a:pathLst>
                <a:path w="240" h="26">
                  <a:moveTo>
                    <a:pt x="240" y="0"/>
                  </a:moveTo>
                  <a:lnTo>
                    <a:pt x="240" y="0"/>
                  </a:lnTo>
                  <a:lnTo>
                    <a:pt x="0" y="0"/>
                  </a:lnTo>
                  <a:lnTo>
                    <a:pt x="0" y="26"/>
                  </a:lnTo>
                  <a:lnTo>
                    <a:pt x="240" y="26"/>
                  </a:lnTo>
                  <a:lnTo>
                    <a:pt x="2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grpSp>
      <p:grpSp>
        <p:nvGrpSpPr>
          <p:cNvPr id="62" name="Group 86">
            <a:extLst>
              <a:ext uri="{FF2B5EF4-FFF2-40B4-BE49-F238E27FC236}">
                <a16:creationId xmlns:a16="http://schemas.microsoft.com/office/drawing/2014/main" id="{AB6F7D1A-A8A5-4F9B-95B2-02A85E0F612A}"/>
              </a:ext>
            </a:extLst>
          </p:cNvPr>
          <p:cNvGrpSpPr>
            <a:grpSpLocks noChangeAspect="1"/>
          </p:cNvGrpSpPr>
          <p:nvPr/>
        </p:nvGrpSpPr>
        <p:grpSpPr bwMode="auto">
          <a:xfrm>
            <a:off x="7202378" y="2298778"/>
            <a:ext cx="425378" cy="514472"/>
            <a:chOff x="3307" y="1459"/>
            <a:chExt cx="191" cy="231"/>
          </a:xfrm>
          <a:solidFill>
            <a:sysClr val="window" lastClr="FFFFFF"/>
          </a:solidFill>
        </p:grpSpPr>
        <p:sp>
          <p:nvSpPr>
            <p:cNvPr id="63" name="Freeform 87">
              <a:extLst>
                <a:ext uri="{FF2B5EF4-FFF2-40B4-BE49-F238E27FC236}">
                  <a16:creationId xmlns:a16="http://schemas.microsoft.com/office/drawing/2014/main" id="{8491F85C-08D3-4259-BC87-B1327EBEE14F}"/>
                </a:ext>
              </a:extLst>
            </p:cNvPr>
            <p:cNvSpPr>
              <a:spLocks/>
            </p:cNvSpPr>
            <p:nvPr/>
          </p:nvSpPr>
          <p:spPr bwMode="auto">
            <a:xfrm>
              <a:off x="3489" y="1549"/>
              <a:ext cx="9" cy="59"/>
            </a:xfrm>
            <a:custGeom>
              <a:avLst/>
              <a:gdLst>
                <a:gd name="T0" fmla="*/ 0 w 14"/>
                <a:gd name="T1" fmla="*/ 94 h 94"/>
                <a:gd name="T2" fmla="*/ 0 w 14"/>
                <a:gd name="T3" fmla="*/ 94 h 94"/>
                <a:gd name="T4" fmla="*/ 14 w 14"/>
                <a:gd name="T5" fmla="*/ 94 h 94"/>
                <a:gd name="T6" fmla="*/ 14 w 14"/>
                <a:gd name="T7" fmla="*/ 0 h 94"/>
                <a:gd name="T8" fmla="*/ 0 w 14"/>
                <a:gd name="T9" fmla="*/ 0 h 94"/>
                <a:gd name="T10" fmla="*/ 0 w 14"/>
                <a:gd name="T11" fmla="*/ 94 h 94"/>
              </a:gdLst>
              <a:ahLst/>
              <a:cxnLst>
                <a:cxn ang="0">
                  <a:pos x="T0" y="T1"/>
                </a:cxn>
                <a:cxn ang="0">
                  <a:pos x="T2" y="T3"/>
                </a:cxn>
                <a:cxn ang="0">
                  <a:pos x="T4" y="T5"/>
                </a:cxn>
                <a:cxn ang="0">
                  <a:pos x="T6" y="T7"/>
                </a:cxn>
                <a:cxn ang="0">
                  <a:pos x="T8" y="T9"/>
                </a:cxn>
                <a:cxn ang="0">
                  <a:pos x="T10" y="T11"/>
                </a:cxn>
              </a:cxnLst>
              <a:rect l="0" t="0" r="r" b="b"/>
              <a:pathLst>
                <a:path w="14" h="94">
                  <a:moveTo>
                    <a:pt x="0" y="94"/>
                  </a:moveTo>
                  <a:lnTo>
                    <a:pt x="0" y="94"/>
                  </a:lnTo>
                  <a:lnTo>
                    <a:pt x="14" y="94"/>
                  </a:lnTo>
                  <a:lnTo>
                    <a:pt x="14" y="0"/>
                  </a:lnTo>
                  <a:lnTo>
                    <a:pt x="0" y="0"/>
                  </a:lnTo>
                  <a:lnTo>
                    <a:pt x="0" y="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4" name="Freeform 88">
              <a:extLst>
                <a:ext uri="{FF2B5EF4-FFF2-40B4-BE49-F238E27FC236}">
                  <a16:creationId xmlns:a16="http://schemas.microsoft.com/office/drawing/2014/main" id="{8BBAA8F9-1B67-45E7-8B86-2AB6EBA8E6D3}"/>
                </a:ext>
              </a:extLst>
            </p:cNvPr>
            <p:cNvSpPr>
              <a:spLocks noEditPoints="1"/>
            </p:cNvSpPr>
            <p:nvPr/>
          </p:nvSpPr>
          <p:spPr bwMode="auto">
            <a:xfrm>
              <a:off x="3307" y="1459"/>
              <a:ext cx="190" cy="231"/>
            </a:xfrm>
            <a:custGeom>
              <a:avLst/>
              <a:gdLst>
                <a:gd name="T0" fmla="*/ 228 w 306"/>
                <a:gd name="T1" fmla="*/ 66 h 373"/>
                <a:gd name="T2" fmla="*/ 228 w 306"/>
                <a:gd name="T3" fmla="*/ 66 h 373"/>
                <a:gd name="T4" fmla="*/ 53 w 306"/>
                <a:gd name="T5" fmla="*/ 66 h 373"/>
                <a:gd name="T6" fmla="*/ 53 w 306"/>
                <a:gd name="T7" fmla="*/ 40 h 373"/>
                <a:gd name="T8" fmla="*/ 228 w 306"/>
                <a:gd name="T9" fmla="*/ 40 h 373"/>
                <a:gd name="T10" fmla="*/ 228 w 306"/>
                <a:gd name="T11" fmla="*/ 66 h 373"/>
                <a:gd name="T12" fmla="*/ 228 w 306"/>
                <a:gd name="T13" fmla="*/ 120 h 373"/>
                <a:gd name="T14" fmla="*/ 228 w 306"/>
                <a:gd name="T15" fmla="*/ 120 h 373"/>
                <a:gd name="T16" fmla="*/ 53 w 306"/>
                <a:gd name="T17" fmla="*/ 120 h 373"/>
                <a:gd name="T18" fmla="*/ 53 w 306"/>
                <a:gd name="T19" fmla="*/ 93 h 373"/>
                <a:gd name="T20" fmla="*/ 228 w 306"/>
                <a:gd name="T21" fmla="*/ 93 h 373"/>
                <a:gd name="T22" fmla="*/ 228 w 306"/>
                <a:gd name="T23" fmla="*/ 120 h 373"/>
                <a:gd name="T24" fmla="*/ 228 w 306"/>
                <a:gd name="T25" fmla="*/ 173 h 373"/>
                <a:gd name="T26" fmla="*/ 228 w 306"/>
                <a:gd name="T27" fmla="*/ 173 h 373"/>
                <a:gd name="T28" fmla="*/ 53 w 306"/>
                <a:gd name="T29" fmla="*/ 173 h 373"/>
                <a:gd name="T30" fmla="*/ 53 w 306"/>
                <a:gd name="T31" fmla="*/ 146 h 373"/>
                <a:gd name="T32" fmla="*/ 228 w 306"/>
                <a:gd name="T33" fmla="*/ 146 h 373"/>
                <a:gd name="T34" fmla="*/ 228 w 306"/>
                <a:gd name="T35" fmla="*/ 173 h 373"/>
                <a:gd name="T36" fmla="*/ 228 w 306"/>
                <a:gd name="T37" fmla="*/ 226 h 373"/>
                <a:gd name="T38" fmla="*/ 228 w 306"/>
                <a:gd name="T39" fmla="*/ 226 h 373"/>
                <a:gd name="T40" fmla="*/ 53 w 306"/>
                <a:gd name="T41" fmla="*/ 226 h 373"/>
                <a:gd name="T42" fmla="*/ 53 w 306"/>
                <a:gd name="T43" fmla="*/ 200 h 373"/>
                <a:gd name="T44" fmla="*/ 228 w 306"/>
                <a:gd name="T45" fmla="*/ 200 h 373"/>
                <a:gd name="T46" fmla="*/ 228 w 306"/>
                <a:gd name="T47" fmla="*/ 226 h 373"/>
                <a:gd name="T48" fmla="*/ 228 w 306"/>
                <a:gd name="T49" fmla="*/ 280 h 373"/>
                <a:gd name="T50" fmla="*/ 228 w 306"/>
                <a:gd name="T51" fmla="*/ 280 h 373"/>
                <a:gd name="T52" fmla="*/ 53 w 306"/>
                <a:gd name="T53" fmla="*/ 280 h 373"/>
                <a:gd name="T54" fmla="*/ 53 w 306"/>
                <a:gd name="T55" fmla="*/ 253 h 373"/>
                <a:gd name="T56" fmla="*/ 228 w 306"/>
                <a:gd name="T57" fmla="*/ 253 h 373"/>
                <a:gd name="T58" fmla="*/ 228 w 306"/>
                <a:gd name="T59" fmla="*/ 280 h 373"/>
                <a:gd name="T60" fmla="*/ 228 w 306"/>
                <a:gd name="T61" fmla="*/ 333 h 373"/>
                <a:gd name="T62" fmla="*/ 228 w 306"/>
                <a:gd name="T63" fmla="*/ 333 h 373"/>
                <a:gd name="T64" fmla="*/ 53 w 306"/>
                <a:gd name="T65" fmla="*/ 333 h 373"/>
                <a:gd name="T66" fmla="*/ 53 w 306"/>
                <a:gd name="T67" fmla="*/ 306 h 373"/>
                <a:gd name="T68" fmla="*/ 228 w 306"/>
                <a:gd name="T69" fmla="*/ 306 h 373"/>
                <a:gd name="T70" fmla="*/ 228 w 306"/>
                <a:gd name="T71" fmla="*/ 333 h 373"/>
                <a:gd name="T72" fmla="*/ 306 w 306"/>
                <a:gd name="T73" fmla="*/ 26 h 373"/>
                <a:gd name="T74" fmla="*/ 306 w 306"/>
                <a:gd name="T75" fmla="*/ 26 h 373"/>
                <a:gd name="T76" fmla="*/ 266 w 306"/>
                <a:gd name="T77" fmla="*/ 26 h 373"/>
                <a:gd name="T78" fmla="*/ 266 w 306"/>
                <a:gd name="T79" fmla="*/ 0 h 373"/>
                <a:gd name="T80" fmla="*/ 0 w 306"/>
                <a:gd name="T81" fmla="*/ 0 h 373"/>
                <a:gd name="T82" fmla="*/ 0 w 306"/>
                <a:gd name="T83" fmla="*/ 373 h 373"/>
                <a:gd name="T84" fmla="*/ 266 w 306"/>
                <a:gd name="T85" fmla="*/ 373 h 373"/>
                <a:gd name="T86" fmla="*/ 266 w 306"/>
                <a:gd name="T87" fmla="*/ 266 h 373"/>
                <a:gd name="T88" fmla="*/ 266 w 306"/>
                <a:gd name="T89" fmla="*/ 240 h 373"/>
                <a:gd name="T90" fmla="*/ 266 w 306"/>
                <a:gd name="T91" fmla="*/ 120 h 373"/>
                <a:gd name="T92" fmla="*/ 306 w 306"/>
                <a:gd name="T93" fmla="*/ 120 h 373"/>
                <a:gd name="T94" fmla="*/ 306 w 306"/>
                <a:gd name="T95" fmla="*/ 2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6" h="373">
                  <a:moveTo>
                    <a:pt x="228" y="66"/>
                  </a:moveTo>
                  <a:lnTo>
                    <a:pt x="228" y="66"/>
                  </a:lnTo>
                  <a:lnTo>
                    <a:pt x="53" y="66"/>
                  </a:lnTo>
                  <a:lnTo>
                    <a:pt x="53" y="40"/>
                  </a:lnTo>
                  <a:lnTo>
                    <a:pt x="228" y="40"/>
                  </a:lnTo>
                  <a:lnTo>
                    <a:pt x="228" y="66"/>
                  </a:lnTo>
                  <a:close/>
                  <a:moveTo>
                    <a:pt x="228" y="120"/>
                  </a:moveTo>
                  <a:lnTo>
                    <a:pt x="228" y="120"/>
                  </a:lnTo>
                  <a:lnTo>
                    <a:pt x="53" y="120"/>
                  </a:lnTo>
                  <a:lnTo>
                    <a:pt x="53" y="93"/>
                  </a:lnTo>
                  <a:lnTo>
                    <a:pt x="228" y="93"/>
                  </a:lnTo>
                  <a:lnTo>
                    <a:pt x="228" y="120"/>
                  </a:lnTo>
                  <a:close/>
                  <a:moveTo>
                    <a:pt x="228" y="173"/>
                  </a:moveTo>
                  <a:lnTo>
                    <a:pt x="228" y="173"/>
                  </a:lnTo>
                  <a:lnTo>
                    <a:pt x="53" y="173"/>
                  </a:lnTo>
                  <a:lnTo>
                    <a:pt x="53" y="146"/>
                  </a:lnTo>
                  <a:lnTo>
                    <a:pt x="228" y="146"/>
                  </a:lnTo>
                  <a:lnTo>
                    <a:pt x="228" y="173"/>
                  </a:lnTo>
                  <a:close/>
                  <a:moveTo>
                    <a:pt x="228" y="226"/>
                  </a:moveTo>
                  <a:lnTo>
                    <a:pt x="228" y="226"/>
                  </a:lnTo>
                  <a:lnTo>
                    <a:pt x="53" y="226"/>
                  </a:lnTo>
                  <a:lnTo>
                    <a:pt x="53" y="200"/>
                  </a:lnTo>
                  <a:lnTo>
                    <a:pt x="228" y="200"/>
                  </a:lnTo>
                  <a:lnTo>
                    <a:pt x="228" y="226"/>
                  </a:lnTo>
                  <a:close/>
                  <a:moveTo>
                    <a:pt x="228" y="280"/>
                  </a:moveTo>
                  <a:lnTo>
                    <a:pt x="228" y="280"/>
                  </a:lnTo>
                  <a:lnTo>
                    <a:pt x="53" y="280"/>
                  </a:lnTo>
                  <a:lnTo>
                    <a:pt x="53" y="253"/>
                  </a:lnTo>
                  <a:lnTo>
                    <a:pt x="228" y="253"/>
                  </a:lnTo>
                  <a:lnTo>
                    <a:pt x="228" y="280"/>
                  </a:lnTo>
                  <a:close/>
                  <a:moveTo>
                    <a:pt x="228" y="333"/>
                  </a:moveTo>
                  <a:lnTo>
                    <a:pt x="228" y="333"/>
                  </a:lnTo>
                  <a:lnTo>
                    <a:pt x="53" y="333"/>
                  </a:lnTo>
                  <a:lnTo>
                    <a:pt x="53" y="306"/>
                  </a:lnTo>
                  <a:lnTo>
                    <a:pt x="228" y="306"/>
                  </a:lnTo>
                  <a:lnTo>
                    <a:pt x="228" y="333"/>
                  </a:lnTo>
                  <a:close/>
                  <a:moveTo>
                    <a:pt x="306" y="26"/>
                  </a:moveTo>
                  <a:lnTo>
                    <a:pt x="306" y="26"/>
                  </a:lnTo>
                  <a:lnTo>
                    <a:pt x="266" y="26"/>
                  </a:lnTo>
                  <a:lnTo>
                    <a:pt x="266" y="0"/>
                  </a:lnTo>
                  <a:lnTo>
                    <a:pt x="0" y="0"/>
                  </a:lnTo>
                  <a:lnTo>
                    <a:pt x="0" y="373"/>
                  </a:lnTo>
                  <a:lnTo>
                    <a:pt x="266" y="373"/>
                  </a:lnTo>
                  <a:lnTo>
                    <a:pt x="266" y="266"/>
                  </a:lnTo>
                  <a:lnTo>
                    <a:pt x="266" y="240"/>
                  </a:lnTo>
                  <a:lnTo>
                    <a:pt x="266" y="120"/>
                  </a:lnTo>
                  <a:lnTo>
                    <a:pt x="306" y="120"/>
                  </a:lnTo>
                  <a:lnTo>
                    <a:pt x="306" y="2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5" name="Freeform 89">
              <a:extLst>
                <a:ext uri="{FF2B5EF4-FFF2-40B4-BE49-F238E27FC236}">
                  <a16:creationId xmlns:a16="http://schemas.microsoft.com/office/drawing/2014/main" id="{E6E2EFAD-AF34-4F34-A687-9097A55D2ADB}"/>
                </a:ext>
              </a:extLst>
            </p:cNvPr>
            <p:cNvSpPr>
              <a:spLocks/>
            </p:cNvSpPr>
            <p:nvPr/>
          </p:nvSpPr>
          <p:spPr bwMode="auto">
            <a:xfrm>
              <a:off x="3489" y="1624"/>
              <a:ext cx="9" cy="58"/>
            </a:xfrm>
            <a:custGeom>
              <a:avLst/>
              <a:gdLst>
                <a:gd name="T0" fmla="*/ 0 w 14"/>
                <a:gd name="T1" fmla="*/ 94 h 94"/>
                <a:gd name="T2" fmla="*/ 0 w 14"/>
                <a:gd name="T3" fmla="*/ 94 h 94"/>
                <a:gd name="T4" fmla="*/ 14 w 14"/>
                <a:gd name="T5" fmla="*/ 94 h 94"/>
                <a:gd name="T6" fmla="*/ 14 w 14"/>
                <a:gd name="T7" fmla="*/ 0 h 94"/>
                <a:gd name="T8" fmla="*/ 0 w 14"/>
                <a:gd name="T9" fmla="*/ 0 h 94"/>
                <a:gd name="T10" fmla="*/ 0 w 14"/>
                <a:gd name="T11" fmla="*/ 94 h 94"/>
              </a:gdLst>
              <a:ahLst/>
              <a:cxnLst>
                <a:cxn ang="0">
                  <a:pos x="T0" y="T1"/>
                </a:cxn>
                <a:cxn ang="0">
                  <a:pos x="T2" y="T3"/>
                </a:cxn>
                <a:cxn ang="0">
                  <a:pos x="T4" y="T5"/>
                </a:cxn>
                <a:cxn ang="0">
                  <a:pos x="T6" y="T7"/>
                </a:cxn>
                <a:cxn ang="0">
                  <a:pos x="T8" y="T9"/>
                </a:cxn>
                <a:cxn ang="0">
                  <a:pos x="T10" y="T11"/>
                </a:cxn>
              </a:cxnLst>
              <a:rect l="0" t="0" r="r" b="b"/>
              <a:pathLst>
                <a:path w="14" h="94">
                  <a:moveTo>
                    <a:pt x="0" y="94"/>
                  </a:moveTo>
                  <a:lnTo>
                    <a:pt x="0" y="94"/>
                  </a:lnTo>
                  <a:lnTo>
                    <a:pt x="14" y="94"/>
                  </a:lnTo>
                  <a:lnTo>
                    <a:pt x="14" y="0"/>
                  </a:lnTo>
                  <a:lnTo>
                    <a:pt x="0" y="0"/>
                  </a:lnTo>
                  <a:lnTo>
                    <a:pt x="0" y="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grpSp>
      <p:grpSp>
        <p:nvGrpSpPr>
          <p:cNvPr id="66" name="Group 326">
            <a:extLst>
              <a:ext uri="{FF2B5EF4-FFF2-40B4-BE49-F238E27FC236}">
                <a16:creationId xmlns:a16="http://schemas.microsoft.com/office/drawing/2014/main" id="{EE69CD3D-B1F9-4AB2-9ABA-D46CD796BCA0}"/>
              </a:ext>
            </a:extLst>
          </p:cNvPr>
          <p:cNvGrpSpPr>
            <a:grpSpLocks noChangeAspect="1"/>
          </p:cNvGrpSpPr>
          <p:nvPr/>
        </p:nvGrpSpPr>
        <p:grpSpPr bwMode="auto">
          <a:xfrm>
            <a:off x="9814373" y="2290130"/>
            <a:ext cx="531796" cy="531796"/>
            <a:chOff x="6760" y="819"/>
            <a:chExt cx="220" cy="220"/>
          </a:xfrm>
        </p:grpSpPr>
        <p:sp>
          <p:nvSpPr>
            <p:cNvPr id="67" name="Freeform 327">
              <a:extLst>
                <a:ext uri="{FF2B5EF4-FFF2-40B4-BE49-F238E27FC236}">
                  <a16:creationId xmlns:a16="http://schemas.microsoft.com/office/drawing/2014/main" id="{2B92511D-9887-47F1-8AAF-83D0BDBE85FE}"/>
                </a:ext>
              </a:extLst>
            </p:cNvPr>
            <p:cNvSpPr>
              <a:spLocks/>
            </p:cNvSpPr>
            <p:nvPr/>
          </p:nvSpPr>
          <p:spPr bwMode="auto">
            <a:xfrm>
              <a:off x="6760" y="819"/>
              <a:ext cx="220" cy="220"/>
            </a:xfrm>
            <a:prstGeom prst="ellipse">
              <a:avLst/>
            </a:pr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8" name="Freeform 328">
              <a:extLst>
                <a:ext uri="{FF2B5EF4-FFF2-40B4-BE49-F238E27FC236}">
                  <a16:creationId xmlns:a16="http://schemas.microsoft.com/office/drawing/2014/main" id="{1797F9A3-C5D4-48D3-BC9A-D9C4115009CA}"/>
                </a:ext>
              </a:extLst>
            </p:cNvPr>
            <p:cNvSpPr>
              <a:spLocks/>
            </p:cNvSpPr>
            <p:nvPr/>
          </p:nvSpPr>
          <p:spPr bwMode="auto">
            <a:xfrm>
              <a:off x="6862" y="984"/>
              <a:ext cx="16" cy="16"/>
            </a:xfrm>
            <a:custGeom>
              <a:avLst/>
              <a:gdLst>
                <a:gd name="T0" fmla="*/ 0 w 27"/>
                <a:gd name="T1" fmla="*/ 26 h 26"/>
                <a:gd name="T2" fmla="*/ 0 w 27"/>
                <a:gd name="T3" fmla="*/ 26 h 26"/>
                <a:gd name="T4" fmla="*/ 0 w 27"/>
                <a:gd name="T5" fmla="*/ 0 h 26"/>
                <a:gd name="T6" fmla="*/ 27 w 27"/>
                <a:gd name="T7" fmla="*/ 0 h 26"/>
              </a:gdLst>
              <a:ahLst/>
              <a:cxnLst>
                <a:cxn ang="0">
                  <a:pos x="T0" y="T1"/>
                </a:cxn>
                <a:cxn ang="0">
                  <a:pos x="T2" y="T3"/>
                </a:cxn>
                <a:cxn ang="0">
                  <a:pos x="T4" y="T5"/>
                </a:cxn>
                <a:cxn ang="0">
                  <a:pos x="T6" y="T7"/>
                </a:cxn>
              </a:cxnLst>
              <a:rect l="0" t="0" r="r" b="b"/>
              <a:pathLst>
                <a:path w="27" h="26">
                  <a:moveTo>
                    <a:pt x="0" y="26"/>
                  </a:moveTo>
                  <a:lnTo>
                    <a:pt x="0" y="26"/>
                  </a:lnTo>
                  <a:lnTo>
                    <a:pt x="0" y="0"/>
                  </a:lnTo>
                  <a:lnTo>
                    <a:pt x="27" y="0"/>
                  </a:lnTo>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9" name="Freeform 329">
              <a:extLst>
                <a:ext uri="{FF2B5EF4-FFF2-40B4-BE49-F238E27FC236}">
                  <a16:creationId xmlns:a16="http://schemas.microsoft.com/office/drawing/2014/main" id="{C0AF3254-0570-4BF1-93F1-954C1B524656}"/>
                </a:ext>
              </a:extLst>
            </p:cNvPr>
            <p:cNvSpPr>
              <a:spLocks/>
            </p:cNvSpPr>
            <p:nvPr/>
          </p:nvSpPr>
          <p:spPr bwMode="auto">
            <a:xfrm>
              <a:off x="6862" y="851"/>
              <a:ext cx="16" cy="116"/>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70" name="Freeform 330">
              <a:extLst>
                <a:ext uri="{FF2B5EF4-FFF2-40B4-BE49-F238E27FC236}">
                  <a16:creationId xmlns:a16="http://schemas.microsoft.com/office/drawing/2014/main" id="{50D0550C-264F-4E05-965C-89031C687105}"/>
                </a:ext>
              </a:extLst>
            </p:cNvPr>
            <p:cNvSpPr>
              <a:spLocks/>
            </p:cNvSpPr>
            <p:nvPr/>
          </p:nvSpPr>
          <p:spPr bwMode="auto">
            <a:xfrm>
              <a:off x="6862" y="984"/>
              <a:ext cx="16" cy="16"/>
            </a:xfrm>
            <a:custGeom>
              <a:avLst/>
              <a:gdLst>
                <a:gd name="T0" fmla="*/ 27 w 27"/>
                <a:gd name="T1" fmla="*/ 0 h 26"/>
                <a:gd name="T2" fmla="*/ 27 w 27"/>
                <a:gd name="T3" fmla="*/ 0 h 26"/>
                <a:gd name="T4" fmla="*/ 27 w 27"/>
                <a:gd name="T5" fmla="*/ 26 h 26"/>
                <a:gd name="T6" fmla="*/ 0 w 27"/>
                <a:gd name="T7" fmla="*/ 26 h 26"/>
              </a:gdLst>
              <a:ahLst/>
              <a:cxnLst>
                <a:cxn ang="0">
                  <a:pos x="T0" y="T1"/>
                </a:cxn>
                <a:cxn ang="0">
                  <a:pos x="T2" y="T3"/>
                </a:cxn>
                <a:cxn ang="0">
                  <a:pos x="T4" y="T5"/>
                </a:cxn>
                <a:cxn ang="0">
                  <a:pos x="T6" y="T7"/>
                </a:cxn>
              </a:cxnLst>
              <a:rect l="0" t="0" r="r" b="b"/>
              <a:pathLst>
                <a:path w="27" h="26">
                  <a:moveTo>
                    <a:pt x="27" y="0"/>
                  </a:moveTo>
                  <a:lnTo>
                    <a:pt x="27" y="0"/>
                  </a:lnTo>
                  <a:lnTo>
                    <a:pt x="27" y="26"/>
                  </a:lnTo>
                  <a:lnTo>
                    <a:pt x="0" y="26"/>
                  </a:lnTo>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17480516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25C45A2-346D-4106-ACBE-67FDC4B14DCD}"/>
              </a:ext>
            </a:extLst>
          </p:cNvPr>
          <p:cNvSpPr/>
          <p:nvPr/>
        </p:nvSpPr>
        <p:spPr>
          <a:xfrm>
            <a:off x="8142187" y="4148385"/>
            <a:ext cx="1311276"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zure Web App</a:t>
            </a:r>
          </a:p>
        </p:txBody>
      </p:sp>
      <p:sp>
        <p:nvSpPr>
          <p:cNvPr id="27" name="Right Bracket 26">
            <a:extLst>
              <a:ext uri="{FF2B5EF4-FFF2-40B4-BE49-F238E27FC236}">
                <a16:creationId xmlns:a16="http://schemas.microsoft.com/office/drawing/2014/main" id="{3D28665C-BECA-4DA6-81C1-52927D59D5C1}"/>
              </a:ext>
            </a:extLst>
          </p:cNvPr>
          <p:cNvSpPr/>
          <p:nvPr/>
        </p:nvSpPr>
        <p:spPr>
          <a:xfrm>
            <a:off x="4199488" y="2575088"/>
            <a:ext cx="120493" cy="1791192"/>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1670E5CA-E52B-4604-89E5-26A5790748EA}"/>
              </a:ext>
            </a:extLst>
          </p:cNvPr>
          <p:cNvSpPr txBox="1"/>
          <p:nvPr/>
        </p:nvSpPr>
        <p:spPr>
          <a:xfrm>
            <a:off x="2779014" y="3025996"/>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roducts, pricing catalogue, orders</a:t>
            </a:r>
          </a:p>
        </p:txBody>
      </p:sp>
      <p:sp>
        <p:nvSpPr>
          <p:cNvPr id="29" name="Rectangle 28">
            <a:extLst>
              <a:ext uri="{FF2B5EF4-FFF2-40B4-BE49-F238E27FC236}">
                <a16:creationId xmlns:a16="http://schemas.microsoft.com/office/drawing/2014/main" id="{65AC649C-DA08-46C6-959F-1DE16BBDA53A}"/>
              </a:ext>
            </a:extLst>
          </p:cNvPr>
          <p:cNvSpPr/>
          <p:nvPr/>
        </p:nvSpPr>
        <p:spPr>
          <a:xfrm>
            <a:off x="2779014" y="2034088"/>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Ingest</a:t>
            </a:r>
          </a:p>
        </p:txBody>
      </p:sp>
      <p:cxnSp>
        <p:nvCxnSpPr>
          <p:cNvPr id="79" name="Straight Arrow Connector 78">
            <a:extLst>
              <a:ext uri="{FF2B5EF4-FFF2-40B4-BE49-F238E27FC236}">
                <a16:creationId xmlns:a16="http://schemas.microsoft.com/office/drawing/2014/main" id="{4C3E52EF-8FE6-4BF1-8A42-8D864CE29F0F}"/>
              </a:ext>
            </a:extLst>
          </p:cNvPr>
          <p:cNvCxnSpPr>
            <a:cxnSpLocks/>
          </p:cNvCxnSpPr>
          <p:nvPr/>
        </p:nvCxnSpPr>
        <p:spPr>
          <a:xfrm>
            <a:off x="4319981" y="3565611"/>
            <a:ext cx="79055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5ADACD7A-357C-4D8A-B1E6-606FEBD1CA64}"/>
              </a:ext>
            </a:extLst>
          </p:cNvPr>
          <p:cNvCxnSpPr>
            <a:cxnSpLocks/>
          </p:cNvCxnSpPr>
          <p:nvPr/>
        </p:nvCxnSpPr>
        <p:spPr>
          <a:xfrm>
            <a:off x="6830147" y="3476301"/>
            <a:ext cx="868134"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E5744810-87D4-4350-B383-29C66C8C239F}"/>
              </a:ext>
            </a:extLst>
          </p:cNvPr>
          <p:cNvSpPr txBox="1"/>
          <p:nvPr/>
        </p:nvSpPr>
        <p:spPr>
          <a:xfrm>
            <a:off x="2873658" y="4066747"/>
            <a:ext cx="1285784"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Invoicing sales</a:t>
            </a:r>
          </a:p>
        </p:txBody>
      </p:sp>
      <p:sp>
        <p:nvSpPr>
          <p:cNvPr id="122" name="Rectangle 121">
            <a:extLst>
              <a:ext uri="{FF2B5EF4-FFF2-40B4-BE49-F238E27FC236}">
                <a16:creationId xmlns:a16="http://schemas.microsoft.com/office/drawing/2014/main" id="{B0022912-9830-422A-8CBE-D708D63AEE61}"/>
              </a:ext>
            </a:extLst>
          </p:cNvPr>
          <p:cNvSpPr/>
          <p:nvPr/>
        </p:nvSpPr>
        <p:spPr>
          <a:xfrm>
            <a:off x="5248059" y="2015118"/>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earch index</a:t>
            </a:r>
          </a:p>
        </p:txBody>
      </p:sp>
      <p:sp>
        <p:nvSpPr>
          <p:cNvPr id="123" name="Rectangle 122">
            <a:extLst>
              <a:ext uri="{FF2B5EF4-FFF2-40B4-BE49-F238E27FC236}">
                <a16:creationId xmlns:a16="http://schemas.microsoft.com/office/drawing/2014/main" id="{8973C5A9-92F9-487A-AC93-0E8C3E69DEDD}"/>
              </a:ext>
            </a:extLst>
          </p:cNvPr>
          <p:cNvSpPr/>
          <p:nvPr/>
        </p:nvSpPr>
        <p:spPr>
          <a:xfrm>
            <a:off x="7865715" y="2034088"/>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xplore</a:t>
            </a:r>
          </a:p>
        </p:txBody>
      </p:sp>
      <p:sp>
        <p:nvSpPr>
          <p:cNvPr id="57" name="Rectangle 56">
            <a:extLst>
              <a:ext uri="{FF2B5EF4-FFF2-40B4-BE49-F238E27FC236}">
                <a16:creationId xmlns:a16="http://schemas.microsoft.com/office/drawing/2014/main" id="{0833F378-50DA-4BC3-B358-D6317FB092A7}"/>
              </a:ext>
            </a:extLst>
          </p:cNvPr>
          <p:cNvSpPr/>
          <p:nvPr/>
        </p:nvSpPr>
        <p:spPr>
          <a:xfrm>
            <a:off x="4093357" y="1452599"/>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earch</a:t>
            </a:r>
          </a:p>
        </p:txBody>
      </p:sp>
      <p:sp>
        <p:nvSpPr>
          <p:cNvPr id="42" name="Freeform 205">
            <a:extLst>
              <a:ext uri="{FF2B5EF4-FFF2-40B4-BE49-F238E27FC236}">
                <a16:creationId xmlns:a16="http://schemas.microsoft.com/office/drawing/2014/main" id="{BF74E383-5AC5-4204-BC34-662BC556CF25}"/>
              </a:ext>
            </a:extLst>
          </p:cNvPr>
          <p:cNvSpPr/>
          <p:nvPr/>
        </p:nvSpPr>
        <p:spPr bwMode="auto">
          <a:xfrm>
            <a:off x="11212709" y="518904"/>
            <a:ext cx="399212" cy="272483"/>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grpSp>
        <p:nvGrpSpPr>
          <p:cNvPr id="7" name="Group 6">
            <a:extLst>
              <a:ext uri="{FF2B5EF4-FFF2-40B4-BE49-F238E27FC236}">
                <a16:creationId xmlns:a16="http://schemas.microsoft.com/office/drawing/2014/main" id="{782B65E9-BFEF-4F5F-9F4A-246D287AB288}"/>
              </a:ext>
            </a:extLst>
          </p:cNvPr>
          <p:cNvGrpSpPr/>
          <p:nvPr/>
        </p:nvGrpSpPr>
        <p:grpSpPr>
          <a:xfrm>
            <a:off x="7991981" y="3046545"/>
            <a:ext cx="1222540" cy="958584"/>
            <a:chOff x="8598353" y="4344078"/>
            <a:chExt cx="944789" cy="740802"/>
          </a:xfrm>
        </p:grpSpPr>
        <p:sp>
          <p:nvSpPr>
            <p:cNvPr id="45" name="Freeform 5">
              <a:extLst>
                <a:ext uri="{FF2B5EF4-FFF2-40B4-BE49-F238E27FC236}">
                  <a16:creationId xmlns:a16="http://schemas.microsoft.com/office/drawing/2014/main" id="{AFD7EBAF-6C4F-4AB5-8342-42A1F4BB36DA}"/>
                </a:ext>
              </a:extLst>
            </p:cNvPr>
            <p:cNvSpPr>
              <a:spLocks/>
            </p:cNvSpPr>
            <p:nvPr/>
          </p:nvSpPr>
          <p:spPr bwMode="auto">
            <a:xfrm>
              <a:off x="8598353" y="4344078"/>
              <a:ext cx="944789" cy="740802"/>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useBgFill="1">
          <p:nvSpPr>
            <p:cNvPr id="6" name="Rectangle 5">
              <a:extLst>
                <a:ext uri="{FF2B5EF4-FFF2-40B4-BE49-F238E27FC236}">
                  <a16:creationId xmlns:a16="http://schemas.microsoft.com/office/drawing/2014/main" id="{AC6EFE31-B33F-4D68-98A1-ACBAF8E1FD34}"/>
                </a:ext>
              </a:extLst>
            </p:cNvPr>
            <p:cNvSpPr/>
            <p:nvPr/>
          </p:nvSpPr>
          <p:spPr bwMode="auto">
            <a:xfrm>
              <a:off x="8658600" y="4406671"/>
              <a:ext cx="824296" cy="47149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8D77CADB-71BE-44A1-B255-5128A3B94055}"/>
              </a:ext>
            </a:extLst>
          </p:cNvPr>
          <p:cNvGrpSpPr/>
          <p:nvPr/>
        </p:nvGrpSpPr>
        <p:grpSpPr>
          <a:xfrm>
            <a:off x="8328642" y="3217146"/>
            <a:ext cx="549218" cy="430854"/>
            <a:chOff x="9152808" y="3451427"/>
            <a:chExt cx="493296" cy="386984"/>
          </a:xfrm>
        </p:grpSpPr>
        <p:grpSp>
          <p:nvGrpSpPr>
            <p:cNvPr id="8" name="Group 7">
              <a:extLst>
                <a:ext uri="{FF2B5EF4-FFF2-40B4-BE49-F238E27FC236}">
                  <a16:creationId xmlns:a16="http://schemas.microsoft.com/office/drawing/2014/main" id="{5F42D6DF-8D56-4CAB-9C3F-0CE5D123247F}"/>
                </a:ext>
              </a:extLst>
            </p:cNvPr>
            <p:cNvGrpSpPr/>
            <p:nvPr/>
          </p:nvGrpSpPr>
          <p:grpSpPr>
            <a:xfrm>
              <a:off x="9152808" y="3451427"/>
              <a:ext cx="493296" cy="386984"/>
              <a:chOff x="9215306" y="3500456"/>
              <a:chExt cx="368300" cy="288925"/>
            </a:xfrm>
          </p:grpSpPr>
          <p:sp>
            <p:nvSpPr>
              <p:cNvPr id="55" name="Freeform 283">
                <a:extLst>
                  <a:ext uri="{FF2B5EF4-FFF2-40B4-BE49-F238E27FC236}">
                    <a16:creationId xmlns:a16="http://schemas.microsoft.com/office/drawing/2014/main" id="{817819C3-8ACA-489F-B7C5-B5D5F67C53D4}"/>
                  </a:ext>
                </a:extLst>
              </p:cNvPr>
              <p:cNvSpPr>
                <a:spLocks/>
              </p:cNvSpPr>
              <p:nvPr/>
            </p:nvSpPr>
            <p:spPr bwMode="auto">
              <a:xfrm>
                <a:off x="9215306" y="3579831"/>
                <a:ext cx="368300" cy="209550"/>
              </a:xfrm>
              <a:prstGeom prst="rect">
                <a:avLst/>
              </a:pr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284">
                <a:extLst>
                  <a:ext uri="{FF2B5EF4-FFF2-40B4-BE49-F238E27FC236}">
                    <a16:creationId xmlns:a16="http://schemas.microsoft.com/office/drawing/2014/main" id="{EEA97130-1F2B-469E-8DCE-25E43787B873}"/>
                  </a:ext>
                </a:extLst>
              </p:cNvPr>
              <p:cNvSpPr>
                <a:spLocks/>
              </p:cNvSpPr>
              <p:nvPr/>
            </p:nvSpPr>
            <p:spPr bwMode="auto">
              <a:xfrm>
                <a:off x="9215306" y="3500456"/>
                <a:ext cx="368300" cy="52388"/>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1" name="Graphic 9" descr="World">
              <a:extLst>
                <a:ext uri="{FF2B5EF4-FFF2-40B4-BE49-F238E27FC236}">
                  <a16:creationId xmlns:a16="http://schemas.microsoft.com/office/drawing/2014/main" id="{1B326203-C38F-4867-A763-79A3F8283CB9}"/>
                </a:ext>
              </a:extLst>
            </p:cNvPr>
            <p:cNvSpPr/>
            <p:nvPr/>
          </p:nvSpPr>
          <p:spPr>
            <a:xfrm>
              <a:off x="9295506" y="3594126"/>
              <a:ext cx="207900" cy="207900"/>
            </a:xfrm>
            <a:custGeom>
              <a:avLst/>
              <a:gdLst>
                <a:gd name="connsiteX0" fmla="*/ 421481 w 733425"/>
                <a:gd name="connsiteY0" fmla="*/ 669131 h 733425"/>
                <a:gd name="connsiteX1" fmla="*/ 558641 w 733425"/>
                <a:gd name="connsiteY1" fmla="*/ 388144 h 733425"/>
                <a:gd name="connsiteX2" fmla="*/ 672941 w 733425"/>
                <a:gd name="connsiteY2" fmla="*/ 388144 h 733425"/>
                <a:gd name="connsiteX3" fmla="*/ 421481 w 733425"/>
                <a:gd name="connsiteY3" fmla="*/ 669131 h 733425"/>
                <a:gd name="connsiteX4" fmla="*/ 65246 w 733425"/>
                <a:gd name="connsiteY4" fmla="*/ 388144 h 733425"/>
                <a:gd name="connsiteX5" fmla="*/ 179546 w 733425"/>
                <a:gd name="connsiteY5" fmla="*/ 388144 h 733425"/>
                <a:gd name="connsiteX6" fmla="*/ 316706 w 733425"/>
                <a:gd name="connsiteY6" fmla="*/ 669131 h 733425"/>
                <a:gd name="connsiteX7" fmla="*/ 65246 w 733425"/>
                <a:gd name="connsiteY7" fmla="*/ 388144 h 733425"/>
                <a:gd name="connsiteX8" fmla="*/ 316706 w 733425"/>
                <a:gd name="connsiteY8" fmla="*/ 69056 h 733425"/>
                <a:gd name="connsiteX9" fmla="*/ 179546 w 733425"/>
                <a:gd name="connsiteY9" fmla="*/ 350044 h 733425"/>
                <a:gd name="connsiteX10" fmla="*/ 65246 w 733425"/>
                <a:gd name="connsiteY10" fmla="*/ 350044 h 733425"/>
                <a:gd name="connsiteX11" fmla="*/ 316706 w 733425"/>
                <a:gd name="connsiteY11" fmla="*/ 69056 h 733425"/>
                <a:gd name="connsiteX12" fmla="*/ 388144 w 733425"/>
                <a:gd name="connsiteY12" fmla="*/ 388144 h 733425"/>
                <a:gd name="connsiteX13" fmla="*/ 520541 w 733425"/>
                <a:gd name="connsiteY13" fmla="*/ 388144 h 733425"/>
                <a:gd name="connsiteX14" fmla="*/ 388144 w 733425"/>
                <a:gd name="connsiteY14" fmla="*/ 650081 h 733425"/>
                <a:gd name="connsiteX15" fmla="*/ 388144 w 733425"/>
                <a:gd name="connsiteY15" fmla="*/ 388144 h 733425"/>
                <a:gd name="connsiteX16" fmla="*/ 350044 w 733425"/>
                <a:gd name="connsiteY16" fmla="*/ 388144 h 733425"/>
                <a:gd name="connsiteX17" fmla="*/ 350044 w 733425"/>
                <a:gd name="connsiteY17" fmla="*/ 650081 h 733425"/>
                <a:gd name="connsiteX18" fmla="*/ 217646 w 733425"/>
                <a:gd name="connsiteY18" fmla="*/ 388144 h 733425"/>
                <a:gd name="connsiteX19" fmla="*/ 350044 w 733425"/>
                <a:gd name="connsiteY19" fmla="*/ 388144 h 733425"/>
                <a:gd name="connsiteX20" fmla="*/ 388144 w 733425"/>
                <a:gd name="connsiteY20" fmla="*/ 88106 h 733425"/>
                <a:gd name="connsiteX21" fmla="*/ 520541 w 733425"/>
                <a:gd name="connsiteY21" fmla="*/ 350044 h 733425"/>
                <a:gd name="connsiteX22" fmla="*/ 388144 w 733425"/>
                <a:gd name="connsiteY22" fmla="*/ 350044 h 733425"/>
                <a:gd name="connsiteX23" fmla="*/ 388144 w 733425"/>
                <a:gd name="connsiteY23" fmla="*/ 88106 h 733425"/>
                <a:gd name="connsiteX24" fmla="*/ 350044 w 733425"/>
                <a:gd name="connsiteY24" fmla="*/ 350044 h 733425"/>
                <a:gd name="connsiteX25" fmla="*/ 217646 w 733425"/>
                <a:gd name="connsiteY25" fmla="*/ 350044 h 733425"/>
                <a:gd name="connsiteX26" fmla="*/ 350044 w 733425"/>
                <a:gd name="connsiteY26" fmla="*/ 88106 h 733425"/>
                <a:gd name="connsiteX27" fmla="*/ 350044 w 733425"/>
                <a:gd name="connsiteY27" fmla="*/ 350044 h 733425"/>
                <a:gd name="connsiteX28" fmla="*/ 672941 w 733425"/>
                <a:gd name="connsiteY28" fmla="*/ 350044 h 733425"/>
                <a:gd name="connsiteX29" fmla="*/ 558641 w 733425"/>
                <a:gd name="connsiteY29" fmla="*/ 350044 h 733425"/>
                <a:gd name="connsiteX30" fmla="*/ 421481 w 733425"/>
                <a:gd name="connsiteY30" fmla="*/ 69056 h 733425"/>
                <a:gd name="connsiteX31" fmla="*/ 672941 w 733425"/>
                <a:gd name="connsiteY31" fmla="*/ 350044 h 733425"/>
                <a:gd name="connsiteX32" fmla="*/ 369094 w 733425"/>
                <a:gd name="connsiteY32" fmla="*/ 7144 h 733425"/>
                <a:gd name="connsiteX33" fmla="*/ 7144 w 733425"/>
                <a:gd name="connsiteY33" fmla="*/ 369094 h 733425"/>
                <a:gd name="connsiteX34" fmla="*/ 369094 w 733425"/>
                <a:gd name="connsiteY34" fmla="*/ 731044 h 733425"/>
                <a:gd name="connsiteX35" fmla="*/ 731044 w 733425"/>
                <a:gd name="connsiteY35" fmla="*/ 369094 h 733425"/>
                <a:gd name="connsiteX36" fmla="*/ 369094 w 733425"/>
                <a:gd name="connsiteY36" fmla="*/ 71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33425" h="733425">
                  <a:moveTo>
                    <a:pt x="421481" y="669131"/>
                  </a:moveTo>
                  <a:cubicBezTo>
                    <a:pt x="483394" y="592931"/>
                    <a:pt x="551974" y="496729"/>
                    <a:pt x="558641" y="388144"/>
                  </a:cubicBezTo>
                  <a:lnTo>
                    <a:pt x="672941" y="388144"/>
                  </a:lnTo>
                  <a:cubicBezTo>
                    <a:pt x="664369" y="530066"/>
                    <a:pt x="558641" y="645319"/>
                    <a:pt x="421481" y="669131"/>
                  </a:cubicBezTo>
                  <a:close/>
                  <a:moveTo>
                    <a:pt x="65246" y="388144"/>
                  </a:moveTo>
                  <a:lnTo>
                    <a:pt x="179546" y="388144"/>
                  </a:lnTo>
                  <a:cubicBezTo>
                    <a:pt x="187166" y="496729"/>
                    <a:pt x="254794" y="592931"/>
                    <a:pt x="316706" y="669131"/>
                  </a:cubicBezTo>
                  <a:cubicBezTo>
                    <a:pt x="179546" y="645319"/>
                    <a:pt x="73819" y="530066"/>
                    <a:pt x="65246" y="388144"/>
                  </a:cubicBezTo>
                  <a:close/>
                  <a:moveTo>
                    <a:pt x="316706" y="69056"/>
                  </a:moveTo>
                  <a:cubicBezTo>
                    <a:pt x="254794" y="145256"/>
                    <a:pt x="186214" y="241459"/>
                    <a:pt x="179546" y="350044"/>
                  </a:cubicBezTo>
                  <a:lnTo>
                    <a:pt x="65246" y="350044"/>
                  </a:lnTo>
                  <a:cubicBezTo>
                    <a:pt x="73819" y="208121"/>
                    <a:pt x="179546" y="92869"/>
                    <a:pt x="316706" y="69056"/>
                  </a:cubicBezTo>
                  <a:close/>
                  <a:moveTo>
                    <a:pt x="388144" y="388144"/>
                  </a:moveTo>
                  <a:lnTo>
                    <a:pt x="520541" y="388144"/>
                  </a:lnTo>
                  <a:cubicBezTo>
                    <a:pt x="512921" y="486251"/>
                    <a:pt x="449104" y="574834"/>
                    <a:pt x="388144" y="650081"/>
                  </a:cubicBezTo>
                  <a:lnTo>
                    <a:pt x="388144" y="388144"/>
                  </a:lnTo>
                  <a:close/>
                  <a:moveTo>
                    <a:pt x="350044" y="388144"/>
                  </a:moveTo>
                  <a:lnTo>
                    <a:pt x="350044" y="650081"/>
                  </a:lnTo>
                  <a:cubicBezTo>
                    <a:pt x="289084" y="574834"/>
                    <a:pt x="225266" y="486251"/>
                    <a:pt x="217646" y="388144"/>
                  </a:cubicBezTo>
                  <a:lnTo>
                    <a:pt x="350044" y="388144"/>
                  </a:lnTo>
                  <a:close/>
                  <a:moveTo>
                    <a:pt x="388144" y="88106"/>
                  </a:moveTo>
                  <a:cubicBezTo>
                    <a:pt x="449104" y="163354"/>
                    <a:pt x="512921" y="250984"/>
                    <a:pt x="520541" y="350044"/>
                  </a:cubicBezTo>
                  <a:lnTo>
                    <a:pt x="388144" y="350044"/>
                  </a:lnTo>
                  <a:lnTo>
                    <a:pt x="388144" y="88106"/>
                  </a:lnTo>
                  <a:close/>
                  <a:moveTo>
                    <a:pt x="350044" y="350044"/>
                  </a:moveTo>
                  <a:lnTo>
                    <a:pt x="217646" y="350044"/>
                  </a:lnTo>
                  <a:cubicBezTo>
                    <a:pt x="225266" y="251936"/>
                    <a:pt x="289084" y="163354"/>
                    <a:pt x="350044" y="88106"/>
                  </a:cubicBezTo>
                  <a:lnTo>
                    <a:pt x="350044" y="350044"/>
                  </a:lnTo>
                  <a:close/>
                  <a:moveTo>
                    <a:pt x="672941" y="350044"/>
                  </a:moveTo>
                  <a:lnTo>
                    <a:pt x="558641" y="350044"/>
                  </a:lnTo>
                  <a:cubicBezTo>
                    <a:pt x="551974" y="241459"/>
                    <a:pt x="483394" y="145256"/>
                    <a:pt x="421481" y="69056"/>
                  </a:cubicBezTo>
                  <a:cubicBezTo>
                    <a:pt x="558641" y="92869"/>
                    <a:pt x="664369" y="208121"/>
                    <a:pt x="672941" y="350044"/>
                  </a:cubicBezTo>
                  <a:close/>
                  <a:moveTo>
                    <a:pt x="369094" y="7144"/>
                  </a:moveTo>
                  <a:cubicBezTo>
                    <a:pt x="169069" y="7144"/>
                    <a:pt x="7144" y="169069"/>
                    <a:pt x="7144" y="369094"/>
                  </a:cubicBezTo>
                  <a:cubicBezTo>
                    <a:pt x="7144" y="569119"/>
                    <a:pt x="169069" y="731044"/>
                    <a:pt x="369094" y="731044"/>
                  </a:cubicBezTo>
                  <a:cubicBezTo>
                    <a:pt x="569119" y="731044"/>
                    <a:pt x="731044" y="569119"/>
                    <a:pt x="731044" y="369094"/>
                  </a:cubicBezTo>
                  <a:cubicBezTo>
                    <a:pt x="731044" y="169069"/>
                    <a:pt x="569119" y="7144"/>
                    <a:pt x="369094" y="714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72" name="Freeform 205">
            <a:extLst>
              <a:ext uri="{FF2B5EF4-FFF2-40B4-BE49-F238E27FC236}">
                <a16:creationId xmlns:a16="http://schemas.microsoft.com/office/drawing/2014/main" id="{9C17764F-EA5D-49F0-A4DB-DF2374CB63F5}"/>
              </a:ext>
            </a:extLst>
          </p:cNvPr>
          <p:cNvSpPr/>
          <p:nvPr/>
        </p:nvSpPr>
        <p:spPr bwMode="auto">
          <a:xfrm>
            <a:off x="5457639" y="3099767"/>
            <a:ext cx="1055912" cy="720714"/>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18" name="Right Bracket 17">
            <a:extLst>
              <a:ext uri="{FF2B5EF4-FFF2-40B4-BE49-F238E27FC236}">
                <a16:creationId xmlns:a16="http://schemas.microsoft.com/office/drawing/2014/main" id="{10565816-FB16-4A4C-977F-14F2E5433641}"/>
              </a:ext>
            </a:extLst>
          </p:cNvPr>
          <p:cNvSpPr/>
          <p:nvPr/>
        </p:nvSpPr>
        <p:spPr>
          <a:xfrm rot="16200000">
            <a:off x="4759841" y="172319"/>
            <a:ext cx="182880" cy="3502715"/>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7D8326EB-B130-464D-8807-CCD372BCC87C}"/>
              </a:ext>
            </a:extLst>
          </p:cNvPr>
          <p:cNvGrpSpPr/>
          <p:nvPr/>
        </p:nvGrpSpPr>
        <p:grpSpPr>
          <a:xfrm>
            <a:off x="3261103" y="3769666"/>
            <a:ext cx="510894" cy="298522"/>
            <a:chOff x="2165557" y="3264119"/>
            <a:chExt cx="4217100" cy="2464113"/>
          </a:xfrm>
        </p:grpSpPr>
        <p:sp>
          <p:nvSpPr>
            <p:cNvPr id="52" name="Freeform 251">
              <a:extLst>
                <a:ext uri="{FF2B5EF4-FFF2-40B4-BE49-F238E27FC236}">
                  <a16:creationId xmlns:a16="http://schemas.microsoft.com/office/drawing/2014/main" id="{CF02EE9F-FBD8-4D40-9FB1-A8738BC8ACCD}"/>
                </a:ext>
              </a:extLst>
            </p:cNvPr>
            <p:cNvSpPr>
              <a:spLocks noEditPoints="1"/>
            </p:cNvSpPr>
            <p:nvPr/>
          </p:nvSpPr>
          <p:spPr bwMode="auto">
            <a:xfrm>
              <a:off x="2165557" y="3264120"/>
              <a:ext cx="4217100" cy="2464112"/>
            </a:xfrm>
            <a:custGeom>
              <a:avLst/>
              <a:gdLst>
                <a:gd name="T0" fmla="*/ 0 w 411"/>
                <a:gd name="T1" fmla="*/ 0 h 239"/>
                <a:gd name="T2" fmla="*/ 411 w 411"/>
                <a:gd name="T3" fmla="*/ 239 h 239"/>
                <a:gd name="T4" fmla="*/ 53 w 411"/>
                <a:gd name="T5" fmla="*/ 52 h 239"/>
                <a:gd name="T6" fmla="*/ 25 w 411"/>
                <a:gd name="T7" fmla="*/ 211 h 239"/>
                <a:gd name="T8" fmla="*/ 262 w 411"/>
                <a:gd name="T9" fmla="*/ 25 h 239"/>
                <a:gd name="T10" fmla="*/ 0 w 411"/>
                <a:gd name="T11" fmla="*/ 0 h 239"/>
                <a:gd name="T12" fmla="*/ 346 w 411"/>
                <a:gd name="T13" fmla="*/ 78 h 239"/>
                <a:gd name="T14" fmla="*/ 386 w 411"/>
                <a:gd name="T15" fmla="*/ 105 h 239"/>
                <a:gd name="T16" fmla="*/ 346 w 411"/>
                <a:gd name="T17" fmla="*/ 78 h 239"/>
                <a:gd name="T18" fmla="*/ 280 w 411"/>
                <a:gd name="T19" fmla="*/ 78 h 239"/>
                <a:gd name="T20" fmla="*/ 320 w 411"/>
                <a:gd name="T21" fmla="*/ 105 h 239"/>
                <a:gd name="T22" fmla="*/ 280 w 411"/>
                <a:gd name="T23" fmla="*/ 78 h 239"/>
                <a:gd name="T24" fmla="*/ 213 w 411"/>
                <a:gd name="T25" fmla="*/ 78 h 239"/>
                <a:gd name="T26" fmla="*/ 254 w 411"/>
                <a:gd name="T27" fmla="*/ 105 h 239"/>
                <a:gd name="T28" fmla="*/ 213 w 411"/>
                <a:gd name="T29" fmla="*/ 78 h 239"/>
                <a:gd name="T30" fmla="*/ 147 w 411"/>
                <a:gd name="T31" fmla="*/ 78 h 239"/>
                <a:gd name="T32" fmla="*/ 187 w 411"/>
                <a:gd name="T33" fmla="*/ 105 h 239"/>
                <a:gd name="T34" fmla="*/ 147 w 411"/>
                <a:gd name="T35" fmla="*/ 78 h 239"/>
                <a:gd name="T36" fmla="*/ 80 w 411"/>
                <a:gd name="T37" fmla="*/ 78 h 239"/>
                <a:gd name="T38" fmla="*/ 121 w 411"/>
                <a:gd name="T39" fmla="*/ 105 h 239"/>
                <a:gd name="T40" fmla="*/ 80 w 411"/>
                <a:gd name="T41" fmla="*/ 78 h 239"/>
                <a:gd name="T42" fmla="*/ 346 w 411"/>
                <a:gd name="T43" fmla="*/ 131 h 239"/>
                <a:gd name="T44" fmla="*/ 386 w 411"/>
                <a:gd name="T45" fmla="*/ 158 h 239"/>
                <a:gd name="T46" fmla="*/ 346 w 411"/>
                <a:gd name="T47" fmla="*/ 131 h 239"/>
                <a:gd name="T48" fmla="*/ 280 w 411"/>
                <a:gd name="T49" fmla="*/ 131 h 239"/>
                <a:gd name="T50" fmla="*/ 320 w 411"/>
                <a:gd name="T51" fmla="*/ 158 h 239"/>
                <a:gd name="T52" fmla="*/ 280 w 411"/>
                <a:gd name="T53" fmla="*/ 131 h 239"/>
                <a:gd name="T54" fmla="*/ 213 w 411"/>
                <a:gd name="T55" fmla="*/ 131 h 239"/>
                <a:gd name="T56" fmla="*/ 254 w 411"/>
                <a:gd name="T57" fmla="*/ 158 h 239"/>
                <a:gd name="T58" fmla="*/ 213 w 411"/>
                <a:gd name="T59" fmla="*/ 131 h 239"/>
                <a:gd name="T60" fmla="*/ 147 w 411"/>
                <a:gd name="T61" fmla="*/ 131 h 239"/>
                <a:gd name="T62" fmla="*/ 187 w 411"/>
                <a:gd name="T63" fmla="*/ 158 h 239"/>
                <a:gd name="T64" fmla="*/ 147 w 411"/>
                <a:gd name="T65" fmla="*/ 131 h 239"/>
                <a:gd name="T66" fmla="*/ 80 w 411"/>
                <a:gd name="T67" fmla="*/ 131 h 239"/>
                <a:gd name="T68" fmla="*/ 121 w 411"/>
                <a:gd name="T69" fmla="*/ 158 h 239"/>
                <a:gd name="T70" fmla="*/ 80 w 411"/>
                <a:gd name="T71" fmla="*/ 131 h 239"/>
                <a:gd name="T72" fmla="*/ 346 w 411"/>
                <a:gd name="T73" fmla="*/ 185 h 239"/>
                <a:gd name="T74" fmla="*/ 386 w 411"/>
                <a:gd name="T75" fmla="*/ 211 h 239"/>
                <a:gd name="T76" fmla="*/ 346 w 411"/>
                <a:gd name="T77" fmla="*/ 185 h 239"/>
                <a:gd name="T78" fmla="*/ 280 w 411"/>
                <a:gd name="T79" fmla="*/ 185 h 239"/>
                <a:gd name="T80" fmla="*/ 320 w 411"/>
                <a:gd name="T81" fmla="*/ 211 h 239"/>
                <a:gd name="T82" fmla="*/ 280 w 411"/>
                <a:gd name="T83" fmla="*/ 185 h 239"/>
                <a:gd name="T84" fmla="*/ 213 w 411"/>
                <a:gd name="T85" fmla="*/ 185 h 239"/>
                <a:gd name="T86" fmla="*/ 254 w 411"/>
                <a:gd name="T87" fmla="*/ 211 h 239"/>
                <a:gd name="T88" fmla="*/ 213 w 411"/>
                <a:gd name="T89" fmla="*/ 185 h 239"/>
                <a:gd name="T90" fmla="*/ 147 w 411"/>
                <a:gd name="T91" fmla="*/ 185 h 239"/>
                <a:gd name="T92" fmla="*/ 187 w 411"/>
                <a:gd name="T93" fmla="*/ 211 h 239"/>
                <a:gd name="T94" fmla="*/ 147 w 411"/>
                <a:gd name="T95" fmla="*/ 185 h 239"/>
                <a:gd name="T96" fmla="*/ 80 w 411"/>
                <a:gd name="T97" fmla="*/ 185 h 239"/>
                <a:gd name="T98" fmla="*/ 121 w 411"/>
                <a:gd name="T99" fmla="*/ 211 h 239"/>
                <a:gd name="T100" fmla="*/ 80 w 411"/>
                <a:gd name="T101" fmla="*/ 1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 h="239">
                  <a:moveTo>
                    <a:pt x="0" y="0"/>
                  </a:moveTo>
                  <a:lnTo>
                    <a:pt x="0" y="0"/>
                  </a:lnTo>
                  <a:lnTo>
                    <a:pt x="0" y="239"/>
                  </a:lnTo>
                  <a:lnTo>
                    <a:pt x="411" y="239"/>
                  </a:lnTo>
                  <a:lnTo>
                    <a:pt x="411" y="52"/>
                  </a:lnTo>
                  <a:lnTo>
                    <a:pt x="53" y="52"/>
                  </a:lnTo>
                  <a:lnTo>
                    <a:pt x="53" y="211"/>
                  </a:lnTo>
                  <a:lnTo>
                    <a:pt x="25" y="211"/>
                  </a:lnTo>
                  <a:lnTo>
                    <a:pt x="26" y="25"/>
                  </a:lnTo>
                  <a:lnTo>
                    <a:pt x="262" y="25"/>
                  </a:lnTo>
                  <a:lnTo>
                    <a:pt x="262" y="0"/>
                  </a:lnTo>
                  <a:lnTo>
                    <a:pt x="0" y="0"/>
                  </a:lnTo>
                  <a:close/>
                  <a:moveTo>
                    <a:pt x="346" y="78"/>
                  </a:moveTo>
                  <a:lnTo>
                    <a:pt x="346" y="78"/>
                  </a:lnTo>
                  <a:lnTo>
                    <a:pt x="386" y="78"/>
                  </a:lnTo>
                  <a:lnTo>
                    <a:pt x="386" y="105"/>
                  </a:lnTo>
                  <a:lnTo>
                    <a:pt x="346" y="105"/>
                  </a:lnTo>
                  <a:lnTo>
                    <a:pt x="346" y="78"/>
                  </a:lnTo>
                  <a:close/>
                  <a:moveTo>
                    <a:pt x="280" y="78"/>
                  </a:moveTo>
                  <a:lnTo>
                    <a:pt x="280" y="78"/>
                  </a:lnTo>
                  <a:lnTo>
                    <a:pt x="320" y="78"/>
                  </a:lnTo>
                  <a:lnTo>
                    <a:pt x="320" y="105"/>
                  </a:lnTo>
                  <a:lnTo>
                    <a:pt x="280" y="105"/>
                  </a:lnTo>
                  <a:lnTo>
                    <a:pt x="280" y="78"/>
                  </a:lnTo>
                  <a:close/>
                  <a:moveTo>
                    <a:pt x="213" y="78"/>
                  </a:moveTo>
                  <a:lnTo>
                    <a:pt x="213" y="78"/>
                  </a:lnTo>
                  <a:lnTo>
                    <a:pt x="254" y="78"/>
                  </a:lnTo>
                  <a:lnTo>
                    <a:pt x="254" y="105"/>
                  </a:lnTo>
                  <a:lnTo>
                    <a:pt x="213" y="105"/>
                  </a:lnTo>
                  <a:lnTo>
                    <a:pt x="213" y="78"/>
                  </a:lnTo>
                  <a:close/>
                  <a:moveTo>
                    <a:pt x="147" y="78"/>
                  </a:moveTo>
                  <a:lnTo>
                    <a:pt x="147" y="78"/>
                  </a:lnTo>
                  <a:lnTo>
                    <a:pt x="187" y="78"/>
                  </a:lnTo>
                  <a:lnTo>
                    <a:pt x="187" y="105"/>
                  </a:lnTo>
                  <a:lnTo>
                    <a:pt x="147" y="105"/>
                  </a:lnTo>
                  <a:lnTo>
                    <a:pt x="147" y="78"/>
                  </a:lnTo>
                  <a:close/>
                  <a:moveTo>
                    <a:pt x="80" y="78"/>
                  </a:moveTo>
                  <a:lnTo>
                    <a:pt x="80" y="78"/>
                  </a:lnTo>
                  <a:lnTo>
                    <a:pt x="121" y="78"/>
                  </a:lnTo>
                  <a:lnTo>
                    <a:pt x="121" y="105"/>
                  </a:lnTo>
                  <a:lnTo>
                    <a:pt x="80" y="105"/>
                  </a:lnTo>
                  <a:lnTo>
                    <a:pt x="80" y="78"/>
                  </a:lnTo>
                  <a:close/>
                  <a:moveTo>
                    <a:pt x="346" y="131"/>
                  </a:moveTo>
                  <a:lnTo>
                    <a:pt x="346" y="131"/>
                  </a:lnTo>
                  <a:lnTo>
                    <a:pt x="386" y="131"/>
                  </a:lnTo>
                  <a:lnTo>
                    <a:pt x="386" y="158"/>
                  </a:lnTo>
                  <a:lnTo>
                    <a:pt x="346" y="158"/>
                  </a:lnTo>
                  <a:lnTo>
                    <a:pt x="346" y="131"/>
                  </a:lnTo>
                  <a:close/>
                  <a:moveTo>
                    <a:pt x="280" y="131"/>
                  </a:moveTo>
                  <a:lnTo>
                    <a:pt x="280" y="131"/>
                  </a:lnTo>
                  <a:lnTo>
                    <a:pt x="320" y="131"/>
                  </a:lnTo>
                  <a:lnTo>
                    <a:pt x="320" y="158"/>
                  </a:lnTo>
                  <a:lnTo>
                    <a:pt x="280" y="158"/>
                  </a:lnTo>
                  <a:lnTo>
                    <a:pt x="280" y="131"/>
                  </a:lnTo>
                  <a:close/>
                  <a:moveTo>
                    <a:pt x="213" y="131"/>
                  </a:moveTo>
                  <a:lnTo>
                    <a:pt x="213" y="131"/>
                  </a:lnTo>
                  <a:lnTo>
                    <a:pt x="254" y="131"/>
                  </a:lnTo>
                  <a:lnTo>
                    <a:pt x="254" y="158"/>
                  </a:lnTo>
                  <a:lnTo>
                    <a:pt x="213" y="158"/>
                  </a:lnTo>
                  <a:lnTo>
                    <a:pt x="213" y="131"/>
                  </a:lnTo>
                  <a:close/>
                  <a:moveTo>
                    <a:pt x="147" y="131"/>
                  </a:moveTo>
                  <a:lnTo>
                    <a:pt x="147" y="131"/>
                  </a:lnTo>
                  <a:lnTo>
                    <a:pt x="187" y="131"/>
                  </a:lnTo>
                  <a:lnTo>
                    <a:pt x="187" y="158"/>
                  </a:lnTo>
                  <a:lnTo>
                    <a:pt x="147" y="158"/>
                  </a:lnTo>
                  <a:lnTo>
                    <a:pt x="147" y="131"/>
                  </a:lnTo>
                  <a:close/>
                  <a:moveTo>
                    <a:pt x="80" y="131"/>
                  </a:moveTo>
                  <a:lnTo>
                    <a:pt x="80" y="131"/>
                  </a:lnTo>
                  <a:lnTo>
                    <a:pt x="121" y="131"/>
                  </a:lnTo>
                  <a:lnTo>
                    <a:pt x="121" y="158"/>
                  </a:lnTo>
                  <a:lnTo>
                    <a:pt x="80" y="158"/>
                  </a:lnTo>
                  <a:lnTo>
                    <a:pt x="80" y="131"/>
                  </a:lnTo>
                  <a:close/>
                  <a:moveTo>
                    <a:pt x="346" y="185"/>
                  </a:moveTo>
                  <a:lnTo>
                    <a:pt x="346" y="185"/>
                  </a:lnTo>
                  <a:lnTo>
                    <a:pt x="386" y="185"/>
                  </a:lnTo>
                  <a:lnTo>
                    <a:pt x="386" y="211"/>
                  </a:lnTo>
                  <a:lnTo>
                    <a:pt x="346" y="211"/>
                  </a:lnTo>
                  <a:lnTo>
                    <a:pt x="346" y="185"/>
                  </a:lnTo>
                  <a:close/>
                  <a:moveTo>
                    <a:pt x="280" y="185"/>
                  </a:moveTo>
                  <a:lnTo>
                    <a:pt x="280" y="185"/>
                  </a:lnTo>
                  <a:lnTo>
                    <a:pt x="320" y="185"/>
                  </a:lnTo>
                  <a:lnTo>
                    <a:pt x="320" y="211"/>
                  </a:lnTo>
                  <a:lnTo>
                    <a:pt x="280" y="211"/>
                  </a:lnTo>
                  <a:lnTo>
                    <a:pt x="280" y="185"/>
                  </a:lnTo>
                  <a:close/>
                  <a:moveTo>
                    <a:pt x="213" y="185"/>
                  </a:moveTo>
                  <a:lnTo>
                    <a:pt x="213" y="185"/>
                  </a:lnTo>
                  <a:lnTo>
                    <a:pt x="254" y="185"/>
                  </a:lnTo>
                  <a:lnTo>
                    <a:pt x="254" y="211"/>
                  </a:lnTo>
                  <a:lnTo>
                    <a:pt x="213" y="211"/>
                  </a:lnTo>
                  <a:lnTo>
                    <a:pt x="213" y="185"/>
                  </a:lnTo>
                  <a:close/>
                  <a:moveTo>
                    <a:pt x="147" y="185"/>
                  </a:moveTo>
                  <a:lnTo>
                    <a:pt x="147" y="185"/>
                  </a:lnTo>
                  <a:lnTo>
                    <a:pt x="187" y="185"/>
                  </a:lnTo>
                  <a:lnTo>
                    <a:pt x="187" y="211"/>
                  </a:lnTo>
                  <a:lnTo>
                    <a:pt x="147" y="211"/>
                  </a:lnTo>
                  <a:lnTo>
                    <a:pt x="147" y="185"/>
                  </a:lnTo>
                  <a:close/>
                  <a:moveTo>
                    <a:pt x="80" y="185"/>
                  </a:moveTo>
                  <a:lnTo>
                    <a:pt x="80" y="185"/>
                  </a:lnTo>
                  <a:lnTo>
                    <a:pt x="121" y="185"/>
                  </a:lnTo>
                  <a:lnTo>
                    <a:pt x="121" y="211"/>
                  </a:lnTo>
                  <a:lnTo>
                    <a:pt x="80" y="211"/>
                  </a:lnTo>
                  <a:lnTo>
                    <a:pt x="80" y="185"/>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EB297A05-0B01-49AB-BF74-FFC1E33FC6DD}"/>
                </a:ext>
              </a:extLst>
            </p:cNvPr>
            <p:cNvSpPr>
              <a:spLocks/>
            </p:cNvSpPr>
            <p:nvPr/>
          </p:nvSpPr>
          <p:spPr bwMode="auto">
            <a:xfrm>
              <a:off x="2165557" y="3264119"/>
              <a:ext cx="4217100" cy="2464111"/>
            </a:xfrm>
            <a:custGeom>
              <a:avLst/>
              <a:gdLst>
                <a:gd name="connsiteX0" fmla="*/ 0 w 4217100"/>
                <a:gd name="connsiteY0" fmla="*/ 0 h 2464111"/>
                <a:gd name="connsiteX1" fmla="*/ 265176 w 4217100"/>
                <a:gd name="connsiteY1" fmla="*/ 0 h 2464111"/>
                <a:gd name="connsiteX2" fmla="*/ 265176 w 4217100"/>
                <a:gd name="connsiteY2" fmla="*/ 1 h 2464111"/>
                <a:gd name="connsiteX3" fmla="*/ 4217100 w 4217100"/>
                <a:gd name="connsiteY3" fmla="*/ 1 h 2464111"/>
                <a:gd name="connsiteX4" fmla="*/ 4217100 w 4217100"/>
                <a:gd name="connsiteY4" fmla="*/ 264603 h 2464111"/>
                <a:gd name="connsiteX5" fmla="*/ 265176 w 4217100"/>
                <a:gd name="connsiteY5" fmla="*/ 264603 h 2464111"/>
                <a:gd name="connsiteX6" fmla="*/ 265176 w 4217100"/>
                <a:gd name="connsiteY6" fmla="*/ 2464111 h 2464111"/>
                <a:gd name="connsiteX7" fmla="*/ 0 w 4217100"/>
                <a:gd name="connsiteY7" fmla="*/ 2464111 h 2464111"/>
                <a:gd name="connsiteX8" fmla="*/ 0 w 4217100"/>
                <a:gd name="connsiteY8" fmla="*/ 264603 h 2464111"/>
                <a:gd name="connsiteX9" fmla="*/ 0 w 4217100"/>
                <a:gd name="connsiteY9" fmla="*/ 1 h 2464111"/>
                <a:gd name="connsiteX0" fmla="*/ 0 w 4217100"/>
                <a:gd name="connsiteY0" fmla="*/ 0 h 2464111"/>
                <a:gd name="connsiteX1" fmla="*/ 265176 w 4217100"/>
                <a:gd name="connsiteY1" fmla="*/ 0 h 2464111"/>
                <a:gd name="connsiteX2" fmla="*/ 4217100 w 4217100"/>
                <a:gd name="connsiteY2" fmla="*/ 1 h 2464111"/>
                <a:gd name="connsiteX3" fmla="*/ 4217100 w 4217100"/>
                <a:gd name="connsiteY3" fmla="*/ 264603 h 2464111"/>
                <a:gd name="connsiteX4" fmla="*/ 265176 w 4217100"/>
                <a:gd name="connsiteY4" fmla="*/ 264603 h 2464111"/>
                <a:gd name="connsiteX5" fmla="*/ 265176 w 4217100"/>
                <a:gd name="connsiteY5" fmla="*/ 2464111 h 2464111"/>
                <a:gd name="connsiteX6" fmla="*/ 0 w 4217100"/>
                <a:gd name="connsiteY6" fmla="*/ 2464111 h 2464111"/>
                <a:gd name="connsiteX7" fmla="*/ 0 w 4217100"/>
                <a:gd name="connsiteY7" fmla="*/ 264603 h 2464111"/>
                <a:gd name="connsiteX8" fmla="*/ 0 w 4217100"/>
                <a:gd name="connsiteY8" fmla="*/ 1 h 2464111"/>
                <a:gd name="connsiteX9" fmla="*/ 0 w 4217100"/>
                <a:gd name="connsiteY9"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264603 h 2464111"/>
                <a:gd name="connsiteX7" fmla="*/ 0 w 4217100"/>
                <a:gd name="connsiteY7" fmla="*/ 1 h 2464111"/>
                <a:gd name="connsiteX8" fmla="*/ 0 w 4217100"/>
                <a:gd name="connsiteY8"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1 h 2464111"/>
                <a:gd name="connsiteX7" fmla="*/ 0 w 4217100"/>
                <a:gd name="connsiteY7" fmla="*/ 0 h 246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7100" h="2464111">
                  <a:moveTo>
                    <a:pt x="0" y="0"/>
                  </a:moveTo>
                  <a:lnTo>
                    <a:pt x="4217100" y="1"/>
                  </a:lnTo>
                  <a:lnTo>
                    <a:pt x="4217100" y="264603"/>
                  </a:lnTo>
                  <a:lnTo>
                    <a:pt x="265176" y="264603"/>
                  </a:lnTo>
                  <a:lnTo>
                    <a:pt x="265176" y="2464111"/>
                  </a:lnTo>
                  <a:lnTo>
                    <a:pt x="0" y="2464111"/>
                  </a:lnTo>
                  <a:lnTo>
                    <a:pt x="0" y="1"/>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7A287DD1-5783-4FAC-A9E6-E9F93C48E2EE}"/>
              </a:ext>
            </a:extLst>
          </p:cNvPr>
          <p:cNvGrpSpPr/>
          <p:nvPr/>
        </p:nvGrpSpPr>
        <p:grpSpPr>
          <a:xfrm>
            <a:off x="3234959" y="2722188"/>
            <a:ext cx="510894" cy="298522"/>
            <a:chOff x="2165557" y="3264119"/>
            <a:chExt cx="4217100" cy="2464113"/>
          </a:xfrm>
        </p:grpSpPr>
        <p:sp>
          <p:nvSpPr>
            <p:cNvPr id="58" name="Freeform 251">
              <a:extLst>
                <a:ext uri="{FF2B5EF4-FFF2-40B4-BE49-F238E27FC236}">
                  <a16:creationId xmlns:a16="http://schemas.microsoft.com/office/drawing/2014/main" id="{4A7FB3EC-E669-4C9D-B572-A01E50002B7F}"/>
                </a:ext>
              </a:extLst>
            </p:cNvPr>
            <p:cNvSpPr>
              <a:spLocks noEditPoints="1"/>
            </p:cNvSpPr>
            <p:nvPr/>
          </p:nvSpPr>
          <p:spPr bwMode="auto">
            <a:xfrm>
              <a:off x="2165557" y="3264120"/>
              <a:ext cx="4217100" cy="2464112"/>
            </a:xfrm>
            <a:custGeom>
              <a:avLst/>
              <a:gdLst>
                <a:gd name="T0" fmla="*/ 0 w 411"/>
                <a:gd name="T1" fmla="*/ 0 h 239"/>
                <a:gd name="T2" fmla="*/ 411 w 411"/>
                <a:gd name="T3" fmla="*/ 239 h 239"/>
                <a:gd name="T4" fmla="*/ 53 w 411"/>
                <a:gd name="T5" fmla="*/ 52 h 239"/>
                <a:gd name="T6" fmla="*/ 25 w 411"/>
                <a:gd name="T7" fmla="*/ 211 h 239"/>
                <a:gd name="T8" fmla="*/ 262 w 411"/>
                <a:gd name="T9" fmla="*/ 25 h 239"/>
                <a:gd name="T10" fmla="*/ 0 w 411"/>
                <a:gd name="T11" fmla="*/ 0 h 239"/>
                <a:gd name="T12" fmla="*/ 346 w 411"/>
                <a:gd name="T13" fmla="*/ 78 h 239"/>
                <a:gd name="T14" fmla="*/ 386 w 411"/>
                <a:gd name="T15" fmla="*/ 105 h 239"/>
                <a:gd name="T16" fmla="*/ 346 w 411"/>
                <a:gd name="T17" fmla="*/ 78 h 239"/>
                <a:gd name="T18" fmla="*/ 280 w 411"/>
                <a:gd name="T19" fmla="*/ 78 h 239"/>
                <a:gd name="T20" fmla="*/ 320 w 411"/>
                <a:gd name="T21" fmla="*/ 105 h 239"/>
                <a:gd name="T22" fmla="*/ 280 w 411"/>
                <a:gd name="T23" fmla="*/ 78 h 239"/>
                <a:gd name="T24" fmla="*/ 213 w 411"/>
                <a:gd name="T25" fmla="*/ 78 h 239"/>
                <a:gd name="T26" fmla="*/ 254 w 411"/>
                <a:gd name="T27" fmla="*/ 105 h 239"/>
                <a:gd name="T28" fmla="*/ 213 w 411"/>
                <a:gd name="T29" fmla="*/ 78 h 239"/>
                <a:gd name="T30" fmla="*/ 147 w 411"/>
                <a:gd name="T31" fmla="*/ 78 h 239"/>
                <a:gd name="T32" fmla="*/ 187 w 411"/>
                <a:gd name="T33" fmla="*/ 105 h 239"/>
                <a:gd name="T34" fmla="*/ 147 w 411"/>
                <a:gd name="T35" fmla="*/ 78 h 239"/>
                <a:gd name="T36" fmla="*/ 80 w 411"/>
                <a:gd name="T37" fmla="*/ 78 h 239"/>
                <a:gd name="T38" fmla="*/ 121 w 411"/>
                <a:gd name="T39" fmla="*/ 105 h 239"/>
                <a:gd name="T40" fmla="*/ 80 w 411"/>
                <a:gd name="T41" fmla="*/ 78 h 239"/>
                <a:gd name="T42" fmla="*/ 346 w 411"/>
                <a:gd name="T43" fmla="*/ 131 h 239"/>
                <a:gd name="T44" fmla="*/ 386 w 411"/>
                <a:gd name="T45" fmla="*/ 158 h 239"/>
                <a:gd name="T46" fmla="*/ 346 w 411"/>
                <a:gd name="T47" fmla="*/ 131 h 239"/>
                <a:gd name="T48" fmla="*/ 280 w 411"/>
                <a:gd name="T49" fmla="*/ 131 h 239"/>
                <a:gd name="T50" fmla="*/ 320 w 411"/>
                <a:gd name="T51" fmla="*/ 158 h 239"/>
                <a:gd name="T52" fmla="*/ 280 w 411"/>
                <a:gd name="T53" fmla="*/ 131 h 239"/>
                <a:gd name="T54" fmla="*/ 213 w 411"/>
                <a:gd name="T55" fmla="*/ 131 h 239"/>
                <a:gd name="T56" fmla="*/ 254 w 411"/>
                <a:gd name="T57" fmla="*/ 158 h 239"/>
                <a:gd name="T58" fmla="*/ 213 w 411"/>
                <a:gd name="T59" fmla="*/ 131 h 239"/>
                <a:gd name="T60" fmla="*/ 147 w 411"/>
                <a:gd name="T61" fmla="*/ 131 h 239"/>
                <a:gd name="T62" fmla="*/ 187 w 411"/>
                <a:gd name="T63" fmla="*/ 158 h 239"/>
                <a:gd name="T64" fmla="*/ 147 w 411"/>
                <a:gd name="T65" fmla="*/ 131 h 239"/>
                <a:gd name="T66" fmla="*/ 80 w 411"/>
                <a:gd name="T67" fmla="*/ 131 h 239"/>
                <a:gd name="T68" fmla="*/ 121 w 411"/>
                <a:gd name="T69" fmla="*/ 158 h 239"/>
                <a:gd name="T70" fmla="*/ 80 w 411"/>
                <a:gd name="T71" fmla="*/ 131 h 239"/>
                <a:gd name="T72" fmla="*/ 346 w 411"/>
                <a:gd name="T73" fmla="*/ 185 h 239"/>
                <a:gd name="T74" fmla="*/ 386 w 411"/>
                <a:gd name="T75" fmla="*/ 211 h 239"/>
                <a:gd name="T76" fmla="*/ 346 w 411"/>
                <a:gd name="T77" fmla="*/ 185 h 239"/>
                <a:gd name="T78" fmla="*/ 280 w 411"/>
                <a:gd name="T79" fmla="*/ 185 h 239"/>
                <a:gd name="T80" fmla="*/ 320 w 411"/>
                <a:gd name="T81" fmla="*/ 211 h 239"/>
                <a:gd name="T82" fmla="*/ 280 w 411"/>
                <a:gd name="T83" fmla="*/ 185 h 239"/>
                <a:gd name="T84" fmla="*/ 213 w 411"/>
                <a:gd name="T85" fmla="*/ 185 h 239"/>
                <a:gd name="T86" fmla="*/ 254 w 411"/>
                <a:gd name="T87" fmla="*/ 211 h 239"/>
                <a:gd name="T88" fmla="*/ 213 w 411"/>
                <a:gd name="T89" fmla="*/ 185 h 239"/>
                <a:gd name="T90" fmla="*/ 147 w 411"/>
                <a:gd name="T91" fmla="*/ 185 h 239"/>
                <a:gd name="T92" fmla="*/ 187 w 411"/>
                <a:gd name="T93" fmla="*/ 211 h 239"/>
                <a:gd name="T94" fmla="*/ 147 w 411"/>
                <a:gd name="T95" fmla="*/ 185 h 239"/>
                <a:gd name="T96" fmla="*/ 80 w 411"/>
                <a:gd name="T97" fmla="*/ 185 h 239"/>
                <a:gd name="T98" fmla="*/ 121 w 411"/>
                <a:gd name="T99" fmla="*/ 211 h 239"/>
                <a:gd name="T100" fmla="*/ 80 w 411"/>
                <a:gd name="T101" fmla="*/ 1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 h="239">
                  <a:moveTo>
                    <a:pt x="0" y="0"/>
                  </a:moveTo>
                  <a:lnTo>
                    <a:pt x="0" y="0"/>
                  </a:lnTo>
                  <a:lnTo>
                    <a:pt x="0" y="239"/>
                  </a:lnTo>
                  <a:lnTo>
                    <a:pt x="411" y="239"/>
                  </a:lnTo>
                  <a:lnTo>
                    <a:pt x="411" y="52"/>
                  </a:lnTo>
                  <a:lnTo>
                    <a:pt x="53" y="52"/>
                  </a:lnTo>
                  <a:lnTo>
                    <a:pt x="53" y="211"/>
                  </a:lnTo>
                  <a:lnTo>
                    <a:pt x="25" y="211"/>
                  </a:lnTo>
                  <a:lnTo>
                    <a:pt x="26" y="25"/>
                  </a:lnTo>
                  <a:lnTo>
                    <a:pt x="262" y="25"/>
                  </a:lnTo>
                  <a:lnTo>
                    <a:pt x="262" y="0"/>
                  </a:lnTo>
                  <a:lnTo>
                    <a:pt x="0" y="0"/>
                  </a:lnTo>
                  <a:close/>
                  <a:moveTo>
                    <a:pt x="346" y="78"/>
                  </a:moveTo>
                  <a:lnTo>
                    <a:pt x="346" y="78"/>
                  </a:lnTo>
                  <a:lnTo>
                    <a:pt x="386" y="78"/>
                  </a:lnTo>
                  <a:lnTo>
                    <a:pt x="386" y="105"/>
                  </a:lnTo>
                  <a:lnTo>
                    <a:pt x="346" y="105"/>
                  </a:lnTo>
                  <a:lnTo>
                    <a:pt x="346" y="78"/>
                  </a:lnTo>
                  <a:close/>
                  <a:moveTo>
                    <a:pt x="280" y="78"/>
                  </a:moveTo>
                  <a:lnTo>
                    <a:pt x="280" y="78"/>
                  </a:lnTo>
                  <a:lnTo>
                    <a:pt x="320" y="78"/>
                  </a:lnTo>
                  <a:lnTo>
                    <a:pt x="320" y="105"/>
                  </a:lnTo>
                  <a:lnTo>
                    <a:pt x="280" y="105"/>
                  </a:lnTo>
                  <a:lnTo>
                    <a:pt x="280" y="78"/>
                  </a:lnTo>
                  <a:close/>
                  <a:moveTo>
                    <a:pt x="213" y="78"/>
                  </a:moveTo>
                  <a:lnTo>
                    <a:pt x="213" y="78"/>
                  </a:lnTo>
                  <a:lnTo>
                    <a:pt x="254" y="78"/>
                  </a:lnTo>
                  <a:lnTo>
                    <a:pt x="254" y="105"/>
                  </a:lnTo>
                  <a:lnTo>
                    <a:pt x="213" y="105"/>
                  </a:lnTo>
                  <a:lnTo>
                    <a:pt x="213" y="78"/>
                  </a:lnTo>
                  <a:close/>
                  <a:moveTo>
                    <a:pt x="147" y="78"/>
                  </a:moveTo>
                  <a:lnTo>
                    <a:pt x="147" y="78"/>
                  </a:lnTo>
                  <a:lnTo>
                    <a:pt x="187" y="78"/>
                  </a:lnTo>
                  <a:lnTo>
                    <a:pt x="187" y="105"/>
                  </a:lnTo>
                  <a:lnTo>
                    <a:pt x="147" y="105"/>
                  </a:lnTo>
                  <a:lnTo>
                    <a:pt x="147" y="78"/>
                  </a:lnTo>
                  <a:close/>
                  <a:moveTo>
                    <a:pt x="80" y="78"/>
                  </a:moveTo>
                  <a:lnTo>
                    <a:pt x="80" y="78"/>
                  </a:lnTo>
                  <a:lnTo>
                    <a:pt x="121" y="78"/>
                  </a:lnTo>
                  <a:lnTo>
                    <a:pt x="121" y="105"/>
                  </a:lnTo>
                  <a:lnTo>
                    <a:pt x="80" y="105"/>
                  </a:lnTo>
                  <a:lnTo>
                    <a:pt x="80" y="78"/>
                  </a:lnTo>
                  <a:close/>
                  <a:moveTo>
                    <a:pt x="346" y="131"/>
                  </a:moveTo>
                  <a:lnTo>
                    <a:pt x="346" y="131"/>
                  </a:lnTo>
                  <a:lnTo>
                    <a:pt x="386" y="131"/>
                  </a:lnTo>
                  <a:lnTo>
                    <a:pt x="386" y="158"/>
                  </a:lnTo>
                  <a:lnTo>
                    <a:pt x="346" y="158"/>
                  </a:lnTo>
                  <a:lnTo>
                    <a:pt x="346" y="131"/>
                  </a:lnTo>
                  <a:close/>
                  <a:moveTo>
                    <a:pt x="280" y="131"/>
                  </a:moveTo>
                  <a:lnTo>
                    <a:pt x="280" y="131"/>
                  </a:lnTo>
                  <a:lnTo>
                    <a:pt x="320" y="131"/>
                  </a:lnTo>
                  <a:lnTo>
                    <a:pt x="320" y="158"/>
                  </a:lnTo>
                  <a:lnTo>
                    <a:pt x="280" y="158"/>
                  </a:lnTo>
                  <a:lnTo>
                    <a:pt x="280" y="131"/>
                  </a:lnTo>
                  <a:close/>
                  <a:moveTo>
                    <a:pt x="213" y="131"/>
                  </a:moveTo>
                  <a:lnTo>
                    <a:pt x="213" y="131"/>
                  </a:lnTo>
                  <a:lnTo>
                    <a:pt x="254" y="131"/>
                  </a:lnTo>
                  <a:lnTo>
                    <a:pt x="254" y="158"/>
                  </a:lnTo>
                  <a:lnTo>
                    <a:pt x="213" y="158"/>
                  </a:lnTo>
                  <a:lnTo>
                    <a:pt x="213" y="131"/>
                  </a:lnTo>
                  <a:close/>
                  <a:moveTo>
                    <a:pt x="147" y="131"/>
                  </a:moveTo>
                  <a:lnTo>
                    <a:pt x="147" y="131"/>
                  </a:lnTo>
                  <a:lnTo>
                    <a:pt x="187" y="131"/>
                  </a:lnTo>
                  <a:lnTo>
                    <a:pt x="187" y="158"/>
                  </a:lnTo>
                  <a:lnTo>
                    <a:pt x="147" y="158"/>
                  </a:lnTo>
                  <a:lnTo>
                    <a:pt x="147" y="131"/>
                  </a:lnTo>
                  <a:close/>
                  <a:moveTo>
                    <a:pt x="80" y="131"/>
                  </a:moveTo>
                  <a:lnTo>
                    <a:pt x="80" y="131"/>
                  </a:lnTo>
                  <a:lnTo>
                    <a:pt x="121" y="131"/>
                  </a:lnTo>
                  <a:lnTo>
                    <a:pt x="121" y="158"/>
                  </a:lnTo>
                  <a:lnTo>
                    <a:pt x="80" y="158"/>
                  </a:lnTo>
                  <a:lnTo>
                    <a:pt x="80" y="131"/>
                  </a:lnTo>
                  <a:close/>
                  <a:moveTo>
                    <a:pt x="346" y="185"/>
                  </a:moveTo>
                  <a:lnTo>
                    <a:pt x="346" y="185"/>
                  </a:lnTo>
                  <a:lnTo>
                    <a:pt x="386" y="185"/>
                  </a:lnTo>
                  <a:lnTo>
                    <a:pt x="386" y="211"/>
                  </a:lnTo>
                  <a:lnTo>
                    <a:pt x="346" y="211"/>
                  </a:lnTo>
                  <a:lnTo>
                    <a:pt x="346" y="185"/>
                  </a:lnTo>
                  <a:close/>
                  <a:moveTo>
                    <a:pt x="280" y="185"/>
                  </a:moveTo>
                  <a:lnTo>
                    <a:pt x="280" y="185"/>
                  </a:lnTo>
                  <a:lnTo>
                    <a:pt x="320" y="185"/>
                  </a:lnTo>
                  <a:lnTo>
                    <a:pt x="320" y="211"/>
                  </a:lnTo>
                  <a:lnTo>
                    <a:pt x="280" y="211"/>
                  </a:lnTo>
                  <a:lnTo>
                    <a:pt x="280" y="185"/>
                  </a:lnTo>
                  <a:close/>
                  <a:moveTo>
                    <a:pt x="213" y="185"/>
                  </a:moveTo>
                  <a:lnTo>
                    <a:pt x="213" y="185"/>
                  </a:lnTo>
                  <a:lnTo>
                    <a:pt x="254" y="185"/>
                  </a:lnTo>
                  <a:lnTo>
                    <a:pt x="254" y="211"/>
                  </a:lnTo>
                  <a:lnTo>
                    <a:pt x="213" y="211"/>
                  </a:lnTo>
                  <a:lnTo>
                    <a:pt x="213" y="185"/>
                  </a:lnTo>
                  <a:close/>
                  <a:moveTo>
                    <a:pt x="147" y="185"/>
                  </a:moveTo>
                  <a:lnTo>
                    <a:pt x="147" y="185"/>
                  </a:lnTo>
                  <a:lnTo>
                    <a:pt x="187" y="185"/>
                  </a:lnTo>
                  <a:lnTo>
                    <a:pt x="187" y="211"/>
                  </a:lnTo>
                  <a:lnTo>
                    <a:pt x="147" y="211"/>
                  </a:lnTo>
                  <a:lnTo>
                    <a:pt x="147" y="185"/>
                  </a:lnTo>
                  <a:close/>
                  <a:moveTo>
                    <a:pt x="80" y="185"/>
                  </a:moveTo>
                  <a:lnTo>
                    <a:pt x="80" y="185"/>
                  </a:lnTo>
                  <a:lnTo>
                    <a:pt x="121" y="185"/>
                  </a:lnTo>
                  <a:lnTo>
                    <a:pt x="121" y="211"/>
                  </a:lnTo>
                  <a:lnTo>
                    <a:pt x="80" y="211"/>
                  </a:lnTo>
                  <a:lnTo>
                    <a:pt x="80" y="185"/>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043318F6-D706-4E4B-9F08-6495DD23CFB5}"/>
                </a:ext>
              </a:extLst>
            </p:cNvPr>
            <p:cNvSpPr>
              <a:spLocks/>
            </p:cNvSpPr>
            <p:nvPr/>
          </p:nvSpPr>
          <p:spPr bwMode="auto">
            <a:xfrm>
              <a:off x="2165557" y="3264119"/>
              <a:ext cx="4217100" cy="2464111"/>
            </a:xfrm>
            <a:custGeom>
              <a:avLst/>
              <a:gdLst>
                <a:gd name="connsiteX0" fmla="*/ 0 w 4217100"/>
                <a:gd name="connsiteY0" fmla="*/ 0 h 2464111"/>
                <a:gd name="connsiteX1" fmla="*/ 265176 w 4217100"/>
                <a:gd name="connsiteY1" fmla="*/ 0 h 2464111"/>
                <a:gd name="connsiteX2" fmla="*/ 265176 w 4217100"/>
                <a:gd name="connsiteY2" fmla="*/ 1 h 2464111"/>
                <a:gd name="connsiteX3" fmla="*/ 4217100 w 4217100"/>
                <a:gd name="connsiteY3" fmla="*/ 1 h 2464111"/>
                <a:gd name="connsiteX4" fmla="*/ 4217100 w 4217100"/>
                <a:gd name="connsiteY4" fmla="*/ 264603 h 2464111"/>
                <a:gd name="connsiteX5" fmla="*/ 265176 w 4217100"/>
                <a:gd name="connsiteY5" fmla="*/ 264603 h 2464111"/>
                <a:gd name="connsiteX6" fmla="*/ 265176 w 4217100"/>
                <a:gd name="connsiteY6" fmla="*/ 2464111 h 2464111"/>
                <a:gd name="connsiteX7" fmla="*/ 0 w 4217100"/>
                <a:gd name="connsiteY7" fmla="*/ 2464111 h 2464111"/>
                <a:gd name="connsiteX8" fmla="*/ 0 w 4217100"/>
                <a:gd name="connsiteY8" fmla="*/ 264603 h 2464111"/>
                <a:gd name="connsiteX9" fmla="*/ 0 w 4217100"/>
                <a:gd name="connsiteY9" fmla="*/ 1 h 2464111"/>
                <a:gd name="connsiteX0" fmla="*/ 0 w 4217100"/>
                <a:gd name="connsiteY0" fmla="*/ 0 h 2464111"/>
                <a:gd name="connsiteX1" fmla="*/ 265176 w 4217100"/>
                <a:gd name="connsiteY1" fmla="*/ 0 h 2464111"/>
                <a:gd name="connsiteX2" fmla="*/ 4217100 w 4217100"/>
                <a:gd name="connsiteY2" fmla="*/ 1 h 2464111"/>
                <a:gd name="connsiteX3" fmla="*/ 4217100 w 4217100"/>
                <a:gd name="connsiteY3" fmla="*/ 264603 h 2464111"/>
                <a:gd name="connsiteX4" fmla="*/ 265176 w 4217100"/>
                <a:gd name="connsiteY4" fmla="*/ 264603 h 2464111"/>
                <a:gd name="connsiteX5" fmla="*/ 265176 w 4217100"/>
                <a:gd name="connsiteY5" fmla="*/ 2464111 h 2464111"/>
                <a:gd name="connsiteX6" fmla="*/ 0 w 4217100"/>
                <a:gd name="connsiteY6" fmla="*/ 2464111 h 2464111"/>
                <a:gd name="connsiteX7" fmla="*/ 0 w 4217100"/>
                <a:gd name="connsiteY7" fmla="*/ 264603 h 2464111"/>
                <a:gd name="connsiteX8" fmla="*/ 0 w 4217100"/>
                <a:gd name="connsiteY8" fmla="*/ 1 h 2464111"/>
                <a:gd name="connsiteX9" fmla="*/ 0 w 4217100"/>
                <a:gd name="connsiteY9"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264603 h 2464111"/>
                <a:gd name="connsiteX7" fmla="*/ 0 w 4217100"/>
                <a:gd name="connsiteY7" fmla="*/ 1 h 2464111"/>
                <a:gd name="connsiteX8" fmla="*/ 0 w 4217100"/>
                <a:gd name="connsiteY8"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1 h 2464111"/>
                <a:gd name="connsiteX7" fmla="*/ 0 w 4217100"/>
                <a:gd name="connsiteY7" fmla="*/ 0 h 246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7100" h="2464111">
                  <a:moveTo>
                    <a:pt x="0" y="0"/>
                  </a:moveTo>
                  <a:lnTo>
                    <a:pt x="4217100" y="1"/>
                  </a:lnTo>
                  <a:lnTo>
                    <a:pt x="4217100" y="264603"/>
                  </a:lnTo>
                  <a:lnTo>
                    <a:pt x="265176" y="264603"/>
                  </a:lnTo>
                  <a:lnTo>
                    <a:pt x="265176" y="2464111"/>
                  </a:lnTo>
                  <a:lnTo>
                    <a:pt x="0" y="2464111"/>
                  </a:lnTo>
                  <a:lnTo>
                    <a:pt x="0" y="1"/>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60" name="Straight Connector 59">
            <a:extLst>
              <a:ext uri="{FF2B5EF4-FFF2-40B4-BE49-F238E27FC236}">
                <a16:creationId xmlns:a16="http://schemas.microsoft.com/office/drawing/2014/main" id="{0C985B03-A816-460F-82B0-BBC1FCAD2FD8}"/>
              </a:ext>
            </a:extLst>
          </p:cNvPr>
          <p:cNvCxnSpPr/>
          <p:nvPr/>
        </p:nvCxnSpPr>
        <p:spPr>
          <a:xfrm>
            <a:off x="3099923" y="4487150"/>
            <a:ext cx="833255"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F8AB3AD-C649-441D-B5F7-477EBD23AF42}"/>
              </a:ext>
            </a:extLst>
          </p:cNvPr>
          <p:cNvSpPr txBox="1"/>
          <p:nvPr/>
        </p:nvSpPr>
        <p:spPr>
          <a:xfrm>
            <a:off x="3178416" y="4617744"/>
            <a:ext cx="974266" cy="415498"/>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Azure Storage</a:t>
            </a:r>
          </a:p>
        </p:txBody>
      </p:sp>
      <p:sp>
        <p:nvSpPr>
          <p:cNvPr id="33" name="Freeform 163">
            <a:extLst>
              <a:ext uri="{FF2B5EF4-FFF2-40B4-BE49-F238E27FC236}">
                <a16:creationId xmlns:a16="http://schemas.microsoft.com/office/drawing/2014/main" id="{EFECB64D-7877-4EC7-A0D9-9BC43FCEDD61}"/>
              </a:ext>
            </a:extLst>
          </p:cNvPr>
          <p:cNvSpPr/>
          <p:nvPr/>
        </p:nvSpPr>
        <p:spPr bwMode="auto">
          <a:xfrm>
            <a:off x="2873658" y="4633445"/>
            <a:ext cx="444302" cy="384096"/>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Freeform 220">
            <a:extLst>
              <a:ext uri="{FF2B5EF4-FFF2-40B4-BE49-F238E27FC236}">
                <a16:creationId xmlns:a16="http://schemas.microsoft.com/office/drawing/2014/main" id="{DCEF9906-E7C4-4CA9-BEA8-D1E0289C5582}"/>
              </a:ext>
            </a:extLst>
          </p:cNvPr>
          <p:cNvSpPr/>
          <p:nvPr/>
        </p:nvSpPr>
        <p:spPr bwMode="auto">
          <a:xfrm>
            <a:off x="7888393" y="4126262"/>
            <a:ext cx="298162" cy="29816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Text Placeholder 4">
            <a:extLst>
              <a:ext uri="{FF2B5EF4-FFF2-40B4-BE49-F238E27FC236}">
                <a16:creationId xmlns:a16="http://schemas.microsoft.com/office/drawing/2014/main" id="{42DB5A8B-F6A7-4CCE-BE64-C9C094C51BA9}"/>
              </a:ext>
            </a:extLst>
          </p:cNvPr>
          <p:cNvSpPr txBox="1">
            <a:spLocks/>
          </p:cNvSpPr>
          <p:nvPr/>
        </p:nvSpPr>
        <p:spPr>
          <a:xfrm>
            <a:off x="342831" y="5260699"/>
            <a:ext cx="11906250" cy="1514261"/>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rPr>
              <a:t>Example Scenario: N</a:t>
            </a:r>
            <a:r>
              <a:rPr lang="en-US" sz="1400" b="1" err="1">
                <a:solidFill>
                  <a:srgbClr val="505050"/>
                </a:solidFill>
                <a:latin typeface="Segoe UI"/>
              </a:rPr>
              <a:t>eed</a:t>
            </a:r>
            <a:r>
              <a:rPr lang="en-US" sz="1400" b="1">
                <a:solidFill>
                  <a:srgbClr val="505050"/>
                </a:solidFill>
                <a:latin typeface="Segoe UI"/>
              </a:rPr>
              <a:t> immediate and customer relevant updates to online product catalogs </a:t>
            </a:r>
          </a:p>
          <a:p>
            <a:pPr>
              <a:defRPr/>
            </a:pPr>
            <a:r>
              <a:rPr lang="en-US" sz="1400">
                <a:solidFill>
                  <a:srgbClr val="505050"/>
                </a:solidFill>
                <a:latin typeface="Segoe UI"/>
              </a:rPr>
              <a:t>A Retailer wants to quickly move their products online, but does not have the skills, knowledge, or time to build their own search engine.  </a:t>
            </a:r>
          </a:p>
          <a:p>
            <a:pPr>
              <a:defRPr/>
            </a:pPr>
            <a:r>
              <a:rPr lang="en-US" sz="1400">
                <a:solidFill>
                  <a:srgbClr val="505050"/>
                </a:solidFill>
                <a:latin typeface="Segoe UI"/>
              </a:rPr>
              <a:t>In order to move quickly, they use Azure Search to ingest their product descriptions, images, and pricing catalogues in order to create a search index that is surfaced via Azure Web App to their customers.  </a:t>
            </a:r>
          </a:p>
          <a:p>
            <a:pPr>
              <a:defRPr/>
            </a:pPr>
            <a:r>
              <a:rPr lang="en-US" sz="1400">
                <a:solidFill>
                  <a:srgbClr val="505050"/>
                </a:solidFill>
                <a:latin typeface="Segoe UI"/>
              </a:rPr>
              <a:t>Azure Search automatically crawls their data at a regular interval in order to update the search index in case products are out of stock or new products are added to their inventory.</a:t>
            </a:r>
          </a:p>
        </p:txBody>
      </p:sp>
      <p:sp>
        <p:nvSpPr>
          <p:cNvPr id="41" name="Title 1">
            <a:extLst>
              <a:ext uri="{FF2B5EF4-FFF2-40B4-BE49-F238E27FC236}">
                <a16:creationId xmlns:a16="http://schemas.microsoft.com/office/drawing/2014/main" id="{57CD342B-D0F9-4515-A960-65A7CB27FDBF}"/>
              </a:ext>
            </a:extLst>
          </p:cNvPr>
          <p:cNvSpPr txBox="1">
            <a:spLocks/>
          </p:cNvSpPr>
          <p:nvPr/>
        </p:nvSpPr>
        <p:spPr>
          <a:xfrm>
            <a:off x="342831" y="459045"/>
            <a:ext cx="11655840" cy="1202484"/>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Customer Facing Search </a:t>
            </a:r>
          </a:p>
        </p:txBody>
      </p:sp>
    </p:spTree>
    <p:extLst>
      <p:ext uri="{BB962C8B-B14F-4D97-AF65-F5344CB8AC3E}">
        <p14:creationId xmlns:p14="http://schemas.microsoft.com/office/powerpoint/2010/main" val="7011686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Freeform 205">
            <a:extLst>
              <a:ext uri="{FF2B5EF4-FFF2-40B4-BE49-F238E27FC236}">
                <a16:creationId xmlns:a16="http://schemas.microsoft.com/office/drawing/2014/main" id="{2373061B-492F-49AB-8F8E-8390EE7B45AA}"/>
              </a:ext>
            </a:extLst>
          </p:cNvPr>
          <p:cNvSpPr/>
          <p:nvPr/>
        </p:nvSpPr>
        <p:spPr bwMode="auto">
          <a:xfrm>
            <a:off x="11101772" y="1061762"/>
            <a:ext cx="399212" cy="272483"/>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89" name="Rectangle 88">
            <a:extLst>
              <a:ext uri="{FF2B5EF4-FFF2-40B4-BE49-F238E27FC236}">
                <a16:creationId xmlns:a16="http://schemas.microsoft.com/office/drawing/2014/main" id="{31BB8666-2FE8-4BEB-8F85-AAAAA76715C7}"/>
              </a:ext>
            </a:extLst>
          </p:cNvPr>
          <p:cNvSpPr/>
          <p:nvPr/>
        </p:nvSpPr>
        <p:spPr>
          <a:xfrm>
            <a:off x="10095317" y="4128469"/>
            <a:ext cx="1311276"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Azure Web App</a:t>
            </a:r>
          </a:p>
        </p:txBody>
      </p:sp>
      <p:sp>
        <p:nvSpPr>
          <p:cNvPr id="90" name="Right Bracket 89">
            <a:extLst>
              <a:ext uri="{FF2B5EF4-FFF2-40B4-BE49-F238E27FC236}">
                <a16:creationId xmlns:a16="http://schemas.microsoft.com/office/drawing/2014/main" id="{72FAD1CA-EE31-4603-ACDE-3293859B5E7E}"/>
              </a:ext>
            </a:extLst>
          </p:cNvPr>
          <p:cNvSpPr/>
          <p:nvPr/>
        </p:nvSpPr>
        <p:spPr>
          <a:xfrm>
            <a:off x="3891013" y="2555172"/>
            <a:ext cx="120493" cy="1965352"/>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92" name="Straight Arrow Connector 91">
            <a:extLst>
              <a:ext uri="{FF2B5EF4-FFF2-40B4-BE49-F238E27FC236}">
                <a16:creationId xmlns:a16="http://schemas.microsoft.com/office/drawing/2014/main" id="{30B4BECD-62D4-43F4-AA0D-B20416BE8642}"/>
              </a:ext>
            </a:extLst>
          </p:cNvPr>
          <p:cNvCxnSpPr>
            <a:cxnSpLocks/>
          </p:cNvCxnSpPr>
          <p:nvPr/>
        </p:nvCxnSpPr>
        <p:spPr>
          <a:xfrm>
            <a:off x="4011506" y="3545695"/>
            <a:ext cx="510912"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7BED7369-0EF2-4CC3-BFB5-85D8C7F64D47}"/>
              </a:ext>
            </a:extLst>
          </p:cNvPr>
          <p:cNvCxnSpPr>
            <a:cxnSpLocks/>
          </p:cNvCxnSpPr>
          <p:nvPr/>
        </p:nvCxnSpPr>
        <p:spPr>
          <a:xfrm>
            <a:off x="8828770" y="3456385"/>
            <a:ext cx="868134"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E32154A-D75A-4A5E-ABA6-ABC3D7861F7B}"/>
              </a:ext>
            </a:extLst>
          </p:cNvPr>
          <p:cNvGrpSpPr/>
          <p:nvPr/>
        </p:nvGrpSpPr>
        <p:grpSpPr>
          <a:xfrm>
            <a:off x="10044100" y="3068575"/>
            <a:ext cx="1115548" cy="874692"/>
            <a:chOff x="8598353" y="4344078"/>
            <a:chExt cx="944789" cy="740802"/>
          </a:xfrm>
        </p:grpSpPr>
        <p:sp>
          <p:nvSpPr>
            <p:cNvPr id="103" name="Freeform 5">
              <a:extLst>
                <a:ext uri="{FF2B5EF4-FFF2-40B4-BE49-F238E27FC236}">
                  <a16:creationId xmlns:a16="http://schemas.microsoft.com/office/drawing/2014/main" id="{2223F8AE-DEB9-4684-B652-D55E56362A6B}"/>
                </a:ext>
              </a:extLst>
            </p:cNvPr>
            <p:cNvSpPr>
              <a:spLocks/>
            </p:cNvSpPr>
            <p:nvPr/>
          </p:nvSpPr>
          <p:spPr bwMode="auto">
            <a:xfrm>
              <a:off x="8598353" y="4344078"/>
              <a:ext cx="944789" cy="740802"/>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useBgFill="1">
          <p:nvSpPr>
            <p:cNvPr id="104" name="Rectangle 103">
              <a:extLst>
                <a:ext uri="{FF2B5EF4-FFF2-40B4-BE49-F238E27FC236}">
                  <a16:creationId xmlns:a16="http://schemas.microsoft.com/office/drawing/2014/main" id="{3BCF2155-412C-4EAB-8D2B-7677D06055F1}"/>
                </a:ext>
              </a:extLst>
            </p:cNvPr>
            <p:cNvSpPr/>
            <p:nvPr/>
          </p:nvSpPr>
          <p:spPr bwMode="auto">
            <a:xfrm>
              <a:off x="8658600" y="4406671"/>
              <a:ext cx="824296" cy="47149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5" name="Group 104">
            <a:extLst>
              <a:ext uri="{FF2B5EF4-FFF2-40B4-BE49-F238E27FC236}">
                <a16:creationId xmlns:a16="http://schemas.microsoft.com/office/drawing/2014/main" id="{ED1FDDA5-36CE-4FA4-BCB9-2E8BF847F523}"/>
              </a:ext>
            </a:extLst>
          </p:cNvPr>
          <p:cNvGrpSpPr/>
          <p:nvPr/>
        </p:nvGrpSpPr>
        <p:grpSpPr>
          <a:xfrm>
            <a:off x="10327265" y="3197230"/>
            <a:ext cx="549218" cy="430854"/>
            <a:chOff x="9152808" y="3451427"/>
            <a:chExt cx="493296" cy="386984"/>
          </a:xfrm>
        </p:grpSpPr>
        <p:grpSp>
          <p:nvGrpSpPr>
            <p:cNvPr id="107" name="Group 106">
              <a:extLst>
                <a:ext uri="{FF2B5EF4-FFF2-40B4-BE49-F238E27FC236}">
                  <a16:creationId xmlns:a16="http://schemas.microsoft.com/office/drawing/2014/main" id="{38ADDCBE-1570-4F8F-B65D-A35B4EBD22CB}"/>
                </a:ext>
              </a:extLst>
            </p:cNvPr>
            <p:cNvGrpSpPr/>
            <p:nvPr/>
          </p:nvGrpSpPr>
          <p:grpSpPr>
            <a:xfrm>
              <a:off x="9152808" y="3451427"/>
              <a:ext cx="493296" cy="386984"/>
              <a:chOff x="9215306" y="3500456"/>
              <a:chExt cx="368300" cy="288925"/>
            </a:xfrm>
          </p:grpSpPr>
          <p:sp>
            <p:nvSpPr>
              <p:cNvPr id="118" name="Freeform 283">
                <a:extLst>
                  <a:ext uri="{FF2B5EF4-FFF2-40B4-BE49-F238E27FC236}">
                    <a16:creationId xmlns:a16="http://schemas.microsoft.com/office/drawing/2014/main" id="{FBB95426-86DE-4BAE-B4B7-AC67B650DEC2}"/>
                  </a:ext>
                </a:extLst>
              </p:cNvPr>
              <p:cNvSpPr>
                <a:spLocks/>
              </p:cNvSpPr>
              <p:nvPr/>
            </p:nvSpPr>
            <p:spPr bwMode="auto">
              <a:xfrm>
                <a:off x="9215306" y="3579831"/>
                <a:ext cx="368300" cy="209550"/>
              </a:xfrm>
              <a:prstGeom prst="rect">
                <a:avLst/>
              </a:pr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284">
                <a:extLst>
                  <a:ext uri="{FF2B5EF4-FFF2-40B4-BE49-F238E27FC236}">
                    <a16:creationId xmlns:a16="http://schemas.microsoft.com/office/drawing/2014/main" id="{0286CDEC-4399-435D-B9B2-65298D895632}"/>
                  </a:ext>
                </a:extLst>
              </p:cNvPr>
              <p:cNvSpPr>
                <a:spLocks/>
              </p:cNvSpPr>
              <p:nvPr/>
            </p:nvSpPr>
            <p:spPr bwMode="auto">
              <a:xfrm>
                <a:off x="9215306" y="3500456"/>
                <a:ext cx="368300" cy="52388"/>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15" name="Graphic 9" descr="World">
              <a:extLst>
                <a:ext uri="{FF2B5EF4-FFF2-40B4-BE49-F238E27FC236}">
                  <a16:creationId xmlns:a16="http://schemas.microsoft.com/office/drawing/2014/main" id="{F80A9EAE-5A65-44A4-8DDD-657C5991B36E}"/>
                </a:ext>
              </a:extLst>
            </p:cNvPr>
            <p:cNvSpPr/>
            <p:nvPr/>
          </p:nvSpPr>
          <p:spPr>
            <a:xfrm>
              <a:off x="9295506" y="3594126"/>
              <a:ext cx="207900" cy="207900"/>
            </a:xfrm>
            <a:custGeom>
              <a:avLst/>
              <a:gdLst>
                <a:gd name="connsiteX0" fmla="*/ 421481 w 733425"/>
                <a:gd name="connsiteY0" fmla="*/ 669131 h 733425"/>
                <a:gd name="connsiteX1" fmla="*/ 558641 w 733425"/>
                <a:gd name="connsiteY1" fmla="*/ 388144 h 733425"/>
                <a:gd name="connsiteX2" fmla="*/ 672941 w 733425"/>
                <a:gd name="connsiteY2" fmla="*/ 388144 h 733425"/>
                <a:gd name="connsiteX3" fmla="*/ 421481 w 733425"/>
                <a:gd name="connsiteY3" fmla="*/ 669131 h 733425"/>
                <a:gd name="connsiteX4" fmla="*/ 65246 w 733425"/>
                <a:gd name="connsiteY4" fmla="*/ 388144 h 733425"/>
                <a:gd name="connsiteX5" fmla="*/ 179546 w 733425"/>
                <a:gd name="connsiteY5" fmla="*/ 388144 h 733425"/>
                <a:gd name="connsiteX6" fmla="*/ 316706 w 733425"/>
                <a:gd name="connsiteY6" fmla="*/ 669131 h 733425"/>
                <a:gd name="connsiteX7" fmla="*/ 65246 w 733425"/>
                <a:gd name="connsiteY7" fmla="*/ 388144 h 733425"/>
                <a:gd name="connsiteX8" fmla="*/ 316706 w 733425"/>
                <a:gd name="connsiteY8" fmla="*/ 69056 h 733425"/>
                <a:gd name="connsiteX9" fmla="*/ 179546 w 733425"/>
                <a:gd name="connsiteY9" fmla="*/ 350044 h 733425"/>
                <a:gd name="connsiteX10" fmla="*/ 65246 w 733425"/>
                <a:gd name="connsiteY10" fmla="*/ 350044 h 733425"/>
                <a:gd name="connsiteX11" fmla="*/ 316706 w 733425"/>
                <a:gd name="connsiteY11" fmla="*/ 69056 h 733425"/>
                <a:gd name="connsiteX12" fmla="*/ 388144 w 733425"/>
                <a:gd name="connsiteY12" fmla="*/ 388144 h 733425"/>
                <a:gd name="connsiteX13" fmla="*/ 520541 w 733425"/>
                <a:gd name="connsiteY13" fmla="*/ 388144 h 733425"/>
                <a:gd name="connsiteX14" fmla="*/ 388144 w 733425"/>
                <a:gd name="connsiteY14" fmla="*/ 650081 h 733425"/>
                <a:gd name="connsiteX15" fmla="*/ 388144 w 733425"/>
                <a:gd name="connsiteY15" fmla="*/ 388144 h 733425"/>
                <a:gd name="connsiteX16" fmla="*/ 350044 w 733425"/>
                <a:gd name="connsiteY16" fmla="*/ 388144 h 733425"/>
                <a:gd name="connsiteX17" fmla="*/ 350044 w 733425"/>
                <a:gd name="connsiteY17" fmla="*/ 650081 h 733425"/>
                <a:gd name="connsiteX18" fmla="*/ 217646 w 733425"/>
                <a:gd name="connsiteY18" fmla="*/ 388144 h 733425"/>
                <a:gd name="connsiteX19" fmla="*/ 350044 w 733425"/>
                <a:gd name="connsiteY19" fmla="*/ 388144 h 733425"/>
                <a:gd name="connsiteX20" fmla="*/ 388144 w 733425"/>
                <a:gd name="connsiteY20" fmla="*/ 88106 h 733425"/>
                <a:gd name="connsiteX21" fmla="*/ 520541 w 733425"/>
                <a:gd name="connsiteY21" fmla="*/ 350044 h 733425"/>
                <a:gd name="connsiteX22" fmla="*/ 388144 w 733425"/>
                <a:gd name="connsiteY22" fmla="*/ 350044 h 733425"/>
                <a:gd name="connsiteX23" fmla="*/ 388144 w 733425"/>
                <a:gd name="connsiteY23" fmla="*/ 88106 h 733425"/>
                <a:gd name="connsiteX24" fmla="*/ 350044 w 733425"/>
                <a:gd name="connsiteY24" fmla="*/ 350044 h 733425"/>
                <a:gd name="connsiteX25" fmla="*/ 217646 w 733425"/>
                <a:gd name="connsiteY25" fmla="*/ 350044 h 733425"/>
                <a:gd name="connsiteX26" fmla="*/ 350044 w 733425"/>
                <a:gd name="connsiteY26" fmla="*/ 88106 h 733425"/>
                <a:gd name="connsiteX27" fmla="*/ 350044 w 733425"/>
                <a:gd name="connsiteY27" fmla="*/ 350044 h 733425"/>
                <a:gd name="connsiteX28" fmla="*/ 672941 w 733425"/>
                <a:gd name="connsiteY28" fmla="*/ 350044 h 733425"/>
                <a:gd name="connsiteX29" fmla="*/ 558641 w 733425"/>
                <a:gd name="connsiteY29" fmla="*/ 350044 h 733425"/>
                <a:gd name="connsiteX30" fmla="*/ 421481 w 733425"/>
                <a:gd name="connsiteY30" fmla="*/ 69056 h 733425"/>
                <a:gd name="connsiteX31" fmla="*/ 672941 w 733425"/>
                <a:gd name="connsiteY31" fmla="*/ 350044 h 733425"/>
                <a:gd name="connsiteX32" fmla="*/ 369094 w 733425"/>
                <a:gd name="connsiteY32" fmla="*/ 7144 h 733425"/>
                <a:gd name="connsiteX33" fmla="*/ 7144 w 733425"/>
                <a:gd name="connsiteY33" fmla="*/ 369094 h 733425"/>
                <a:gd name="connsiteX34" fmla="*/ 369094 w 733425"/>
                <a:gd name="connsiteY34" fmla="*/ 731044 h 733425"/>
                <a:gd name="connsiteX35" fmla="*/ 731044 w 733425"/>
                <a:gd name="connsiteY35" fmla="*/ 369094 h 733425"/>
                <a:gd name="connsiteX36" fmla="*/ 369094 w 733425"/>
                <a:gd name="connsiteY36" fmla="*/ 71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33425" h="733425">
                  <a:moveTo>
                    <a:pt x="421481" y="669131"/>
                  </a:moveTo>
                  <a:cubicBezTo>
                    <a:pt x="483394" y="592931"/>
                    <a:pt x="551974" y="496729"/>
                    <a:pt x="558641" y="388144"/>
                  </a:cubicBezTo>
                  <a:lnTo>
                    <a:pt x="672941" y="388144"/>
                  </a:lnTo>
                  <a:cubicBezTo>
                    <a:pt x="664369" y="530066"/>
                    <a:pt x="558641" y="645319"/>
                    <a:pt x="421481" y="669131"/>
                  </a:cubicBezTo>
                  <a:close/>
                  <a:moveTo>
                    <a:pt x="65246" y="388144"/>
                  </a:moveTo>
                  <a:lnTo>
                    <a:pt x="179546" y="388144"/>
                  </a:lnTo>
                  <a:cubicBezTo>
                    <a:pt x="187166" y="496729"/>
                    <a:pt x="254794" y="592931"/>
                    <a:pt x="316706" y="669131"/>
                  </a:cubicBezTo>
                  <a:cubicBezTo>
                    <a:pt x="179546" y="645319"/>
                    <a:pt x="73819" y="530066"/>
                    <a:pt x="65246" y="388144"/>
                  </a:cubicBezTo>
                  <a:close/>
                  <a:moveTo>
                    <a:pt x="316706" y="69056"/>
                  </a:moveTo>
                  <a:cubicBezTo>
                    <a:pt x="254794" y="145256"/>
                    <a:pt x="186214" y="241459"/>
                    <a:pt x="179546" y="350044"/>
                  </a:cubicBezTo>
                  <a:lnTo>
                    <a:pt x="65246" y="350044"/>
                  </a:lnTo>
                  <a:cubicBezTo>
                    <a:pt x="73819" y="208121"/>
                    <a:pt x="179546" y="92869"/>
                    <a:pt x="316706" y="69056"/>
                  </a:cubicBezTo>
                  <a:close/>
                  <a:moveTo>
                    <a:pt x="388144" y="388144"/>
                  </a:moveTo>
                  <a:lnTo>
                    <a:pt x="520541" y="388144"/>
                  </a:lnTo>
                  <a:cubicBezTo>
                    <a:pt x="512921" y="486251"/>
                    <a:pt x="449104" y="574834"/>
                    <a:pt x="388144" y="650081"/>
                  </a:cubicBezTo>
                  <a:lnTo>
                    <a:pt x="388144" y="388144"/>
                  </a:lnTo>
                  <a:close/>
                  <a:moveTo>
                    <a:pt x="350044" y="388144"/>
                  </a:moveTo>
                  <a:lnTo>
                    <a:pt x="350044" y="650081"/>
                  </a:lnTo>
                  <a:cubicBezTo>
                    <a:pt x="289084" y="574834"/>
                    <a:pt x="225266" y="486251"/>
                    <a:pt x="217646" y="388144"/>
                  </a:cubicBezTo>
                  <a:lnTo>
                    <a:pt x="350044" y="388144"/>
                  </a:lnTo>
                  <a:close/>
                  <a:moveTo>
                    <a:pt x="388144" y="88106"/>
                  </a:moveTo>
                  <a:cubicBezTo>
                    <a:pt x="449104" y="163354"/>
                    <a:pt x="512921" y="250984"/>
                    <a:pt x="520541" y="350044"/>
                  </a:cubicBezTo>
                  <a:lnTo>
                    <a:pt x="388144" y="350044"/>
                  </a:lnTo>
                  <a:lnTo>
                    <a:pt x="388144" y="88106"/>
                  </a:lnTo>
                  <a:close/>
                  <a:moveTo>
                    <a:pt x="350044" y="350044"/>
                  </a:moveTo>
                  <a:lnTo>
                    <a:pt x="217646" y="350044"/>
                  </a:lnTo>
                  <a:cubicBezTo>
                    <a:pt x="225266" y="251936"/>
                    <a:pt x="289084" y="163354"/>
                    <a:pt x="350044" y="88106"/>
                  </a:cubicBezTo>
                  <a:lnTo>
                    <a:pt x="350044" y="350044"/>
                  </a:lnTo>
                  <a:close/>
                  <a:moveTo>
                    <a:pt x="672941" y="350044"/>
                  </a:moveTo>
                  <a:lnTo>
                    <a:pt x="558641" y="350044"/>
                  </a:lnTo>
                  <a:cubicBezTo>
                    <a:pt x="551974" y="241459"/>
                    <a:pt x="483394" y="145256"/>
                    <a:pt x="421481" y="69056"/>
                  </a:cubicBezTo>
                  <a:cubicBezTo>
                    <a:pt x="558641" y="92869"/>
                    <a:pt x="664369" y="208121"/>
                    <a:pt x="672941" y="350044"/>
                  </a:cubicBezTo>
                  <a:close/>
                  <a:moveTo>
                    <a:pt x="369094" y="7144"/>
                  </a:moveTo>
                  <a:cubicBezTo>
                    <a:pt x="169069" y="7144"/>
                    <a:pt x="7144" y="169069"/>
                    <a:pt x="7144" y="369094"/>
                  </a:cubicBezTo>
                  <a:cubicBezTo>
                    <a:pt x="7144" y="569119"/>
                    <a:pt x="169069" y="731044"/>
                    <a:pt x="369094" y="731044"/>
                  </a:cubicBezTo>
                  <a:cubicBezTo>
                    <a:pt x="569119" y="731044"/>
                    <a:pt x="731044" y="569119"/>
                    <a:pt x="731044" y="369094"/>
                  </a:cubicBezTo>
                  <a:cubicBezTo>
                    <a:pt x="731044" y="169069"/>
                    <a:pt x="569119" y="7144"/>
                    <a:pt x="369094" y="714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0" name="Freeform 205">
            <a:extLst>
              <a:ext uri="{FF2B5EF4-FFF2-40B4-BE49-F238E27FC236}">
                <a16:creationId xmlns:a16="http://schemas.microsoft.com/office/drawing/2014/main" id="{A7196E14-18F7-44AD-BA2D-54956083C6B5}"/>
              </a:ext>
            </a:extLst>
          </p:cNvPr>
          <p:cNvSpPr/>
          <p:nvPr/>
        </p:nvSpPr>
        <p:spPr bwMode="auto">
          <a:xfrm>
            <a:off x="7502467" y="3111388"/>
            <a:ext cx="963502" cy="657640"/>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138" name="TextBox 137">
            <a:extLst>
              <a:ext uri="{FF2B5EF4-FFF2-40B4-BE49-F238E27FC236}">
                <a16:creationId xmlns:a16="http://schemas.microsoft.com/office/drawing/2014/main" id="{F7E61273-6D24-4748-A06B-2BE76A79ECBF}"/>
              </a:ext>
            </a:extLst>
          </p:cNvPr>
          <p:cNvSpPr txBox="1"/>
          <p:nvPr/>
        </p:nvSpPr>
        <p:spPr>
          <a:xfrm>
            <a:off x="2835663" y="3128532"/>
            <a:ext cx="968401"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ocuments</a:t>
            </a:r>
          </a:p>
        </p:txBody>
      </p:sp>
      <p:sp>
        <p:nvSpPr>
          <p:cNvPr id="139" name="TextBox 138">
            <a:extLst>
              <a:ext uri="{FF2B5EF4-FFF2-40B4-BE49-F238E27FC236}">
                <a16:creationId xmlns:a16="http://schemas.microsoft.com/office/drawing/2014/main" id="{F45F84E5-FD89-4306-8569-644971C247C6}"/>
              </a:ext>
            </a:extLst>
          </p:cNvPr>
          <p:cNvSpPr txBox="1"/>
          <p:nvPr/>
        </p:nvSpPr>
        <p:spPr>
          <a:xfrm>
            <a:off x="2835663" y="4227416"/>
            <a:ext cx="968401"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Images</a:t>
            </a:r>
          </a:p>
        </p:txBody>
      </p:sp>
      <p:sp>
        <p:nvSpPr>
          <p:cNvPr id="140" name="TextBox 139">
            <a:extLst>
              <a:ext uri="{FF2B5EF4-FFF2-40B4-BE49-F238E27FC236}">
                <a16:creationId xmlns:a16="http://schemas.microsoft.com/office/drawing/2014/main" id="{78C9D5D5-400E-480D-B174-1BE30925D3D1}"/>
              </a:ext>
            </a:extLst>
          </p:cNvPr>
          <p:cNvSpPr txBox="1"/>
          <p:nvPr/>
        </p:nvSpPr>
        <p:spPr>
          <a:xfrm>
            <a:off x="1630480" y="3128532"/>
            <a:ext cx="1075058"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ales</a:t>
            </a:r>
          </a:p>
        </p:txBody>
      </p:sp>
      <p:sp>
        <p:nvSpPr>
          <p:cNvPr id="141" name="TextBox 140">
            <a:extLst>
              <a:ext uri="{FF2B5EF4-FFF2-40B4-BE49-F238E27FC236}">
                <a16:creationId xmlns:a16="http://schemas.microsoft.com/office/drawing/2014/main" id="{FB586A50-CCAC-4A8E-9BB3-860FD1C39700}"/>
              </a:ext>
            </a:extLst>
          </p:cNvPr>
          <p:cNvSpPr txBox="1"/>
          <p:nvPr/>
        </p:nvSpPr>
        <p:spPr>
          <a:xfrm>
            <a:off x="1630480" y="4227416"/>
            <a:ext cx="1075058"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irectories</a:t>
            </a:r>
          </a:p>
        </p:txBody>
      </p:sp>
      <p:sp>
        <p:nvSpPr>
          <p:cNvPr id="142" name="TextBox 141">
            <a:extLst>
              <a:ext uri="{FF2B5EF4-FFF2-40B4-BE49-F238E27FC236}">
                <a16:creationId xmlns:a16="http://schemas.microsoft.com/office/drawing/2014/main" id="{4A5D5D7D-0D62-47CB-B82A-F8A7A537133D}"/>
              </a:ext>
            </a:extLst>
          </p:cNvPr>
          <p:cNvSpPr txBox="1"/>
          <p:nvPr/>
        </p:nvSpPr>
        <p:spPr>
          <a:xfrm>
            <a:off x="426747" y="4200250"/>
            <a:ext cx="1075058"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ontent metadata</a:t>
            </a:r>
          </a:p>
        </p:txBody>
      </p:sp>
      <p:grpSp>
        <p:nvGrpSpPr>
          <p:cNvPr id="149" name="Group 32">
            <a:extLst>
              <a:ext uri="{FF2B5EF4-FFF2-40B4-BE49-F238E27FC236}">
                <a16:creationId xmlns:a16="http://schemas.microsoft.com/office/drawing/2014/main" id="{1FA3E931-E467-481B-9BD5-BE8262BA502E}"/>
              </a:ext>
            </a:extLst>
          </p:cNvPr>
          <p:cNvGrpSpPr>
            <a:grpSpLocks noChangeAspect="1"/>
          </p:cNvGrpSpPr>
          <p:nvPr/>
        </p:nvGrpSpPr>
        <p:grpSpPr bwMode="auto">
          <a:xfrm>
            <a:off x="1964148" y="3657757"/>
            <a:ext cx="407722" cy="473282"/>
            <a:chOff x="3305" y="816"/>
            <a:chExt cx="199" cy="231"/>
          </a:xfrm>
        </p:grpSpPr>
        <p:sp>
          <p:nvSpPr>
            <p:cNvPr id="150" name="Freeform 33">
              <a:extLst>
                <a:ext uri="{FF2B5EF4-FFF2-40B4-BE49-F238E27FC236}">
                  <a16:creationId xmlns:a16="http://schemas.microsoft.com/office/drawing/2014/main" id="{3F6BABCC-BDEA-4E49-A8C2-17D71D03EA07}"/>
                </a:ext>
              </a:extLst>
            </p:cNvPr>
            <p:cNvSpPr>
              <a:spLocks noEditPoints="1"/>
            </p:cNvSpPr>
            <p:nvPr/>
          </p:nvSpPr>
          <p:spPr bwMode="auto">
            <a:xfrm>
              <a:off x="3305" y="816"/>
              <a:ext cx="199" cy="200"/>
            </a:xfrm>
            <a:custGeom>
              <a:avLst/>
              <a:gdLst>
                <a:gd name="T0" fmla="*/ 55 w 320"/>
                <a:gd name="T1" fmla="*/ 83 h 322"/>
                <a:gd name="T2" fmla="*/ 55 w 320"/>
                <a:gd name="T3" fmla="*/ 83 h 322"/>
                <a:gd name="T4" fmla="*/ 59 w 320"/>
                <a:gd name="T5" fmla="*/ 73 h 322"/>
                <a:gd name="T6" fmla="*/ 67 w 320"/>
                <a:gd name="T7" fmla="*/ 65 h 322"/>
                <a:gd name="T8" fmla="*/ 77 w 320"/>
                <a:gd name="T9" fmla="*/ 55 h 322"/>
                <a:gd name="T10" fmla="*/ 81 w 320"/>
                <a:gd name="T11" fmla="*/ 53 h 322"/>
                <a:gd name="T12" fmla="*/ 85 w 320"/>
                <a:gd name="T13" fmla="*/ 55 h 322"/>
                <a:gd name="T14" fmla="*/ 92 w 320"/>
                <a:gd name="T15" fmla="*/ 61 h 322"/>
                <a:gd name="T16" fmla="*/ 100 w 320"/>
                <a:gd name="T17" fmla="*/ 68 h 322"/>
                <a:gd name="T18" fmla="*/ 107 w 320"/>
                <a:gd name="T19" fmla="*/ 76 h 322"/>
                <a:gd name="T20" fmla="*/ 113 w 320"/>
                <a:gd name="T21" fmla="*/ 83 h 322"/>
                <a:gd name="T22" fmla="*/ 115 w 320"/>
                <a:gd name="T23" fmla="*/ 87 h 322"/>
                <a:gd name="T24" fmla="*/ 111 w 320"/>
                <a:gd name="T25" fmla="*/ 93 h 322"/>
                <a:gd name="T26" fmla="*/ 102 w 320"/>
                <a:gd name="T27" fmla="*/ 102 h 322"/>
                <a:gd name="T28" fmla="*/ 94 w 320"/>
                <a:gd name="T29" fmla="*/ 113 h 322"/>
                <a:gd name="T30" fmla="*/ 90 w 320"/>
                <a:gd name="T31" fmla="*/ 128 h 322"/>
                <a:gd name="T32" fmla="*/ 99 w 320"/>
                <a:gd name="T33" fmla="*/ 151 h 322"/>
                <a:gd name="T34" fmla="*/ 168 w 320"/>
                <a:gd name="T35" fmla="*/ 220 h 322"/>
                <a:gd name="T36" fmla="*/ 179 w 320"/>
                <a:gd name="T37" fmla="*/ 227 h 322"/>
                <a:gd name="T38" fmla="*/ 192 w 320"/>
                <a:gd name="T39" fmla="*/ 230 h 322"/>
                <a:gd name="T40" fmla="*/ 207 w 320"/>
                <a:gd name="T41" fmla="*/ 226 h 322"/>
                <a:gd name="T42" fmla="*/ 218 w 320"/>
                <a:gd name="T43" fmla="*/ 217 h 322"/>
                <a:gd name="T44" fmla="*/ 226 w 320"/>
                <a:gd name="T45" fmla="*/ 208 h 322"/>
                <a:gd name="T46" fmla="*/ 233 w 320"/>
                <a:gd name="T47" fmla="*/ 205 h 322"/>
                <a:gd name="T48" fmla="*/ 237 w 320"/>
                <a:gd name="T49" fmla="*/ 207 h 322"/>
                <a:gd name="T50" fmla="*/ 243 w 320"/>
                <a:gd name="T51" fmla="*/ 212 h 322"/>
                <a:gd name="T52" fmla="*/ 251 w 320"/>
                <a:gd name="T53" fmla="*/ 220 h 322"/>
                <a:gd name="T54" fmla="*/ 259 w 320"/>
                <a:gd name="T55" fmla="*/ 227 h 322"/>
                <a:gd name="T56" fmla="*/ 264 w 320"/>
                <a:gd name="T57" fmla="*/ 234 h 322"/>
                <a:gd name="T58" fmla="*/ 267 w 320"/>
                <a:gd name="T59" fmla="*/ 238 h 322"/>
                <a:gd name="T60" fmla="*/ 265 w 320"/>
                <a:gd name="T61" fmla="*/ 242 h 322"/>
                <a:gd name="T62" fmla="*/ 255 w 320"/>
                <a:gd name="T63" fmla="*/ 252 h 322"/>
                <a:gd name="T64" fmla="*/ 246 w 320"/>
                <a:gd name="T65" fmla="*/ 260 h 322"/>
                <a:gd name="T66" fmla="*/ 236 w 320"/>
                <a:gd name="T67" fmla="*/ 265 h 322"/>
                <a:gd name="T68" fmla="*/ 222 w 320"/>
                <a:gd name="T69" fmla="*/ 266 h 322"/>
                <a:gd name="T70" fmla="*/ 186 w 320"/>
                <a:gd name="T71" fmla="*/ 259 h 322"/>
                <a:gd name="T72" fmla="*/ 148 w 320"/>
                <a:gd name="T73" fmla="*/ 238 h 322"/>
                <a:gd name="T74" fmla="*/ 112 w 320"/>
                <a:gd name="T75" fmla="*/ 208 h 322"/>
                <a:gd name="T76" fmla="*/ 82 w 320"/>
                <a:gd name="T77" fmla="*/ 173 h 322"/>
                <a:gd name="T78" fmla="*/ 61 w 320"/>
                <a:gd name="T79" fmla="*/ 135 h 322"/>
                <a:gd name="T80" fmla="*/ 53 w 320"/>
                <a:gd name="T81" fmla="*/ 97 h 322"/>
                <a:gd name="T82" fmla="*/ 55 w 320"/>
                <a:gd name="T83" fmla="*/ 83 h 322"/>
                <a:gd name="T84" fmla="*/ 320 w 320"/>
                <a:gd name="T85" fmla="*/ 320 h 322"/>
                <a:gd name="T86" fmla="*/ 320 w 320"/>
                <a:gd name="T87" fmla="*/ 320 h 322"/>
                <a:gd name="T88" fmla="*/ 320 w 320"/>
                <a:gd name="T89" fmla="*/ 0 h 322"/>
                <a:gd name="T90" fmla="*/ 27 w 320"/>
                <a:gd name="T91" fmla="*/ 0 h 322"/>
                <a:gd name="T92" fmla="*/ 17 w 320"/>
                <a:gd name="T93" fmla="*/ 2 h 322"/>
                <a:gd name="T94" fmla="*/ 8 w 320"/>
                <a:gd name="T95" fmla="*/ 8 h 322"/>
                <a:gd name="T96" fmla="*/ 2 w 320"/>
                <a:gd name="T97" fmla="*/ 17 h 322"/>
                <a:gd name="T98" fmla="*/ 0 w 320"/>
                <a:gd name="T99" fmla="*/ 26 h 322"/>
                <a:gd name="T100" fmla="*/ 0 w 320"/>
                <a:gd name="T101" fmla="*/ 322 h 322"/>
                <a:gd name="T102" fmla="*/ 13 w 320"/>
                <a:gd name="T103" fmla="*/ 320 h 322"/>
                <a:gd name="T104" fmla="*/ 320 w 320"/>
                <a:gd name="T105" fmla="*/ 32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55" y="83"/>
                  </a:moveTo>
                  <a:lnTo>
                    <a:pt x="55" y="83"/>
                  </a:lnTo>
                  <a:cubicBezTo>
                    <a:pt x="56" y="80"/>
                    <a:pt x="57" y="76"/>
                    <a:pt x="59" y="73"/>
                  </a:cubicBezTo>
                  <a:cubicBezTo>
                    <a:pt x="61" y="70"/>
                    <a:pt x="64" y="67"/>
                    <a:pt x="67" y="65"/>
                  </a:cubicBezTo>
                  <a:cubicBezTo>
                    <a:pt x="70" y="62"/>
                    <a:pt x="73" y="58"/>
                    <a:pt x="77" y="55"/>
                  </a:cubicBezTo>
                  <a:cubicBezTo>
                    <a:pt x="78" y="53"/>
                    <a:pt x="80" y="53"/>
                    <a:pt x="81" y="53"/>
                  </a:cubicBezTo>
                  <a:cubicBezTo>
                    <a:pt x="82" y="53"/>
                    <a:pt x="83" y="54"/>
                    <a:pt x="85" y="55"/>
                  </a:cubicBezTo>
                  <a:cubicBezTo>
                    <a:pt x="87" y="56"/>
                    <a:pt x="89" y="58"/>
                    <a:pt x="92" y="61"/>
                  </a:cubicBezTo>
                  <a:cubicBezTo>
                    <a:pt x="94" y="63"/>
                    <a:pt x="97" y="65"/>
                    <a:pt x="100" y="68"/>
                  </a:cubicBezTo>
                  <a:cubicBezTo>
                    <a:pt x="102" y="71"/>
                    <a:pt x="105" y="73"/>
                    <a:pt x="107" y="76"/>
                  </a:cubicBezTo>
                  <a:cubicBezTo>
                    <a:pt x="109" y="78"/>
                    <a:pt x="111" y="81"/>
                    <a:pt x="113" y="83"/>
                  </a:cubicBezTo>
                  <a:cubicBezTo>
                    <a:pt x="114" y="85"/>
                    <a:pt x="115" y="86"/>
                    <a:pt x="115" y="87"/>
                  </a:cubicBezTo>
                  <a:cubicBezTo>
                    <a:pt x="115" y="89"/>
                    <a:pt x="114" y="91"/>
                    <a:pt x="111" y="93"/>
                  </a:cubicBezTo>
                  <a:cubicBezTo>
                    <a:pt x="108" y="96"/>
                    <a:pt x="105" y="99"/>
                    <a:pt x="102" y="102"/>
                  </a:cubicBezTo>
                  <a:cubicBezTo>
                    <a:pt x="99" y="105"/>
                    <a:pt x="96" y="108"/>
                    <a:pt x="94" y="113"/>
                  </a:cubicBezTo>
                  <a:cubicBezTo>
                    <a:pt x="91" y="117"/>
                    <a:pt x="90" y="122"/>
                    <a:pt x="90" y="128"/>
                  </a:cubicBezTo>
                  <a:cubicBezTo>
                    <a:pt x="90" y="137"/>
                    <a:pt x="93" y="145"/>
                    <a:pt x="99" y="151"/>
                  </a:cubicBezTo>
                  <a:lnTo>
                    <a:pt x="168" y="220"/>
                  </a:lnTo>
                  <a:cubicBezTo>
                    <a:pt x="171" y="223"/>
                    <a:pt x="175" y="226"/>
                    <a:pt x="179" y="227"/>
                  </a:cubicBezTo>
                  <a:cubicBezTo>
                    <a:pt x="183" y="229"/>
                    <a:pt x="187" y="230"/>
                    <a:pt x="192" y="230"/>
                  </a:cubicBezTo>
                  <a:cubicBezTo>
                    <a:pt x="197" y="230"/>
                    <a:pt x="203" y="228"/>
                    <a:pt x="207" y="226"/>
                  </a:cubicBezTo>
                  <a:cubicBezTo>
                    <a:pt x="211" y="223"/>
                    <a:pt x="215" y="220"/>
                    <a:pt x="218" y="217"/>
                  </a:cubicBezTo>
                  <a:cubicBezTo>
                    <a:pt x="221" y="214"/>
                    <a:pt x="224" y="211"/>
                    <a:pt x="226" y="208"/>
                  </a:cubicBezTo>
                  <a:cubicBezTo>
                    <a:pt x="228" y="206"/>
                    <a:pt x="231" y="205"/>
                    <a:pt x="233" y="205"/>
                  </a:cubicBezTo>
                  <a:cubicBezTo>
                    <a:pt x="233" y="205"/>
                    <a:pt x="235" y="205"/>
                    <a:pt x="237" y="207"/>
                  </a:cubicBezTo>
                  <a:cubicBezTo>
                    <a:pt x="239" y="208"/>
                    <a:pt x="241" y="210"/>
                    <a:pt x="243" y="212"/>
                  </a:cubicBezTo>
                  <a:cubicBezTo>
                    <a:pt x="246" y="214"/>
                    <a:pt x="248" y="217"/>
                    <a:pt x="251" y="220"/>
                  </a:cubicBezTo>
                  <a:cubicBezTo>
                    <a:pt x="254" y="222"/>
                    <a:pt x="256" y="225"/>
                    <a:pt x="259" y="227"/>
                  </a:cubicBezTo>
                  <a:cubicBezTo>
                    <a:pt x="261" y="230"/>
                    <a:pt x="263" y="232"/>
                    <a:pt x="264" y="234"/>
                  </a:cubicBezTo>
                  <a:cubicBezTo>
                    <a:pt x="266" y="236"/>
                    <a:pt x="267" y="238"/>
                    <a:pt x="267" y="238"/>
                  </a:cubicBezTo>
                  <a:lnTo>
                    <a:pt x="265" y="242"/>
                  </a:lnTo>
                  <a:cubicBezTo>
                    <a:pt x="261" y="246"/>
                    <a:pt x="258" y="250"/>
                    <a:pt x="255" y="252"/>
                  </a:cubicBezTo>
                  <a:cubicBezTo>
                    <a:pt x="252" y="255"/>
                    <a:pt x="249" y="258"/>
                    <a:pt x="246" y="260"/>
                  </a:cubicBezTo>
                  <a:cubicBezTo>
                    <a:pt x="243" y="262"/>
                    <a:pt x="240" y="264"/>
                    <a:pt x="236" y="265"/>
                  </a:cubicBezTo>
                  <a:cubicBezTo>
                    <a:pt x="233" y="266"/>
                    <a:pt x="228" y="266"/>
                    <a:pt x="222" y="266"/>
                  </a:cubicBezTo>
                  <a:cubicBezTo>
                    <a:pt x="211" y="266"/>
                    <a:pt x="199" y="264"/>
                    <a:pt x="186" y="259"/>
                  </a:cubicBezTo>
                  <a:cubicBezTo>
                    <a:pt x="173" y="254"/>
                    <a:pt x="160" y="247"/>
                    <a:pt x="148" y="238"/>
                  </a:cubicBezTo>
                  <a:cubicBezTo>
                    <a:pt x="135" y="230"/>
                    <a:pt x="123" y="220"/>
                    <a:pt x="112" y="208"/>
                  </a:cubicBezTo>
                  <a:cubicBezTo>
                    <a:pt x="101" y="197"/>
                    <a:pt x="90" y="185"/>
                    <a:pt x="82" y="173"/>
                  </a:cubicBezTo>
                  <a:cubicBezTo>
                    <a:pt x="73" y="160"/>
                    <a:pt x="66" y="147"/>
                    <a:pt x="61" y="135"/>
                  </a:cubicBezTo>
                  <a:cubicBezTo>
                    <a:pt x="56" y="122"/>
                    <a:pt x="53" y="109"/>
                    <a:pt x="53" y="97"/>
                  </a:cubicBezTo>
                  <a:cubicBezTo>
                    <a:pt x="53" y="92"/>
                    <a:pt x="54" y="87"/>
                    <a:pt x="55" y="83"/>
                  </a:cubicBezTo>
                  <a:close/>
                  <a:moveTo>
                    <a:pt x="320" y="320"/>
                  </a:moveTo>
                  <a:lnTo>
                    <a:pt x="320" y="320"/>
                  </a:lnTo>
                  <a:lnTo>
                    <a:pt x="320" y="0"/>
                  </a:lnTo>
                  <a:lnTo>
                    <a:pt x="27" y="0"/>
                  </a:lnTo>
                  <a:cubicBezTo>
                    <a:pt x="23" y="0"/>
                    <a:pt x="20" y="0"/>
                    <a:pt x="17" y="2"/>
                  </a:cubicBezTo>
                  <a:cubicBezTo>
                    <a:pt x="14" y="4"/>
                    <a:pt x="11" y="6"/>
                    <a:pt x="8" y="8"/>
                  </a:cubicBezTo>
                  <a:cubicBezTo>
                    <a:pt x="6" y="11"/>
                    <a:pt x="4" y="13"/>
                    <a:pt x="2" y="17"/>
                  </a:cubicBezTo>
                  <a:cubicBezTo>
                    <a:pt x="1" y="20"/>
                    <a:pt x="0" y="23"/>
                    <a:pt x="0" y="26"/>
                  </a:cubicBezTo>
                  <a:lnTo>
                    <a:pt x="0" y="322"/>
                  </a:lnTo>
                  <a:cubicBezTo>
                    <a:pt x="4" y="320"/>
                    <a:pt x="9" y="320"/>
                    <a:pt x="13" y="320"/>
                  </a:cubicBezTo>
                  <a:lnTo>
                    <a:pt x="320" y="32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34">
              <a:extLst>
                <a:ext uri="{FF2B5EF4-FFF2-40B4-BE49-F238E27FC236}">
                  <a16:creationId xmlns:a16="http://schemas.microsoft.com/office/drawing/2014/main" id="{D69FF413-13B3-42E0-BD34-6F1CF6F5A649}"/>
                </a:ext>
              </a:extLst>
            </p:cNvPr>
            <p:cNvSpPr>
              <a:spLocks/>
            </p:cNvSpPr>
            <p:nvPr/>
          </p:nvSpPr>
          <p:spPr bwMode="auto">
            <a:xfrm>
              <a:off x="3305" y="1030"/>
              <a:ext cx="199" cy="17"/>
            </a:xfrm>
            <a:custGeom>
              <a:avLst/>
              <a:gdLst>
                <a:gd name="T0" fmla="*/ 13 w 320"/>
                <a:gd name="T1" fmla="*/ 27 h 27"/>
                <a:gd name="T2" fmla="*/ 13 w 320"/>
                <a:gd name="T3" fmla="*/ 27 h 27"/>
                <a:gd name="T4" fmla="*/ 320 w 320"/>
                <a:gd name="T5" fmla="*/ 27 h 27"/>
                <a:gd name="T6" fmla="*/ 320 w 320"/>
                <a:gd name="T7" fmla="*/ 0 h 27"/>
                <a:gd name="T8" fmla="*/ 13 w 320"/>
                <a:gd name="T9" fmla="*/ 0 h 27"/>
                <a:gd name="T10" fmla="*/ 4 w 320"/>
                <a:gd name="T11" fmla="*/ 4 h 27"/>
                <a:gd name="T12" fmla="*/ 0 w 320"/>
                <a:gd name="T13" fmla="*/ 14 h 27"/>
                <a:gd name="T14" fmla="*/ 4 w 320"/>
                <a:gd name="T15" fmla="*/ 23 h 27"/>
                <a:gd name="T16" fmla="*/ 13 w 320"/>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7">
                  <a:moveTo>
                    <a:pt x="13" y="27"/>
                  </a:moveTo>
                  <a:lnTo>
                    <a:pt x="13" y="27"/>
                  </a:lnTo>
                  <a:lnTo>
                    <a:pt x="320" y="27"/>
                  </a:lnTo>
                  <a:lnTo>
                    <a:pt x="320" y="0"/>
                  </a:lnTo>
                  <a:lnTo>
                    <a:pt x="13" y="0"/>
                  </a:lnTo>
                  <a:cubicBezTo>
                    <a:pt x="10" y="0"/>
                    <a:pt x="6" y="1"/>
                    <a:pt x="4" y="4"/>
                  </a:cubicBezTo>
                  <a:cubicBezTo>
                    <a:pt x="1" y="7"/>
                    <a:pt x="0" y="10"/>
                    <a:pt x="0" y="14"/>
                  </a:cubicBezTo>
                  <a:cubicBezTo>
                    <a:pt x="0" y="17"/>
                    <a:pt x="1" y="20"/>
                    <a:pt x="4" y="23"/>
                  </a:cubicBezTo>
                  <a:cubicBezTo>
                    <a:pt x="6" y="26"/>
                    <a:pt x="10" y="27"/>
                    <a:pt x="13" y="27"/>
                  </a:cubicBez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35">
              <a:extLst>
                <a:ext uri="{FF2B5EF4-FFF2-40B4-BE49-F238E27FC236}">
                  <a16:creationId xmlns:a16="http://schemas.microsoft.com/office/drawing/2014/main" id="{939B1D8C-B60F-4CA0-8501-8AB10CC063BC}"/>
                </a:ext>
              </a:extLst>
            </p:cNvPr>
            <p:cNvSpPr>
              <a:spLocks/>
            </p:cNvSpPr>
            <p:nvPr/>
          </p:nvSpPr>
          <p:spPr bwMode="auto">
            <a:xfrm>
              <a:off x="3338" y="849"/>
              <a:ext cx="132" cy="132"/>
            </a:xfrm>
            <a:custGeom>
              <a:avLst/>
              <a:gdLst>
                <a:gd name="T0" fmla="*/ 29 w 213"/>
                <a:gd name="T1" fmla="*/ 120 h 213"/>
                <a:gd name="T2" fmla="*/ 29 w 213"/>
                <a:gd name="T3" fmla="*/ 120 h 213"/>
                <a:gd name="T4" fmla="*/ 59 w 213"/>
                <a:gd name="T5" fmla="*/ 155 h 213"/>
                <a:gd name="T6" fmla="*/ 95 w 213"/>
                <a:gd name="T7" fmla="*/ 185 h 213"/>
                <a:gd name="T8" fmla="*/ 133 w 213"/>
                <a:gd name="T9" fmla="*/ 206 h 213"/>
                <a:gd name="T10" fmla="*/ 169 w 213"/>
                <a:gd name="T11" fmla="*/ 213 h 213"/>
                <a:gd name="T12" fmla="*/ 183 w 213"/>
                <a:gd name="T13" fmla="*/ 212 h 213"/>
                <a:gd name="T14" fmla="*/ 193 w 213"/>
                <a:gd name="T15" fmla="*/ 207 h 213"/>
                <a:gd name="T16" fmla="*/ 202 w 213"/>
                <a:gd name="T17" fmla="*/ 199 h 213"/>
                <a:gd name="T18" fmla="*/ 212 w 213"/>
                <a:gd name="T19" fmla="*/ 189 h 213"/>
                <a:gd name="T20" fmla="*/ 213 w 213"/>
                <a:gd name="T21" fmla="*/ 185 h 213"/>
                <a:gd name="T22" fmla="*/ 211 w 213"/>
                <a:gd name="T23" fmla="*/ 181 h 213"/>
                <a:gd name="T24" fmla="*/ 206 w 213"/>
                <a:gd name="T25" fmla="*/ 174 h 213"/>
                <a:gd name="T26" fmla="*/ 198 w 213"/>
                <a:gd name="T27" fmla="*/ 167 h 213"/>
                <a:gd name="T28" fmla="*/ 190 w 213"/>
                <a:gd name="T29" fmla="*/ 159 h 213"/>
                <a:gd name="T30" fmla="*/ 184 w 213"/>
                <a:gd name="T31" fmla="*/ 154 h 213"/>
                <a:gd name="T32" fmla="*/ 180 w 213"/>
                <a:gd name="T33" fmla="*/ 152 h 213"/>
                <a:gd name="T34" fmla="*/ 173 w 213"/>
                <a:gd name="T35" fmla="*/ 155 h 213"/>
                <a:gd name="T36" fmla="*/ 165 w 213"/>
                <a:gd name="T37" fmla="*/ 164 h 213"/>
                <a:gd name="T38" fmla="*/ 154 w 213"/>
                <a:gd name="T39" fmla="*/ 173 h 213"/>
                <a:gd name="T40" fmla="*/ 138 w 213"/>
                <a:gd name="T41" fmla="*/ 177 h 213"/>
                <a:gd name="T42" fmla="*/ 126 w 213"/>
                <a:gd name="T43" fmla="*/ 174 h 213"/>
                <a:gd name="T44" fmla="*/ 115 w 213"/>
                <a:gd name="T45" fmla="*/ 167 h 213"/>
                <a:gd name="T46" fmla="*/ 46 w 213"/>
                <a:gd name="T47" fmla="*/ 98 h 213"/>
                <a:gd name="T48" fmla="*/ 37 w 213"/>
                <a:gd name="T49" fmla="*/ 75 h 213"/>
                <a:gd name="T50" fmla="*/ 41 w 213"/>
                <a:gd name="T51" fmla="*/ 60 h 213"/>
                <a:gd name="T52" fmla="*/ 49 w 213"/>
                <a:gd name="T53" fmla="*/ 49 h 213"/>
                <a:gd name="T54" fmla="*/ 58 w 213"/>
                <a:gd name="T55" fmla="*/ 40 h 213"/>
                <a:gd name="T56" fmla="*/ 62 w 213"/>
                <a:gd name="T57" fmla="*/ 34 h 213"/>
                <a:gd name="T58" fmla="*/ 60 w 213"/>
                <a:gd name="T59" fmla="*/ 30 h 213"/>
                <a:gd name="T60" fmla="*/ 54 w 213"/>
                <a:gd name="T61" fmla="*/ 23 h 213"/>
                <a:gd name="T62" fmla="*/ 47 w 213"/>
                <a:gd name="T63" fmla="*/ 15 h 213"/>
                <a:gd name="T64" fmla="*/ 39 w 213"/>
                <a:gd name="T65" fmla="*/ 8 h 213"/>
                <a:gd name="T66" fmla="*/ 32 w 213"/>
                <a:gd name="T67" fmla="*/ 2 h 213"/>
                <a:gd name="T68" fmla="*/ 28 w 213"/>
                <a:gd name="T69" fmla="*/ 0 h 213"/>
                <a:gd name="T70" fmla="*/ 24 w 213"/>
                <a:gd name="T71" fmla="*/ 2 h 213"/>
                <a:gd name="T72" fmla="*/ 14 w 213"/>
                <a:gd name="T73" fmla="*/ 12 h 213"/>
                <a:gd name="T74" fmla="*/ 6 w 213"/>
                <a:gd name="T75" fmla="*/ 20 h 213"/>
                <a:gd name="T76" fmla="*/ 2 w 213"/>
                <a:gd name="T77" fmla="*/ 30 h 213"/>
                <a:gd name="T78" fmla="*/ 0 w 213"/>
                <a:gd name="T79" fmla="*/ 44 h 213"/>
                <a:gd name="T80" fmla="*/ 8 w 213"/>
                <a:gd name="T81" fmla="*/ 82 h 213"/>
                <a:gd name="T82" fmla="*/ 29 w 213"/>
                <a:gd name="T83" fmla="*/ 12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3" h="213">
                  <a:moveTo>
                    <a:pt x="29" y="120"/>
                  </a:moveTo>
                  <a:lnTo>
                    <a:pt x="29" y="120"/>
                  </a:lnTo>
                  <a:cubicBezTo>
                    <a:pt x="37" y="132"/>
                    <a:pt x="48" y="144"/>
                    <a:pt x="59" y="155"/>
                  </a:cubicBezTo>
                  <a:cubicBezTo>
                    <a:pt x="70" y="167"/>
                    <a:pt x="82" y="177"/>
                    <a:pt x="95" y="185"/>
                  </a:cubicBezTo>
                  <a:cubicBezTo>
                    <a:pt x="107" y="194"/>
                    <a:pt x="120" y="200"/>
                    <a:pt x="133" y="206"/>
                  </a:cubicBezTo>
                  <a:cubicBezTo>
                    <a:pt x="146" y="211"/>
                    <a:pt x="158" y="213"/>
                    <a:pt x="169" y="213"/>
                  </a:cubicBezTo>
                  <a:cubicBezTo>
                    <a:pt x="175" y="213"/>
                    <a:pt x="180" y="213"/>
                    <a:pt x="183" y="212"/>
                  </a:cubicBezTo>
                  <a:cubicBezTo>
                    <a:pt x="187" y="211"/>
                    <a:pt x="190" y="209"/>
                    <a:pt x="193" y="207"/>
                  </a:cubicBezTo>
                  <a:cubicBezTo>
                    <a:pt x="196" y="205"/>
                    <a:pt x="199" y="202"/>
                    <a:pt x="202" y="199"/>
                  </a:cubicBezTo>
                  <a:cubicBezTo>
                    <a:pt x="205" y="197"/>
                    <a:pt x="208" y="193"/>
                    <a:pt x="212" y="189"/>
                  </a:cubicBezTo>
                  <a:lnTo>
                    <a:pt x="213" y="185"/>
                  </a:lnTo>
                  <a:cubicBezTo>
                    <a:pt x="213" y="185"/>
                    <a:pt x="213" y="183"/>
                    <a:pt x="211" y="181"/>
                  </a:cubicBezTo>
                  <a:cubicBezTo>
                    <a:pt x="210" y="179"/>
                    <a:pt x="208" y="177"/>
                    <a:pt x="206" y="174"/>
                  </a:cubicBezTo>
                  <a:cubicBezTo>
                    <a:pt x="203" y="172"/>
                    <a:pt x="201" y="169"/>
                    <a:pt x="198" y="167"/>
                  </a:cubicBezTo>
                  <a:cubicBezTo>
                    <a:pt x="195" y="164"/>
                    <a:pt x="193" y="161"/>
                    <a:pt x="190" y="159"/>
                  </a:cubicBezTo>
                  <a:cubicBezTo>
                    <a:pt x="188" y="157"/>
                    <a:pt x="186" y="155"/>
                    <a:pt x="184" y="154"/>
                  </a:cubicBezTo>
                  <a:cubicBezTo>
                    <a:pt x="182" y="152"/>
                    <a:pt x="180" y="152"/>
                    <a:pt x="180" y="152"/>
                  </a:cubicBezTo>
                  <a:cubicBezTo>
                    <a:pt x="178" y="152"/>
                    <a:pt x="175" y="153"/>
                    <a:pt x="173" y="155"/>
                  </a:cubicBezTo>
                  <a:cubicBezTo>
                    <a:pt x="171" y="158"/>
                    <a:pt x="168" y="161"/>
                    <a:pt x="165" y="164"/>
                  </a:cubicBezTo>
                  <a:cubicBezTo>
                    <a:pt x="162" y="167"/>
                    <a:pt x="158" y="170"/>
                    <a:pt x="154" y="173"/>
                  </a:cubicBezTo>
                  <a:cubicBezTo>
                    <a:pt x="150" y="175"/>
                    <a:pt x="144" y="177"/>
                    <a:pt x="138" y="177"/>
                  </a:cubicBezTo>
                  <a:cubicBezTo>
                    <a:pt x="134" y="177"/>
                    <a:pt x="130" y="176"/>
                    <a:pt x="126" y="174"/>
                  </a:cubicBezTo>
                  <a:cubicBezTo>
                    <a:pt x="122" y="173"/>
                    <a:pt x="118" y="170"/>
                    <a:pt x="115" y="167"/>
                  </a:cubicBezTo>
                  <a:lnTo>
                    <a:pt x="46" y="98"/>
                  </a:lnTo>
                  <a:cubicBezTo>
                    <a:pt x="40" y="92"/>
                    <a:pt x="37" y="84"/>
                    <a:pt x="37" y="75"/>
                  </a:cubicBezTo>
                  <a:cubicBezTo>
                    <a:pt x="37" y="69"/>
                    <a:pt x="38" y="64"/>
                    <a:pt x="41" y="60"/>
                  </a:cubicBezTo>
                  <a:cubicBezTo>
                    <a:pt x="43" y="55"/>
                    <a:pt x="46" y="52"/>
                    <a:pt x="49" y="49"/>
                  </a:cubicBezTo>
                  <a:cubicBezTo>
                    <a:pt x="52" y="46"/>
                    <a:pt x="55" y="43"/>
                    <a:pt x="58" y="40"/>
                  </a:cubicBezTo>
                  <a:cubicBezTo>
                    <a:pt x="61" y="38"/>
                    <a:pt x="62" y="36"/>
                    <a:pt x="62" y="34"/>
                  </a:cubicBezTo>
                  <a:cubicBezTo>
                    <a:pt x="62" y="33"/>
                    <a:pt x="61" y="32"/>
                    <a:pt x="60" y="30"/>
                  </a:cubicBezTo>
                  <a:cubicBezTo>
                    <a:pt x="58" y="28"/>
                    <a:pt x="56" y="25"/>
                    <a:pt x="54" y="23"/>
                  </a:cubicBezTo>
                  <a:cubicBezTo>
                    <a:pt x="52" y="20"/>
                    <a:pt x="49" y="18"/>
                    <a:pt x="47" y="15"/>
                  </a:cubicBezTo>
                  <a:cubicBezTo>
                    <a:pt x="44" y="12"/>
                    <a:pt x="41" y="10"/>
                    <a:pt x="39" y="8"/>
                  </a:cubicBezTo>
                  <a:cubicBezTo>
                    <a:pt x="36" y="5"/>
                    <a:pt x="34" y="3"/>
                    <a:pt x="32" y="2"/>
                  </a:cubicBezTo>
                  <a:cubicBezTo>
                    <a:pt x="30" y="1"/>
                    <a:pt x="29" y="0"/>
                    <a:pt x="28" y="0"/>
                  </a:cubicBezTo>
                  <a:cubicBezTo>
                    <a:pt x="27" y="0"/>
                    <a:pt x="25" y="0"/>
                    <a:pt x="24" y="2"/>
                  </a:cubicBezTo>
                  <a:cubicBezTo>
                    <a:pt x="20" y="5"/>
                    <a:pt x="17" y="9"/>
                    <a:pt x="14" y="12"/>
                  </a:cubicBezTo>
                  <a:cubicBezTo>
                    <a:pt x="11" y="14"/>
                    <a:pt x="8" y="17"/>
                    <a:pt x="6" y="20"/>
                  </a:cubicBezTo>
                  <a:cubicBezTo>
                    <a:pt x="4" y="23"/>
                    <a:pt x="3" y="27"/>
                    <a:pt x="2" y="30"/>
                  </a:cubicBezTo>
                  <a:cubicBezTo>
                    <a:pt x="1" y="34"/>
                    <a:pt x="0" y="39"/>
                    <a:pt x="0" y="44"/>
                  </a:cubicBezTo>
                  <a:cubicBezTo>
                    <a:pt x="0" y="56"/>
                    <a:pt x="3" y="69"/>
                    <a:pt x="8" y="82"/>
                  </a:cubicBezTo>
                  <a:cubicBezTo>
                    <a:pt x="13" y="94"/>
                    <a:pt x="20" y="107"/>
                    <a:pt x="29" y="12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8" name="Group 157">
            <a:extLst>
              <a:ext uri="{FF2B5EF4-FFF2-40B4-BE49-F238E27FC236}">
                <a16:creationId xmlns:a16="http://schemas.microsoft.com/office/drawing/2014/main" id="{77238AA8-AB25-4699-9124-30BA3735CBB7}"/>
              </a:ext>
            </a:extLst>
          </p:cNvPr>
          <p:cNvGrpSpPr/>
          <p:nvPr/>
        </p:nvGrpSpPr>
        <p:grpSpPr>
          <a:xfrm>
            <a:off x="1914017" y="2702272"/>
            <a:ext cx="510894" cy="298522"/>
            <a:chOff x="2165557" y="3264119"/>
            <a:chExt cx="4217100" cy="2464113"/>
          </a:xfrm>
        </p:grpSpPr>
        <p:sp>
          <p:nvSpPr>
            <p:cNvPr id="159" name="Freeform 251">
              <a:extLst>
                <a:ext uri="{FF2B5EF4-FFF2-40B4-BE49-F238E27FC236}">
                  <a16:creationId xmlns:a16="http://schemas.microsoft.com/office/drawing/2014/main" id="{98E423B4-E734-428C-9D4F-D527BD1C341B}"/>
                </a:ext>
              </a:extLst>
            </p:cNvPr>
            <p:cNvSpPr>
              <a:spLocks noEditPoints="1"/>
            </p:cNvSpPr>
            <p:nvPr/>
          </p:nvSpPr>
          <p:spPr bwMode="auto">
            <a:xfrm>
              <a:off x="2165557" y="3264120"/>
              <a:ext cx="4217100" cy="2464112"/>
            </a:xfrm>
            <a:custGeom>
              <a:avLst/>
              <a:gdLst>
                <a:gd name="T0" fmla="*/ 0 w 411"/>
                <a:gd name="T1" fmla="*/ 0 h 239"/>
                <a:gd name="T2" fmla="*/ 411 w 411"/>
                <a:gd name="T3" fmla="*/ 239 h 239"/>
                <a:gd name="T4" fmla="*/ 53 w 411"/>
                <a:gd name="T5" fmla="*/ 52 h 239"/>
                <a:gd name="T6" fmla="*/ 25 w 411"/>
                <a:gd name="T7" fmla="*/ 211 h 239"/>
                <a:gd name="T8" fmla="*/ 262 w 411"/>
                <a:gd name="T9" fmla="*/ 25 h 239"/>
                <a:gd name="T10" fmla="*/ 0 w 411"/>
                <a:gd name="T11" fmla="*/ 0 h 239"/>
                <a:gd name="T12" fmla="*/ 346 w 411"/>
                <a:gd name="T13" fmla="*/ 78 h 239"/>
                <a:gd name="T14" fmla="*/ 386 w 411"/>
                <a:gd name="T15" fmla="*/ 105 h 239"/>
                <a:gd name="T16" fmla="*/ 346 w 411"/>
                <a:gd name="T17" fmla="*/ 78 h 239"/>
                <a:gd name="T18" fmla="*/ 280 w 411"/>
                <a:gd name="T19" fmla="*/ 78 h 239"/>
                <a:gd name="T20" fmla="*/ 320 w 411"/>
                <a:gd name="T21" fmla="*/ 105 h 239"/>
                <a:gd name="T22" fmla="*/ 280 w 411"/>
                <a:gd name="T23" fmla="*/ 78 h 239"/>
                <a:gd name="T24" fmla="*/ 213 w 411"/>
                <a:gd name="T25" fmla="*/ 78 h 239"/>
                <a:gd name="T26" fmla="*/ 254 w 411"/>
                <a:gd name="T27" fmla="*/ 105 h 239"/>
                <a:gd name="T28" fmla="*/ 213 w 411"/>
                <a:gd name="T29" fmla="*/ 78 h 239"/>
                <a:gd name="T30" fmla="*/ 147 w 411"/>
                <a:gd name="T31" fmla="*/ 78 h 239"/>
                <a:gd name="T32" fmla="*/ 187 w 411"/>
                <a:gd name="T33" fmla="*/ 105 h 239"/>
                <a:gd name="T34" fmla="*/ 147 w 411"/>
                <a:gd name="T35" fmla="*/ 78 h 239"/>
                <a:gd name="T36" fmla="*/ 80 w 411"/>
                <a:gd name="T37" fmla="*/ 78 h 239"/>
                <a:gd name="T38" fmla="*/ 121 w 411"/>
                <a:gd name="T39" fmla="*/ 105 h 239"/>
                <a:gd name="T40" fmla="*/ 80 w 411"/>
                <a:gd name="T41" fmla="*/ 78 h 239"/>
                <a:gd name="T42" fmla="*/ 346 w 411"/>
                <a:gd name="T43" fmla="*/ 131 h 239"/>
                <a:gd name="T44" fmla="*/ 386 w 411"/>
                <a:gd name="T45" fmla="*/ 158 h 239"/>
                <a:gd name="T46" fmla="*/ 346 w 411"/>
                <a:gd name="T47" fmla="*/ 131 h 239"/>
                <a:gd name="T48" fmla="*/ 280 w 411"/>
                <a:gd name="T49" fmla="*/ 131 h 239"/>
                <a:gd name="T50" fmla="*/ 320 w 411"/>
                <a:gd name="T51" fmla="*/ 158 h 239"/>
                <a:gd name="T52" fmla="*/ 280 w 411"/>
                <a:gd name="T53" fmla="*/ 131 h 239"/>
                <a:gd name="T54" fmla="*/ 213 w 411"/>
                <a:gd name="T55" fmla="*/ 131 h 239"/>
                <a:gd name="T56" fmla="*/ 254 w 411"/>
                <a:gd name="T57" fmla="*/ 158 h 239"/>
                <a:gd name="T58" fmla="*/ 213 w 411"/>
                <a:gd name="T59" fmla="*/ 131 h 239"/>
                <a:gd name="T60" fmla="*/ 147 w 411"/>
                <a:gd name="T61" fmla="*/ 131 h 239"/>
                <a:gd name="T62" fmla="*/ 187 w 411"/>
                <a:gd name="T63" fmla="*/ 158 h 239"/>
                <a:gd name="T64" fmla="*/ 147 w 411"/>
                <a:gd name="T65" fmla="*/ 131 h 239"/>
                <a:gd name="T66" fmla="*/ 80 w 411"/>
                <a:gd name="T67" fmla="*/ 131 h 239"/>
                <a:gd name="T68" fmla="*/ 121 w 411"/>
                <a:gd name="T69" fmla="*/ 158 h 239"/>
                <a:gd name="T70" fmla="*/ 80 w 411"/>
                <a:gd name="T71" fmla="*/ 131 h 239"/>
                <a:gd name="T72" fmla="*/ 346 w 411"/>
                <a:gd name="T73" fmla="*/ 185 h 239"/>
                <a:gd name="T74" fmla="*/ 386 w 411"/>
                <a:gd name="T75" fmla="*/ 211 h 239"/>
                <a:gd name="T76" fmla="*/ 346 w 411"/>
                <a:gd name="T77" fmla="*/ 185 h 239"/>
                <a:gd name="T78" fmla="*/ 280 w 411"/>
                <a:gd name="T79" fmla="*/ 185 h 239"/>
                <a:gd name="T80" fmla="*/ 320 w 411"/>
                <a:gd name="T81" fmla="*/ 211 h 239"/>
                <a:gd name="T82" fmla="*/ 280 w 411"/>
                <a:gd name="T83" fmla="*/ 185 h 239"/>
                <a:gd name="T84" fmla="*/ 213 w 411"/>
                <a:gd name="T85" fmla="*/ 185 h 239"/>
                <a:gd name="T86" fmla="*/ 254 w 411"/>
                <a:gd name="T87" fmla="*/ 211 h 239"/>
                <a:gd name="T88" fmla="*/ 213 w 411"/>
                <a:gd name="T89" fmla="*/ 185 h 239"/>
                <a:gd name="T90" fmla="*/ 147 w 411"/>
                <a:gd name="T91" fmla="*/ 185 h 239"/>
                <a:gd name="T92" fmla="*/ 187 w 411"/>
                <a:gd name="T93" fmla="*/ 211 h 239"/>
                <a:gd name="T94" fmla="*/ 147 w 411"/>
                <a:gd name="T95" fmla="*/ 185 h 239"/>
                <a:gd name="T96" fmla="*/ 80 w 411"/>
                <a:gd name="T97" fmla="*/ 185 h 239"/>
                <a:gd name="T98" fmla="*/ 121 w 411"/>
                <a:gd name="T99" fmla="*/ 211 h 239"/>
                <a:gd name="T100" fmla="*/ 80 w 411"/>
                <a:gd name="T101" fmla="*/ 1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 h="239">
                  <a:moveTo>
                    <a:pt x="0" y="0"/>
                  </a:moveTo>
                  <a:lnTo>
                    <a:pt x="0" y="0"/>
                  </a:lnTo>
                  <a:lnTo>
                    <a:pt x="0" y="239"/>
                  </a:lnTo>
                  <a:lnTo>
                    <a:pt x="411" y="239"/>
                  </a:lnTo>
                  <a:lnTo>
                    <a:pt x="411" y="52"/>
                  </a:lnTo>
                  <a:lnTo>
                    <a:pt x="53" y="52"/>
                  </a:lnTo>
                  <a:lnTo>
                    <a:pt x="53" y="211"/>
                  </a:lnTo>
                  <a:lnTo>
                    <a:pt x="25" y="211"/>
                  </a:lnTo>
                  <a:lnTo>
                    <a:pt x="26" y="25"/>
                  </a:lnTo>
                  <a:lnTo>
                    <a:pt x="262" y="25"/>
                  </a:lnTo>
                  <a:lnTo>
                    <a:pt x="262" y="0"/>
                  </a:lnTo>
                  <a:lnTo>
                    <a:pt x="0" y="0"/>
                  </a:lnTo>
                  <a:close/>
                  <a:moveTo>
                    <a:pt x="346" y="78"/>
                  </a:moveTo>
                  <a:lnTo>
                    <a:pt x="346" y="78"/>
                  </a:lnTo>
                  <a:lnTo>
                    <a:pt x="386" y="78"/>
                  </a:lnTo>
                  <a:lnTo>
                    <a:pt x="386" y="105"/>
                  </a:lnTo>
                  <a:lnTo>
                    <a:pt x="346" y="105"/>
                  </a:lnTo>
                  <a:lnTo>
                    <a:pt x="346" y="78"/>
                  </a:lnTo>
                  <a:close/>
                  <a:moveTo>
                    <a:pt x="280" y="78"/>
                  </a:moveTo>
                  <a:lnTo>
                    <a:pt x="280" y="78"/>
                  </a:lnTo>
                  <a:lnTo>
                    <a:pt x="320" y="78"/>
                  </a:lnTo>
                  <a:lnTo>
                    <a:pt x="320" y="105"/>
                  </a:lnTo>
                  <a:lnTo>
                    <a:pt x="280" y="105"/>
                  </a:lnTo>
                  <a:lnTo>
                    <a:pt x="280" y="78"/>
                  </a:lnTo>
                  <a:close/>
                  <a:moveTo>
                    <a:pt x="213" y="78"/>
                  </a:moveTo>
                  <a:lnTo>
                    <a:pt x="213" y="78"/>
                  </a:lnTo>
                  <a:lnTo>
                    <a:pt x="254" y="78"/>
                  </a:lnTo>
                  <a:lnTo>
                    <a:pt x="254" y="105"/>
                  </a:lnTo>
                  <a:lnTo>
                    <a:pt x="213" y="105"/>
                  </a:lnTo>
                  <a:lnTo>
                    <a:pt x="213" y="78"/>
                  </a:lnTo>
                  <a:close/>
                  <a:moveTo>
                    <a:pt x="147" y="78"/>
                  </a:moveTo>
                  <a:lnTo>
                    <a:pt x="147" y="78"/>
                  </a:lnTo>
                  <a:lnTo>
                    <a:pt x="187" y="78"/>
                  </a:lnTo>
                  <a:lnTo>
                    <a:pt x="187" y="105"/>
                  </a:lnTo>
                  <a:lnTo>
                    <a:pt x="147" y="105"/>
                  </a:lnTo>
                  <a:lnTo>
                    <a:pt x="147" y="78"/>
                  </a:lnTo>
                  <a:close/>
                  <a:moveTo>
                    <a:pt x="80" y="78"/>
                  </a:moveTo>
                  <a:lnTo>
                    <a:pt x="80" y="78"/>
                  </a:lnTo>
                  <a:lnTo>
                    <a:pt x="121" y="78"/>
                  </a:lnTo>
                  <a:lnTo>
                    <a:pt x="121" y="105"/>
                  </a:lnTo>
                  <a:lnTo>
                    <a:pt x="80" y="105"/>
                  </a:lnTo>
                  <a:lnTo>
                    <a:pt x="80" y="78"/>
                  </a:lnTo>
                  <a:close/>
                  <a:moveTo>
                    <a:pt x="346" y="131"/>
                  </a:moveTo>
                  <a:lnTo>
                    <a:pt x="346" y="131"/>
                  </a:lnTo>
                  <a:lnTo>
                    <a:pt x="386" y="131"/>
                  </a:lnTo>
                  <a:lnTo>
                    <a:pt x="386" y="158"/>
                  </a:lnTo>
                  <a:lnTo>
                    <a:pt x="346" y="158"/>
                  </a:lnTo>
                  <a:lnTo>
                    <a:pt x="346" y="131"/>
                  </a:lnTo>
                  <a:close/>
                  <a:moveTo>
                    <a:pt x="280" y="131"/>
                  </a:moveTo>
                  <a:lnTo>
                    <a:pt x="280" y="131"/>
                  </a:lnTo>
                  <a:lnTo>
                    <a:pt x="320" y="131"/>
                  </a:lnTo>
                  <a:lnTo>
                    <a:pt x="320" y="158"/>
                  </a:lnTo>
                  <a:lnTo>
                    <a:pt x="280" y="158"/>
                  </a:lnTo>
                  <a:lnTo>
                    <a:pt x="280" y="131"/>
                  </a:lnTo>
                  <a:close/>
                  <a:moveTo>
                    <a:pt x="213" y="131"/>
                  </a:moveTo>
                  <a:lnTo>
                    <a:pt x="213" y="131"/>
                  </a:lnTo>
                  <a:lnTo>
                    <a:pt x="254" y="131"/>
                  </a:lnTo>
                  <a:lnTo>
                    <a:pt x="254" y="158"/>
                  </a:lnTo>
                  <a:lnTo>
                    <a:pt x="213" y="158"/>
                  </a:lnTo>
                  <a:lnTo>
                    <a:pt x="213" y="131"/>
                  </a:lnTo>
                  <a:close/>
                  <a:moveTo>
                    <a:pt x="147" y="131"/>
                  </a:moveTo>
                  <a:lnTo>
                    <a:pt x="147" y="131"/>
                  </a:lnTo>
                  <a:lnTo>
                    <a:pt x="187" y="131"/>
                  </a:lnTo>
                  <a:lnTo>
                    <a:pt x="187" y="158"/>
                  </a:lnTo>
                  <a:lnTo>
                    <a:pt x="147" y="158"/>
                  </a:lnTo>
                  <a:lnTo>
                    <a:pt x="147" y="131"/>
                  </a:lnTo>
                  <a:close/>
                  <a:moveTo>
                    <a:pt x="80" y="131"/>
                  </a:moveTo>
                  <a:lnTo>
                    <a:pt x="80" y="131"/>
                  </a:lnTo>
                  <a:lnTo>
                    <a:pt x="121" y="131"/>
                  </a:lnTo>
                  <a:lnTo>
                    <a:pt x="121" y="158"/>
                  </a:lnTo>
                  <a:lnTo>
                    <a:pt x="80" y="158"/>
                  </a:lnTo>
                  <a:lnTo>
                    <a:pt x="80" y="131"/>
                  </a:lnTo>
                  <a:close/>
                  <a:moveTo>
                    <a:pt x="346" y="185"/>
                  </a:moveTo>
                  <a:lnTo>
                    <a:pt x="346" y="185"/>
                  </a:lnTo>
                  <a:lnTo>
                    <a:pt x="386" y="185"/>
                  </a:lnTo>
                  <a:lnTo>
                    <a:pt x="386" y="211"/>
                  </a:lnTo>
                  <a:lnTo>
                    <a:pt x="346" y="211"/>
                  </a:lnTo>
                  <a:lnTo>
                    <a:pt x="346" y="185"/>
                  </a:lnTo>
                  <a:close/>
                  <a:moveTo>
                    <a:pt x="280" y="185"/>
                  </a:moveTo>
                  <a:lnTo>
                    <a:pt x="280" y="185"/>
                  </a:lnTo>
                  <a:lnTo>
                    <a:pt x="320" y="185"/>
                  </a:lnTo>
                  <a:lnTo>
                    <a:pt x="320" y="211"/>
                  </a:lnTo>
                  <a:lnTo>
                    <a:pt x="280" y="211"/>
                  </a:lnTo>
                  <a:lnTo>
                    <a:pt x="280" y="185"/>
                  </a:lnTo>
                  <a:close/>
                  <a:moveTo>
                    <a:pt x="213" y="185"/>
                  </a:moveTo>
                  <a:lnTo>
                    <a:pt x="213" y="185"/>
                  </a:lnTo>
                  <a:lnTo>
                    <a:pt x="254" y="185"/>
                  </a:lnTo>
                  <a:lnTo>
                    <a:pt x="254" y="211"/>
                  </a:lnTo>
                  <a:lnTo>
                    <a:pt x="213" y="211"/>
                  </a:lnTo>
                  <a:lnTo>
                    <a:pt x="213" y="185"/>
                  </a:lnTo>
                  <a:close/>
                  <a:moveTo>
                    <a:pt x="147" y="185"/>
                  </a:moveTo>
                  <a:lnTo>
                    <a:pt x="147" y="185"/>
                  </a:lnTo>
                  <a:lnTo>
                    <a:pt x="187" y="185"/>
                  </a:lnTo>
                  <a:lnTo>
                    <a:pt x="187" y="211"/>
                  </a:lnTo>
                  <a:lnTo>
                    <a:pt x="147" y="211"/>
                  </a:lnTo>
                  <a:lnTo>
                    <a:pt x="147" y="185"/>
                  </a:lnTo>
                  <a:close/>
                  <a:moveTo>
                    <a:pt x="80" y="185"/>
                  </a:moveTo>
                  <a:lnTo>
                    <a:pt x="80" y="185"/>
                  </a:lnTo>
                  <a:lnTo>
                    <a:pt x="121" y="185"/>
                  </a:lnTo>
                  <a:lnTo>
                    <a:pt x="121" y="211"/>
                  </a:lnTo>
                  <a:lnTo>
                    <a:pt x="80" y="211"/>
                  </a:lnTo>
                  <a:lnTo>
                    <a:pt x="80" y="185"/>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E260E40E-3001-40E8-92C6-ED8FA7EC898C}"/>
                </a:ext>
              </a:extLst>
            </p:cNvPr>
            <p:cNvSpPr>
              <a:spLocks/>
            </p:cNvSpPr>
            <p:nvPr/>
          </p:nvSpPr>
          <p:spPr bwMode="auto">
            <a:xfrm>
              <a:off x="2165557" y="3264119"/>
              <a:ext cx="4217100" cy="2464111"/>
            </a:xfrm>
            <a:custGeom>
              <a:avLst/>
              <a:gdLst>
                <a:gd name="connsiteX0" fmla="*/ 0 w 4217100"/>
                <a:gd name="connsiteY0" fmla="*/ 0 h 2464111"/>
                <a:gd name="connsiteX1" fmla="*/ 265176 w 4217100"/>
                <a:gd name="connsiteY1" fmla="*/ 0 h 2464111"/>
                <a:gd name="connsiteX2" fmla="*/ 265176 w 4217100"/>
                <a:gd name="connsiteY2" fmla="*/ 1 h 2464111"/>
                <a:gd name="connsiteX3" fmla="*/ 4217100 w 4217100"/>
                <a:gd name="connsiteY3" fmla="*/ 1 h 2464111"/>
                <a:gd name="connsiteX4" fmla="*/ 4217100 w 4217100"/>
                <a:gd name="connsiteY4" fmla="*/ 264603 h 2464111"/>
                <a:gd name="connsiteX5" fmla="*/ 265176 w 4217100"/>
                <a:gd name="connsiteY5" fmla="*/ 264603 h 2464111"/>
                <a:gd name="connsiteX6" fmla="*/ 265176 w 4217100"/>
                <a:gd name="connsiteY6" fmla="*/ 2464111 h 2464111"/>
                <a:gd name="connsiteX7" fmla="*/ 0 w 4217100"/>
                <a:gd name="connsiteY7" fmla="*/ 2464111 h 2464111"/>
                <a:gd name="connsiteX8" fmla="*/ 0 w 4217100"/>
                <a:gd name="connsiteY8" fmla="*/ 264603 h 2464111"/>
                <a:gd name="connsiteX9" fmla="*/ 0 w 4217100"/>
                <a:gd name="connsiteY9" fmla="*/ 1 h 2464111"/>
                <a:gd name="connsiteX0" fmla="*/ 0 w 4217100"/>
                <a:gd name="connsiteY0" fmla="*/ 0 h 2464111"/>
                <a:gd name="connsiteX1" fmla="*/ 265176 w 4217100"/>
                <a:gd name="connsiteY1" fmla="*/ 0 h 2464111"/>
                <a:gd name="connsiteX2" fmla="*/ 4217100 w 4217100"/>
                <a:gd name="connsiteY2" fmla="*/ 1 h 2464111"/>
                <a:gd name="connsiteX3" fmla="*/ 4217100 w 4217100"/>
                <a:gd name="connsiteY3" fmla="*/ 264603 h 2464111"/>
                <a:gd name="connsiteX4" fmla="*/ 265176 w 4217100"/>
                <a:gd name="connsiteY4" fmla="*/ 264603 h 2464111"/>
                <a:gd name="connsiteX5" fmla="*/ 265176 w 4217100"/>
                <a:gd name="connsiteY5" fmla="*/ 2464111 h 2464111"/>
                <a:gd name="connsiteX6" fmla="*/ 0 w 4217100"/>
                <a:gd name="connsiteY6" fmla="*/ 2464111 h 2464111"/>
                <a:gd name="connsiteX7" fmla="*/ 0 w 4217100"/>
                <a:gd name="connsiteY7" fmla="*/ 264603 h 2464111"/>
                <a:gd name="connsiteX8" fmla="*/ 0 w 4217100"/>
                <a:gd name="connsiteY8" fmla="*/ 1 h 2464111"/>
                <a:gd name="connsiteX9" fmla="*/ 0 w 4217100"/>
                <a:gd name="connsiteY9"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264603 h 2464111"/>
                <a:gd name="connsiteX7" fmla="*/ 0 w 4217100"/>
                <a:gd name="connsiteY7" fmla="*/ 1 h 2464111"/>
                <a:gd name="connsiteX8" fmla="*/ 0 w 4217100"/>
                <a:gd name="connsiteY8"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1 h 2464111"/>
                <a:gd name="connsiteX7" fmla="*/ 0 w 4217100"/>
                <a:gd name="connsiteY7" fmla="*/ 0 h 246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7100" h="2464111">
                  <a:moveTo>
                    <a:pt x="0" y="0"/>
                  </a:moveTo>
                  <a:lnTo>
                    <a:pt x="4217100" y="1"/>
                  </a:lnTo>
                  <a:lnTo>
                    <a:pt x="4217100" y="264603"/>
                  </a:lnTo>
                  <a:lnTo>
                    <a:pt x="265176" y="264603"/>
                  </a:lnTo>
                  <a:lnTo>
                    <a:pt x="265176" y="2464111"/>
                  </a:lnTo>
                  <a:lnTo>
                    <a:pt x="0" y="2464111"/>
                  </a:lnTo>
                  <a:lnTo>
                    <a:pt x="0" y="1"/>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1" name="Group 99">
            <a:extLst>
              <a:ext uri="{FF2B5EF4-FFF2-40B4-BE49-F238E27FC236}">
                <a16:creationId xmlns:a16="http://schemas.microsoft.com/office/drawing/2014/main" id="{0CC6A9C4-F800-413D-8F83-B9714806AFD8}"/>
              </a:ext>
            </a:extLst>
          </p:cNvPr>
          <p:cNvGrpSpPr>
            <a:grpSpLocks noChangeAspect="1"/>
          </p:cNvGrpSpPr>
          <p:nvPr/>
        </p:nvGrpSpPr>
        <p:grpSpPr bwMode="auto">
          <a:xfrm>
            <a:off x="3142005" y="2666149"/>
            <a:ext cx="355717" cy="366875"/>
            <a:chOff x="1545" y="1446"/>
            <a:chExt cx="255" cy="263"/>
          </a:xfrm>
        </p:grpSpPr>
        <p:sp>
          <p:nvSpPr>
            <p:cNvPr id="162" name="Freeform 100">
              <a:extLst>
                <a:ext uri="{FF2B5EF4-FFF2-40B4-BE49-F238E27FC236}">
                  <a16:creationId xmlns:a16="http://schemas.microsoft.com/office/drawing/2014/main" id="{773C2F35-0159-42AC-8E8A-504902A15253}"/>
                </a:ext>
              </a:extLst>
            </p:cNvPr>
            <p:cNvSpPr>
              <a:spLocks/>
            </p:cNvSpPr>
            <p:nvPr/>
          </p:nvSpPr>
          <p:spPr bwMode="auto">
            <a:xfrm>
              <a:off x="1545" y="1446"/>
              <a:ext cx="165" cy="232"/>
            </a:xfrm>
            <a:custGeom>
              <a:avLst/>
              <a:gdLst>
                <a:gd name="T0" fmla="*/ 0 w 266"/>
                <a:gd name="T1" fmla="*/ 0 h 373"/>
                <a:gd name="T2" fmla="*/ 0 w 266"/>
                <a:gd name="T3" fmla="*/ 0 h 373"/>
                <a:gd name="T4" fmla="*/ 0 w 266"/>
                <a:gd name="T5" fmla="*/ 373 h 373"/>
                <a:gd name="T6" fmla="*/ 129 w 266"/>
                <a:gd name="T7" fmla="*/ 373 h 373"/>
                <a:gd name="T8" fmla="*/ 129 w 266"/>
                <a:gd name="T9" fmla="*/ 57 h 373"/>
                <a:gd name="T10" fmla="*/ 266 w 266"/>
                <a:gd name="T11" fmla="*/ 57 h 373"/>
                <a:gd name="T12" fmla="*/ 208 w 266"/>
                <a:gd name="T13" fmla="*/ 0 h 373"/>
                <a:gd name="T14" fmla="*/ 0 w 266"/>
                <a:gd name="T15" fmla="*/ 0 h 3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73">
                  <a:moveTo>
                    <a:pt x="0" y="0"/>
                  </a:moveTo>
                  <a:lnTo>
                    <a:pt x="0" y="0"/>
                  </a:lnTo>
                  <a:lnTo>
                    <a:pt x="0" y="373"/>
                  </a:lnTo>
                  <a:lnTo>
                    <a:pt x="129" y="373"/>
                  </a:lnTo>
                  <a:lnTo>
                    <a:pt x="129" y="57"/>
                  </a:lnTo>
                  <a:lnTo>
                    <a:pt x="266" y="57"/>
                  </a:lnTo>
                  <a:lnTo>
                    <a:pt x="208" y="0"/>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1">
              <a:extLst>
                <a:ext uri="{FF2B5EF4-FFF2-40B4-BE49-F238E27FC236}">
                  <a16:creationId xmlns:a16="http://schemas.microsoft.com/office/drawing/2014/main" id="{217C34EA-6D0A-4ABB-A605-F0F3A3FCC8ED}"/>
                </a:ext>
              </a:extLst>
            </p:cNvPr>
            <p:cNvSpPr>
              <a:spLocks/>
            </p:cNvSpPr>
            <p:nvPr/>
          </p:nvSpPr>
          <p:spPr bwMode="auto">
            <a:xfrm>
              <a:off x="1639" y="1496"/>
              <a:ext cx="161"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2">
              <a:extLst>
                <a:ext uri="{FF2B5EF4-FFF2-40B4-BE49-F238E27FC236}">
                  <a16:creationId xmlns:a16="http://schemas.microsoft.com/office/drawing/2014/main" id="{67D388EE-C05C-4201-8829-A9A79B4E8056}"/>
                </a:ext>
              </a:extLst>
            </p:cNvPr>
            <p:cNvSpPr>
              <a:spLocks/>
            </p:cNvSpPr>
            <p:nvPr/>
          </p:nvSpPr>
          <p:spPr bwMode="auto">
            <a:xfrm>
              <a:off x="1732" y="1500"/>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5" name="Group 92">
            <a:extLst>
              <a:ext uri="{FF2B5EF4-FFF2-40B4-BE49-F238E27FC236}">
                <a16:creationId xmlns:a16="http://schemas.microsoft.com/office/drawing/2014/main" id="{688D12D8-7CBA-423C-8031-36268CBD0F8B}"/>
              </a:ext>
            </a:extLst>
          </p:cNvPr>
          <p:cNvGrpSpPr>
            <a:grpSpLocks noChangeAspect="1"/>
          </p:cNvGrpSpPr>
          <p:nvPr/>
        </p:nvGrpSpPr>
        <p:grpSpPr bwMode="auto">
          <a:xfrm>
            <a:off x="3109245" y="3740974"/>
            <a:ext cx="421236" cy="306848"/>
            <a:chOff x="2424" y="1489"/>
            <a:chExt cx="232" cy="169"/>
          </a:xfrm>
        </p:grpSpPr>
        <p:sp>
          <p:nvSpPr>
            <p:cNvPr id="166" name="Freeform 93">
              <a:extLst>
                <a:ext uri="{FF2B5EF4-FFF2-40B4-BE49-F238E27FC236}">
                  <a16:creationId xmlns:a16="http://schemas.microsoft.com/office/drawing/2014/main" id="{947CE370-67F7-4DAF-BB43-A22ED52ECBBE}"/>
                </a:ext>
              </a:extLst>
            </p:cNvPr>
            <p:cNvSpPr>
              <a:spLocks noEditPoints="1"/>
            </p:cNvSpPr>
            <p:nvPr/>
          </p:nvSpPr>
          <p:spPr bwMode="auto">
            <a:xfrm>
              <a:off x="2424" y="1489"/>
              <a:ext cx="232" cy="138"/>
            </a:xfrm>
            <a:custGeom>
              <a:avLst/>
              <a:gdLst>
                <a:gd name="T0" fmla="*/ 326 w 374"/>
                <a:gd name="T1" fmla="*/ 92 h 221"/>
                <a:gd name="T2" fmla="*/ 326 w 374"/>
                <a:gd name="T3" fmla="*/ 92 h 221"/>
                <a:gd name="T4" fmla="*/ 307 w 374"/>
                <a:gd name="T5" fmla="*/ 100 h 221"/>
                <a:gd name="T6" fmla="*/ 288 w 374"/>
                <a:gd name="T7" fmla="*/ 92 h 221"/>
                <a:gd name="T8" fmla="*/ 280 w 374"/>
                <a:gd name="T9" fmla="*/ 73 h 221"/>
                <a:gd name="T10" fmla="*/ 288 w 374"/>
                <a:gd name="T11" fmla="*/ 54 h 221"/>
                <a:gd name="T12" fmla="*/ 307 w 374"/>
                <a:gd name="T13" fmla="*/ 46 h 221"/>
                <a:gd name="T14" fmla="*/ 326 w 374"/>
                <a:gd name="T15" fmla="*/ 54 h 221"/>
                <a:gd name="T16" fmla="*/ 334 w 374"/>
                <a:gd name="T17" fmla="*/ 73 h 221"/>
                <a:gd name="T18" fmla="*/ 326 w 374"/>
                <a:gd name="T19" fmla="*/ 92 h 221"/>
                <a:gd name="T20" fmla="*/ 374 w 374"/>
                <a:gd name="T21" fmla="*/ 0 h 221"/>
                <a:gd name="T22" fmla="*/ 374 w 374"/>
                <a:gd name="T23" fmla="*/ 0 h 221"/>
                <a:gd name="T24" fmla="*/ 0 w 374"/>
                <a:gd name="T25" fmla="*/ 0 h 221"/>
                <a:gd name="T26" fmla="*/ 0 w 374"/>
                <a:gd name="T27" fmla="*/ 141 h 221"/>
                <a:gd name="T28" fmla="*/ 94 w 374"/>
                <a:gd name="T29" fmla="*/ 48 h 221"/>
                <a:gd name="T30" fmla="*/ 227 w 374"/>
                <a:gd name="T31" fmla="*/ 181 h 221"/>
                <a:gd name="T32" fmla="*/ 280 w 374"/>
                <a:gd name="T33" fmla="*/ 128 h 221"/>
                <a:gd name="T34" fmla="*/ 374 w 374"/>
                <a:gd name="T35" fmla="*/ 221 h 221"/>
                <a:gd name="T36" fmla="*/ 374 w 374"/>
                <a:gd name="T3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4" h="221">
                  <a:moveTo>
                    <a:pt x="326" y="92"/>
                  </a:moveTo>
                  <a:lnTo>
                    <a:pt x="326" y="92"/>
                  </a:lnTo>
                  <a:cubicBezTo>
                    <a:pt x="320" y="97"/>
                    <a:pt x="314" y="100"/>
                    <a:pt x="307" y="100"/>
                  </a:cubicBezTo>
                  <a:cubicBezTo>
                    <a:pt x="300" y="100"/>
                    <a:pt x="293" y="97"/>
                    <a:pt x="288" y="92"/>
                  </a:cubicBezTo>
                  <a:cubicBezTo>
                    <a:pt x="283" y="86"/>
                    <a:pt x="280" y="80"/>
                    <a:pt x="280" y="73"/>
                  </a:cubicBezTo>
                  <a:cubicBezTo>
                    <a:pt x="280" y="66"/>
                    <a:pt x="283" y="59"/>
                    <a:pt x="288" y="54"/>
                  </a:cubicBezTo>
                  <a:cubicBezTo>
                    <a:pt x="293" y="49"/>
                    <a:pt x="300" y="46"/>
                    <a:pt x="307" y="46"/>
                  </a:cubicBezTo>
                  <a:cubicBezTo>
                    <a:pt x="314" y="46"/>
                    <a:pt x="320" y="49"/>
                    <a:pt x="326" y="54"/>
                  </a:cubicBezTo>
                  <a:cubicBezTo>
                    <a:pt x="331" y="59"/>
                    <a:pt x="334" y="66"/>
                    <a:pt x="334" y="73"/>
                  </a:cubicBezTo>
                  <a:cubicBezTo>
                    <a:pt x="334" y="80"/>
                    <a:pt x="331" y="86"/>
                    <a:pt x="326" y="92"/>
                  </a:cubicBezTo>
                  <a:close/>
                  <a:moveTo>
                    <a:pt x="374" y="0"/>
                  </a:moveTo>
                  <a:lnTo>
                    <a:pt x="374" y="0"/>
                  </a:lnTo>
                  <a:lnTo>
                    <a:pt x="0" y="0"/>
                  </a:lnTo>
                  <a:lnTo>
                    <a:pt x="0" y="141"/>
                  </a:lnTo>
                  <a:lnTo>
                    <a:pt x="94" y="48"/>
                  </a:lnTo>
                  <a:lnTo>
                    <a:pt x="227" y="181"/>
                  </a:lnTo>
                  <a:lnTo>
                    <a:pt x="280" y="128"/>
                  </a:lnTo>
                  <a:lnTo>
                    <a:pt x="374" y="221"/>
                  </a:lnTo>
                  <a:lnTo>
                    <a:pt x="37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94">
              <a:extLst>
                <a:ext uri="{FF2B5EF4-FFF2-40B4-BE49-F238E27FC236}">
                  <a16:creationId xmlns:a16="http://schemas.microsoft.com/office/drawing/2014/main" id="{274BDD30-F0C9-43C5-9A0D-70B917D95230}"/>
                </a:ext>
              </a:extLst>
            </p:cNvPr>
            <p:cNvSpPr>
              <a:spLocks/>
            </p:cNvSpPr>
            <p:nvPr/>
          </p:nvSpPr>
          <p:spPr bwMode="auto">
            <a:xfrm>
              <a:off x="2424" y="1545"/>
              <a:ext cx="171" cy="113"/>
            </a:xfrm>
            <a:custGeom>
              <a:avLst/>
              <a:gdLst>
                <a:gd name="T0" fmla="*/ 0 w 275"/>
                <a:gd name="T1" fmla="*/ 182 h 182"/>
                <a:gd name="T2" fmla="*/ 0 w 275"/>
                <a:gd name="T3" fmla="*/ 182 h 182"/>
                <a:gd name="T4" fmla="*/ 275 w 275"/>
                <a:gd name="T5" fmla="*/ 182 h 182"/>
                <a:gd name="T6" fmla="*/ 93 w 275"/>
                <a:gd name="T7" fmla="*/ 0 h 182"/>
                <a:gd name="T8" fmla="*/ 0 w 275"/>
                <a:gd name="T9" fmla="*/ 94 h 182"/>
                <a:gd name="T10" fmla="*/ 0 w 275"/>
                <a:gd name="T11" fmla="*/ 182 h 182"/>
              </a:gdLst>
              <a:ahLst/>
              <a:cxnLst>
                <a:cxn ang="0">
                  <a:pos x="T0" y="T1"/>
                </a:cxn>
                <a:cxn ang="0">
                  <a:pos x="T2" y="T3"/>
                </a:cxn>
                <a:cxn ang="0">
                  <a:pos x="T4" y="T5"/>
                </a:cxn>
                <a:cxn ang="0">
                  <a:pos x="T6" y="T7"/>
                </a:cxn>
                <a:cxn ang="0">
                  <a:pos x="T8" y="T9"/>
                </a:cxn>
                <a:cxn ang="0">
                  <a:pos x="T10" y="T11"/>
                </a:cxn>
              </a:cxnLst>
              <a:rect l="0" t="0" r="r" b="b"/>
              <a:pathLst>
                <a:path w="275" h="182">
                  <a:moveTo>
                    <a:pt x="0" y="182"/>
                  </a:moveTo>
                  <a:lnTo>
                    <a:pt x="0" y="182"/>
                  </a:lnTo>
                  <a:lnTo>
                    <a:pt x="275" y="182"/>
                  </a:lnTo>
                  <a:lnTo>
                    <a:pt x="93" y="0"/>
                  </a:lnTo>
                  <a:lnTo>
                    <a:pt x="0" y="94"/>
                  </a:lnTo>
                  <a:lnTo>
                    <a:pt x="0" y="182"/>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95">
              <a:extLst>
                <a:ext uri="{FF2B5EF4-FFF2-40B4-BE49-F238E27FC236}">
                  <a16:creationId xmlns:a16="http://schemas.microsoft.com/office/drawing/2014/main" id="{5426443D-64F3-485B-BA4C-F945D3C5C2D5}"/>
                </a:ext>
              </a:extLst>
            </p:cNvPr>
            <p:cNvSpPr>
              <a:spLocks/>
            </p:cNvSpPr>
            <p:nvPr/>
          </p:nvSpPr>
          <p:spPr bwMode="auto">
            <a:xfrm>
              <a:off x="2577" y="1594"/>
              <a:ext cx="79" cy="64"/>
            </a:xfrm>
            <a:custGeom>
              <a:avLst/>
              <a:gdLst>
                <a:gd name="T0" fmla="*/ 127 w 127"/>
                <a:gd name="T1" fmla="*/ 94 h 102"/>
                <a:gd name="T2" fmla="*/ 127 w 127"/>
                <a:gd name="T3" fmla="*/ 94 h 102"/>
                <a:gd name="T4" fmla="*/ 34 w 127"/>
                <a:gd name="T5" fmla="*/ 0 h 102"/>
                <a:gd name="T6" fmla="*/ 0 w 127"/>
                <a:gd name="T7" fmla="*/ 35 h 102"/>
                <a:gd name="T8" fmla="*/ 66 w 127"/>
                <a:gd name="T9" fmla="*/ 102 h 102"/>
                <a:gd name="T10" fmla="*/ 127 w 127"/>
                <a:gd name="T11" fmla="*/ 102 h 102"/>
                <a:gd name="T12" fmla="*/ 127 w 127"/>
                <a:gd name="T13" fmla="*/ 94 h 102"/>
              </a:gdLst>
              <a:ahLst/>
              <a:cxnLst>
                <a:cxn ang="0">
                  <a:pos x="T0" y="T1"/>
                </a:cxn>
                <a:cxn ang="0">
                  <a:pos x="T2" y="T3"/>
                </a:cxn>
                <a:cxn ang="0">
                  <a:pos x="T4" y="T5"/>
                </a:cxn>
                <a:cxn ang="0">
                  <a:pos x="T6" y="T7"/>
                </a:cxn>
                <a:cxn ang="0">
                  <a:pos x="T8" y="T9"/>
                </a:cxn>
                <a:cxn ang="0">
                  <a:pos x="T10" y="T11"/>
                </a:cxn>
                <a:cxn ang="0">
                  <a:pos x="T12" y="T13"/>
                </a:cxn>
              </a:cxnLst>
              <a:rect l="0" t="0" r="r" b="b"/>
              <a:pathLst>
                <a:path w="127" h="102">
                  <a:moveTo>
                    <a:pt x="127" y="94"/>
                  </a:moveTo>
                  <a:lnTo>
                    <a:pt x="127" y="94"/>
                  </a:lnTo>
                  <a:lnTo>
                    <a:pt x="34" y="0"/>
                  </a:lnTo>
                  <a:lnTo>
                    <a:pt x="0" y="35"/>
                  </a:lnTo>
                  <a:lnTo>
                    <a:pt x="66" y="102"/>
                  </a:lnTo>
                  <a:lnTo>
                    <a:pt x="127" y="102"/>
                  </a:lnTo>
                  <a:lnTo>
                    <a:pt x="127" y="94"/>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96">
              <a:extLst>
                <a:ext uri="{FF2B5EF4-FFF2-40B4-BE49-F238E27FC236}">
                  <a16:creationId xmlns:a16="http://schemas.microsoft.com/office/drawing/2014/main" id="{9B0DA6A4-C63B-425C-AF99-A8785B1D6A2D}"/>
                </a:ext>
              </a:extLst>
            </p:cNvPr>
            <p:cNvSpPr>
              <a:spLocks/>
            </p:cNvSpPr>
            <p:nvPr/>
          </p:nvSpPr>
          <p:spPr bwMode="auto">
            <a:xfrm>
              <a:off x="2598" y="1518"/>
              <a:ext cx="33" cy="33"/>
            </a:xfrm>
            <a:custGeom>
              <a:avLst/>
              <a:gdLst>
                <a:gd name="T0" fmla="*/ 27 w 53"/>
                <a:gd name="T1" fmla="*/ 0 h 54"/>
                <a:gd name="T2" fmla="*/ 27 w 53"/>
                <a:gd name="T3" fmla="*/ 0 h 54"/>
                <a:gd name="T4" fmla="*/ 8 w 53"/>
                <a:gd name="T5" fmla="*/ 8 h 54"/>
                <a:gd name="T6" fmla="*/ 0 w 53"/>
                <a:gd name="T7" fmla="*/ 27 h 54"/>
                <a:gd name="T8" fmla="*/ 8 w 53"/>
                <a:gd name="T9" fmla="*/ 46 h 54"/>
                <a:gd name="T10" fmla="*/ 27 w 53"/>
                <a:gd name="T11" fmla="*/ 54 h 54"/>
                <a:gd name="T12" fmla="*/ 46 w 53"/>
                <a:gd name="T13" fmla="*/ 46 h 54"/>
                <a:gd name="T14" fmla="*/ 53 w 53"/>
                <a:gd name="T15" fmla="*/ 27 h 54"/>
                <a:gd name="T16" fmla="*/ 46 w 53"/>
                <a:gd name="T17" fmla="*/ 8 h 54"/>
                <a:gd name="T18" fmla="*/ 27 w 5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7" y="0"/>
                  </a:moveTo>
                  <a:lnTo>
                    <a:pt x="27" y="0"/>
                  </a:lnTo>
                  <a:cubicBezTo>
                    <a:pt x="20" y="0"/>
                    <a:pt x="13" y="3"/>
                    <a:pt x="8" y="8"/>
                  </a:cubicBezTo>
                  <a:cubicBezTo>
                    <a:pt x="3" y="13"/>
                    <a:pt x="0" y="20"/>
                    <a:pt x="0" y="27"/>
                  </a:cubicBezTo>
                  <a:cubicBezTo>
                    <a:pt x="0" y="34"/>
                    <a:pt x="3" y="40"/>
                    <a:pt x="8" y="46"/>
                  </a:cubicBezTo>
                  <a:cubicBezTo>
                    <a:pt x="13" y="51"/>
                    <a:pt x="20" y="54"/>
                    <a:pt x="27" y="54"/>
                  </a:cubicBezTo>
                  <a:cubicBezTo>
                    <a:pt x="34" y="54"/>
                    <a:pt x="40" y="51"/>
                    <a:pt x="46" y="46"/>
                  </a:cubicBezTo>
                  <a:cubicBezTo>
                    <a:pt x="51" y="40"/>
                    <a:pt x="53" y="34"/>
                    <a:pt x="53" y="27"/>
                  </a:cubicBezTo>
                  <a:cubicBezTo>
                    <a:pt x="53" y="20"/>
                    <a:pt x="51" y="13"/>
                    <a:pt x="46" y="8"/>
                  </a:cubicBezTo>
                  <a:cubicBezTo>
                    <a:pt x="40" y="3"/>
                    <a:pt x="34" y="0"/>
                    <a:pt x="27"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63" name="Straight Connector 62">
            <a:extLst>
              <a:ext uri="{FF2B5EF4-FFF2-40B4-BE49-F238E27FC236}">
                <a16:creationId xmlns:a16="http://schemas.microsoft.com/office/drawing/2014/main" id="{07F91532-CA1C-4FE0-845C-1FA4640D8E4A}"/>
              </a:ext>
            </a:extLst>
          </p:cNvPr>
          <p:cNvCxnSpPr/>
          <p:nvPr/>
        </p:nvCxnSpPr>
        <p:spPr>
          <a:xfrm>
            <a:off x="2900304" y="4716675"/>
            <a:ext cx="833255"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2440757-8E28-4581-AF54-FC0CE0FEE0A0}"/>
              </a:ext>
            </a:extLst>
          </p:cNvPr>
          <p:cNvSpPr txBox="1"/>
          <p:nvPr/>
        </p:nvSpPr>
        <p:spPr>
          <a:xfrm>
            <a:off x="3019393" y="4759486"/>
            <a:ext cx="974266" cy="415498"/>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Azure Blob Storage</a:t>
            </a:r>
          </a:p>
        </p:txBody>
      </p:sp>
      <p:cxnSp>
        <p:nvCxnSpPr>
          <p:cNvPr id="65" name="Straight Connector 64">
            <a:extLst>
              <a:ext uri="{FF2B5EF4-FFF2-40B4-BE49-F238E27FC236}">
                <a16:creationId xmlns:a16="http://schemas.microsoft.com/office/drawing/2014/main" id="{7B1BA4D0-DE7B-411B-8772-BAD368B5CC76}"/>
              </a:ext>
            </a:extLst>
          </p:cNvPr>
          <p:cNvCxnSpPr/>
          <p:nvPr/>
        </p:nvCxnSpPr>
        <p:spPr>
          <a:xfrm>
            <a:off x="1700986" y="4716675"/>
            <a:ext cx="833255"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F947E75F-4CD5-4679-AD07-A53B64C1B9A2}"/>
              </a:ext>
            </a:extLst>
          </p:cNvPr>
          <p:cNvSpPr txBox="1"/>
          <p:nvPr/>
        </p:nvSpPr>
        <p:spPr>
          <a:xfrm>
            <a:off x="1731272" y="4759486"/>
            <a:ext cx="974266" cy="415498"/>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Azure Table Storage</a:t>
            </a:r>
          </a:p>
        </p:txBody>
      </p:sp>
      <p:cxnSp>
        <p:nvCxnSpPr>
          <p:cNvPr id="67" name="Straight Connector 66">
            <a:extLst>
              <a:ext uri="{FF2B5EF4-FFF2-40B4-BE49-F238E27FC236}">
                <a16:creationId xmlns:a16="http://schemas.microsoft.com/office/drawing/2014/main" id="{A37639FD-B83F-4BD4-81BF-775627572889}"/>
              </a:ext>
            </a:extLst>
          </p:cNvPr>
          <p:cNvCxnSpPr/>
          <p:nvPr/>
        </p:nvCxnSpPr>
        <p:spPr>
          <a:xfrm>
            <a:off x="501668" y="4724133"/>
            <a:ext cx="833255"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71CA6BD3-275D-43E9-AA9D-A2A5071C07C1}"/>
              </a:ext>
            </a:extLst>
          </p:cNvPr>
          <p:cNvSpPr txBox="1"/>
          <p:nvPr/>
        </p:nvSpPr>
        <p:spPr>
          <a:xfrm>
            <a:off x="527539" y="4766944"/>
            <a:ext cx="974266" cy="415498"/>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Azure Cosmos DB</a:t>
            </a:r>
          </a:p>
        </p:txBody>
      </p:sp>
      <p:grpSp>
        <p:nvGrpSpPr>
          <p:cNvPr id="3" name="Group 2">
            <a:extLst>
              <a:ext uri="{FF2B5EF4-FFF2-40B4-BE49-F238E27FC236}">
                <a16:creationId xmlns:a16="http://schemas.microsoft.com/office/drawing/2014/main" id="{96CB6DB1-4DDF-4EEB-B537-2C9ED51AF1D8}"/>
              </a:ext>
            </a:extLst>
          </p:cNvPr>
          <p:cNvGrpSpPr/>
          <p:nvPr/>
        </p:nvGrpSpPr>
        <p:grpSpPr>
          <a:xfrm>
            <a:off x="662848" y="3630343"/>
            <a:ext cx="510894" cy="528071"/>
            <a:chOff x="1151125" y="2885549"/>
            <a:chExt cx="605754" cy="626125"/>
          </a:xfrm>
        </p:grpSpPr>
        <p:sp>
          <p:nvSpPr>
            <p:cNvPr id="85" name="Freeform: Shape 84">
              <a:extLst>
                <a:ext uri="{FF2B5EF4-FFF2-40B4-BE49-F238E27FC236}">
                  <a16:creationId xmlns:a16="http://schemas.microsoft.com/office/drawing/2014/main" id="{001C1909-2CD4-4584-88F8-C15FE25E126A}"/>
                </a:ext>
              </a:extLst>
            </p:cNvPr>
            <p:cNvSpPr/>
            <p:nvPr/>
          </p:nvSpPr>
          <p:spPr>
            <a:xfrm>
              <a:off x="1151125" y="2885549"/>
              <a:ext cx="605754" cy="146442"/>
            </a:xfrm>
            <a:custGeom>
              <a:avLst/>
              <a:gdLst>
                <a:gd name="connsiteX0" fmla="*/ 0 w 605754"/>
                <a:gd name="connsiteY0" fmla="*/ 0 h 146442"/>
                <a:gd name="connsiteX1" fmla="*/ 605754 w 605754"/>
                <a:gd name="connsiteY1" fmla="*/ 0 h 146442"/>
                <a:gd name="connsiteX2" fmla="*/ 605754 w 605754"/>
                <a:gd name="connsiteY2" fmla="*/ 146442 h 146442"/>
                <a:gd name="connsiteX3" fmla="*/ 526576 w 605754"/>
                <a:gd name="connsiteY3" fmla="*/ 146442 h 146442"/>
                <a:gd name="connsiteX4" fmla="*/ 526576 w 605754"/>
                <a:gd name="connsiteY4" fmla="*/ 79179 h 146442"/>
                <a:gd name="connsiteX5" fmla="*/ 79178 w 605754"/>
                <a:gd name="connsiteY5" fmla="*/ 79179 h 146442"/>
                <a:gd name="connsiteX6" fmla="*/ 79178 w 605754"/>
                <a:gd name="connsiteY6" fmla="*/ 146442 h 146442"/>
                <a:gd name="connsiteX7" fmla="*/ 0 w 605754"/>
                <a:gd name="connsiteY7" fmla="*/ 146442 h 146442"/>
                <a:gd name="connsiteX8" fmla="*/ 0 w 605754"/>
                <a:gd name="connsiteY8" fmla="*/ 0 h 14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754" h="146442">
                  <a:moveTo>
                    <a:pt x="0" y="0"/>
                  </a:moveTo>
                  <a:cubicBezTo>
                    <a:pt x="201918" y="0"/>
                    <a:pt x="403836" y="0"/>
                    <a:pt x="605754" y="0"/>
                  </a:cubicBezTo>
                  <a:lnTo>
                    <a:pt x="605754" y="146442"/>
                  </a:lnTo>
                  <a:lnTo>
                    <a:pt x="526576" y="146442"/>
                  </a:lnTo>
                  <a:lnTo>
                    <a:pt x="526576" y="79179"/>
                  </a:lnTo>
                  <a:lnTo>
                    <a:pt x="79178" y="79179"/>
                  </a:lnTo>
                  <a:lnTo>
                    <a:pt x="79178" y="146442"/>
                  </a:lnTo>
                  <a:lnTo>
                    <a:pt x="0" y="146442"/>
                  </a:lnTo>
                  <a:lnTo>
                    <a:pt x="0"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5A494BA2-7540-4424-A14A-3BC6E20838D0}"/>
                </a:ext>
              </a:extLst>
            </p:cNvPr>
            <p:cNvSpPr/>
            <p:nvPr/>
          </p:nvSpPr>
          <p:spPr>
            <a:xfrm>
              <a:off x="1281039" y="3034682"/>
              <a:ext cx="95322" cy="73412"/>
            </a:xfrm>
            <a:custGeom>
              <a:avLst/>
              <a:gdLst>
                <a:gd name="connsiteX0" fmla="*/ 0 w 95322"/>
                <a:gd name="connsiteY0" fmla="*/ 0 h 73412"/>
                <a:gd name="connsiteX1" fmla="*/ 95322 w 95322"/>
                <a:gd name="connsiteY1" fmla="*/ 0 h 73412"/>
                <a:gd name="connsiteX2" fmla="*/ 95322 w 95322"/>
                <a:gd name="connsiteY2" fmla="*/ 73412 h 73412"/>
                <a:gd name="connsiteX3" fmla="*/ 0 w 95322"/>
                <a:gd name="connsiteY3" fmla="*/ 73412 h 73412"/>
                <a:gd name="connsiteX4" fmla="*/ 0 w 95322"/>
                <a:gd name="connsiteY4" fmla="*/ 0 h 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73412">
                  <a:moveTo>
                    <a:pt x="0" y="0"/>
                  </a:moveTo>
                  <a:lnTo>
                    <a:pt x="95322" y="0"/>
                  </a:lnTo>
                  <a:lnTo>
                    <a:pt x="95322" y="73412"/>
                  </a:lnTo>
                  <a:lnTo>
                    <a:pt x="0" y="7341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31FCDBC4-080D-4A9F-823D-60B1B421031B}"/>
                </a:ext>
              </a:extLst>
            </p:cNvPr>
            <p:cNvSpPr/>
            <p:nvPr/>
          </p:nvSpPr>
          <p:spPr>
            <a:xfrm>
              <a:off x="1429181" y="3098294"/>
              <a:ext cx="95322" cy="73412"/>
            </a:xfrm>
            <a:custGeom>
              <a:avLst/>
              <a:gdLst>
                <a:gd name="connsiteX0" fmla="*/ 0 w 95322"/>
                <a:gd name="connsiteY0" fmla="*/ 0 h 73412"/>
                <a:gd name="connsiteX1" fmla="*/ 95322 w 95322"/>
                <a:gd name="connsiteY1" fmla="*/ 0 h 73412"/>
                <a:gd name="connsiteX2" fmla="*/ 95322 w 95322"/>
                <a:gd name="connsiteY2" fmla="*/ 73412 h 73412"/>
                <a:gd name="connsiteX3" fmla="*/ 0 w 95322"/>
                <a:gd name="connsiteY3" fmla="*/ 73412 h 73412"/>
                <a:gd name="connsiteX4" fmla="*/ 0 w 95322"/>
                <a:gd name="connsiteY4" fmla="*/ 0 h 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73412">
                  <a:moveTo>
                    <a:pt x="0" y="0"/>
                  </a:moveTo>
                  <a:lnTo>
                    <a:pt x="95322" y="0"/>
                  </a:lnTo>
                  <a:lnTo>
                    <a:pt x="95322" y="73412"/>
                  </a:lnTo>
                  <a:lnTo>
                    <a:pt x="0" y="7341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DE6D9FB6-338C-48DD-85E3-F0439FDE296E}"/>
                </a:ext>
              </a:extLst>
            </p:cNvPr>
            <p:cNvSpPr/>
            <p:nvPr/>
          </p:nvSpPr>
          <p:spPr>
            <a:xfrm>
              <a:off x="1281039" y="3161905"/>
              <a:ext cx="95322" cy="73413"/>
            </a:xfrm>
            <a:custGeom>
              <a:avLst/>
              <a:gdLst>
                <a:gd name="connsiteX0" fmla="*/ 0 w 95322"/>
                <a:gd name="connsiteY0" fmla="*/ 0 h 73413"/>
                <a:gd name="connsiteX1" fmla="*/ 95322 w 95322"/>
                <a:gd name="connsiteY1" fmla="*/ 0 h 73413"/>
                <a:gd name="connsiteX2" fmla="*/ 95322 w 95322"/>
                <a:gd name="connsiteY2" fmla="*/ 73413 h 73413"/>
                <a:gd name="connsiteX3" fmla="*/ 0 w 95322"/>
                <a:gd name="connsiteY3" fmla="*/ 73413 h 73413"/>
                <a:gd name="connsiteX4" fmla="*/ 0 w 95322"/>
                <a:gd name="connsiteY4" fmla="*/ 0 h 73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73413">
                  <a:moveTo>
                    <a:pt x="0" y="0"/>
                  </a:moveTo>
                  <a:lnTo>
                    <a:pt x="95322" y="0"/>
                  </a:lnTo>
                  <a:lnTo>
                    <a:pt x="95322" y="73413"/>
                  </a:lnTo>
                  <a:lnTo>
                    <a:pt x="0" y="7341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45138DFE-731B-4EBC-A653-0B187B13D02F}"/>
                </a:ext>
              </a:extLst>
            </p:cNvPr>
            <p:cNvSpPr/>
            <p:nvPr/>
          </p:nvSpPr>
          <p:spPr>
            <a:xfrm>
              <a:off x="1577324" y="3161905"/>
              <a:ext cx="95321" cy="73413"/>
            </a:xfrm>
            <a:custGeom>
              <a:avLst/>
              <a:gdLst>
                <a:gd name="connsiteX0" fmla="*/ 0 w 95321"/>
                <a:gd name="connsiteY0" fmla="*/ 0 h 73413"/>
                <a:gd name="connsiteX1" fmla="*/ 95321 w 95321"/>
                <a:gd name="connsiteY1" fmla="*/ 0 h 73413"/>
                <a:gd name="connsiteX2" fmla="*/ 95321 w 95321"/>
                <a:gd name="connsiteY2" fmla="*/ 73413 h 73413"/>
                <a:gd name="connsiteX3" fmla="*/ 0 w 95321"/>
                <a:gd name="connsiteY3" fmla="*/ 73413 h 73413"/>
                <a:gd name="connsiteX4" fmla="*/ 0 w 95321"/>
                <a:gd name="connsiteY4" fmla="*/ 0 h 73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1" h="73413">
                  <a:moveTo>
                    <a:pt x="0" y="0"/>
                  </a:moveTo>
                  <a:lnTo>
                    <a:pt x="95321" y="0"/>
                  </a:lnTo>
                  <a:lnTo>
                    <a:pt x="95321" y="73413"/>
                  </a:lnTo>
                  <a:lnTo>
                    <a:pt x="0" y="7341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B009A2D9-0273-4170-B7D2-97402A451965}"/>
                </a:ext>
              </a:extLst>
            </p:cNvPr>
            <p:cNvSpPr/>
            <p:nvPr/>
          </p:nvSpPr>
          <p:spPr>
            <a:xfrm>
              <a:off x="1429181" y="3225517"/>
              <a:ext cx="95322" cy="73413"/>
            </a:xfrm>
            <a:custGeom>
              <a:avLst/>
              <a:gdLst>
                <a:gd name="connsiteX0" fmla="*/ 0 w 95322"/>
                <a:gd name="connsiteY0" fmla="*/ 0 h 73413"/>
                <a:gd name="connsiteX1" fmla="*/ 95322 w 95322"/>
                <a:gd name="connsiteY1" fmla="*/ 0 h 73413"/>
                <a:gd name="connsiteX2" fmla="*/ 95322 w 95322"/>
                <a:gd name="connsiteY2" fmla="*/ 73413 h 73413"/>
                <a:gd name="connsiteX3" fmla="*/ 0 w 95322"/>
                <a:gd name="connsiteY3" fmla="*/ 73413 h 73413"/>
                <a:gd name="connsiteX4" fmla="*/ 0 w 95322"/>
                <a:gd name="connsiteY4" fmla="*/ 0 h 73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73413">
                  <a:moveTo>
                    <a:pt x="0" y="0"/>
                  </a:moveTo>
                  <a:lnTo>
                    <a:pt x="95322" y="0"/>
                  </a:lnTo>
                  <a:lnTo>
                    <a:pt x="95322" y="73413"/>
                  </a:lnTo>
                  <a:lnTo>
                    <a:pt x="0" y="7341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A6649E5-7058-4E9E-9153-48A6F3E813A5}"/>
                </a:ext>
              </a:extLst>
            </p:cNvPr>
            <p:cNvSpPr/>
            <p:nvPr/>
          </p:nvSpPr>
          <p:spPr>
            <a:xfrm>
              <a:off x="1281039" y="3289129"/>
              <a:ext cx="95322" cy="73412"/>
            </a:xfrm>
            <a:custGeom>
              <a:avLst/>
              <a:gdLst>
                <a:gd name="connsiteX0" fmla="*/ 0 w 95322"/>
                <a:gd name="connsiteY0" fmla="*/ 0 h 73412"/>
                <a:gd name="connsiteX1" fmla="*/ 95322 w 95322"/>
                <a:gd name="connsiteY1" fmla="*/ 0 h 73412"/>
                <a:gd name="connsiteX2" fmla="*/ 95322 w 95322"/>
                <a:gd name="connsiteY2" fmla="*/ 73412 h 73412"/>
                <a:gd name="connsiteX3" fmla="*/ 0 w 95322"/>
                <a:gd name="connsiteY3" fmla="*/ 73412 h 73412"/>
                <a:gd name="connsiteX4" fmla="*/ 0 w 95322"/>
                <a:gd name="connsiteY4" fmla="*/ 0 h 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73412">
                  <a:moveTo>
                    <a:pt x="0" y="0"/>
                  </a:moveTo>
                  <a:lnTo>
                    <a:pt x="95322" y="0"/>
                  </a:lnTo>
                  <a:lnTo>
                    <a:pt x="95322" y="73412"/>
                  </a:lnTo>
                  <a:lnTo>
                    <a:pt x="0" y="7341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18134F9-59E0-4536-9341-53371BFB2972}"/>
                </a:ext>
              </a:extLst>
            </p:cNvPr>
            <p:cNvSpPr/>
            <p:nvPr/>
          </p:nvSpPr>
          <p:spPr>
            <a:xfrm>
              <a:off x="1151125" y="3365232"/>
              <a:ext cx="605754" cy="146442"/>
            </a:xfrm>
            <a:custGeom>
              <a:avLst/>
              <a:gdLst>
                <a:gd name="connsiteX0" fmla="*/ 526576 w 605754"/>
                <a:gd name="connsiteY0" fmla="*/ 0 h 146442"/>
                <a:gd name="connsiteX1" fmla="*/ 605754 w 605754"/>
                <a:gd name="connsiteY1" fmla="*/ 0 h 146442"/>
                <a:gd name="connsiteX2" fmla="*/ 605754 w 605754"/>
                <a:gd name="connsiteY2" fmla="*/ 146442 h 146442"/>
                <a:gd name="connsiteX3" fmla="*/ 0 w 605754"/>
                <a:gd name="connsiteY3" fmla="*/ 146442 h 146442"/>
                <a:gd name="connsiteX4" fmla="*/ 0 w 605754"/>
                <a:gd name="connsiteY4" fmla="*/ 1 h 146442"/>
                <a:gd name="connsiteX5" fmla="*/ 79178 w 605754"/>
                <a:gd name="connsiteY5" fmla="*/ 1 h 146442"/>
                <a:gd name="connsiteX6" fmla="*/ 79178 w 605754"/>
                <a:gd name="connsiteY6" fmla="*/ 67263 h 146442"/>
                <a:gd name="connsiteX7" fmla="*/ 526576 w 605754"/>
                <a:gd name="connsiteY7" fmla="*/ 67263 h 146442"/>
                <a:gd name="connsiteX8" fmla="*/ 526576 w 605754"/>
                <a:gd name="connsiteY8" fmla="*/ 0 h 14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754" h="146442">
                  <a:moveTo>
                    <a:pt x="526576" y="0"/>
                  </a:moveTo>
                  <a:lnTo>
                    <a:pt x="605754" y="0"/>
                  </a:lnTo>
                  <a:lnTo>
                    <a:pt x="605754" y="146442"/>
                  </a:lnTo>
                  <a:cubicBezTo>
                    <a:pt x="403836" y="146442"/>
                    <a:pt x="201918" y="146442"/>
                    <a:pt x="0" y="146442"/>
                  </a:cubicBezTo>
                  <a:lnTo>
                    <a:pt x="0" y="1"/>
                  </a:lnTo>
                  <a:lnTo>
                    <a:pt x="79178" y="1"/>
                  </a:lnTo>
                  <a:lnTo>
                    <a:pt x="79178" y="67263"/>
                  </a:lnTo>
                  <a:lnTo>
                    <a:pt x="526576" y="67263"/>
                  </a:lnTo>
                  <a:lnTo>
                    <a:pt x="526576"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1" name="Rectangle 90">
            <a:extLst>
              <a:ext uri="{FF2B5EF4-FFF2-40B4-BE49-F238E27FC236}">
                <a16:creationId xmlns:a16="http://schemas.microsoft.com/office/drawing/2014/main" id="{7CC4FACC-DD01-4C82-88DC-C2AE5F5878FA}"/>
              </a:ext>
            </a:extLst>
          </p:cNvPr>
          <p:cNvSpPr/>
          <p:nvPr/>
        </p:nvSpPr>
        <p:spPr>
          <a:xfrm>
            <a:off x="2470539" y="2008164"/>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Ingest</a:t>
            </a:r>
          </a:p>
        </p:txBody>
      </p:sp>
      <p:sp>
        <p:nvSpPr>
          <p:cNvPr id="99" name="Rectangle 98">
            <a:extLst>
              <a:ext uri="{FF2B5EF4-FFF2-40B4-BE49-F238E27FC236}">
                <a16:creationId xmlns:a16="http://schemas.microsoft.com/office/drawing/2014/main" id="{22502B6A-A7B0-4621-A248-9E4F15DD0533}"/>
              </a:ext>
            </a:extLst>
          </p:cNvPr>
          <p:cNvSpPr/>
          <p:nvPr/>
        </p:nvSpPr>
        <p:spPr>
          <a:xfrm>
            <a:off x="7246682" y="1989194"/>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earch index</a:t>
            </a:r>
          </a:p>
        </p:txBody>
      </p:sp>
      <p:sp>
        <p:nvSpPr>
          <p:cNvPr id="100" name="Rectangle 99">
            <a:extLst>
              <a:ext uri="{FF2B5EF4-FFF2-40B4-BE49-F238E27FC236}">
                <a16:creationId xmlns:a16="http://schemas.microsoft.com/office/drawing/2014/main" id="{E5A77D43-54C1-4AAD-899B-976F46B90C8E}"/>
              </a:ext>
            </a:extLst>
          </p:cNvPr>
          <p:cNvSpPr/>
          <p:nvPr/>
        </p:nvSpPr>
        <p:spPr>
          <a:xfrm>
            <a:off x="9864338" y="2008164"/>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xplore</a:t>
            </a:r>
          </a:p>
        </p:txBody>
      </p:sp>
      <p:sp>
        <p:nvSpPr>
          <p:cNvPr id="101" name="Rectangle 100">
            <a:extLst>
              <a:ext uri="{FF2B5EF4-FFF2-40B4-BE49-F238E27FC236}">
                <a16:creationId xmlns:a16="http://schemas.microsoft.com/office/drawing/2014/main" id="{079E97B0-68C3-4C54-94D8-32DDB4A5FC5A}"/>
              </a:ext>
            </a:extLst>
          </p:cNvPr>
          <p:cNvSpPr/>
          <p:nvPr/>
        </p:nvSpPr>
        <p:spPr>
          <a:xfrm>
            <a:off x="4944495" y="1445378"/>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earch</a:t>
            </a:r>
          </a:p>
        </p:txBody>
      </p:sp>
      <p:sp>
        <p:nvSpPr>
          <p:cNvPr id="137" name="Right Bracket 136">
            <a:extLst>
              <a:ext uri="{FF2B5EF4-FFF2-40B4-BE49-F238E27FC236}">
                <a16:creationId xmlns:a16="http://schemas.microsoft.com/office/drawing/2014/main" id="{2C3CE09D-EC89-4E69-9C11-6211C9BBE573}"/>
              </a:ext>
            </a:extLst>
          </p:cNvPr>
          <p:cNvSpPr/>
          <p:nvPr/>
        </p:nvSpPr>
        <p:spPr>
          <a:xfrm rot="16200000">
            <a:off x="5747872" y="-1052616"/>
            <a:ext cx="182880" cy="6019028"/>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Rectangle 75">
            <a:extLst>
              <a:ext uri="{FF2B5EF4-FFF2-40B4-BE49-F238E27FC236}">
                <a16:creationId xmlns:a16="http://schemas.microsoft.com/office/drawing/2014/main" id="{20401B6A-37EF-437B-A16A-FB5DD4604D5D}"/>
              </a:ext>
            </a:extLst>
          </p:cNvPr>
          <p:cNvSpPr/>
          <p:nvPr/>
        </p:nvSpPr>
        <p:spPr>
          <a:xfrm>
            <a:off x="4858610" y="1991811"/>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nrich</a:t>
            </a:r>
          </a:p>
        </p:txBody>
      </p:sp>
      <p:grpSp>
        <p:nvGrpSpPr>
          <p:cNvPr id="79" name="Group 191">
            <a:extLst>
              <a:ext uri="{FF2B5EF4-FFF2-40B4-BE49-F238E27FC236}">
                <a16:creationId xmlns:a16="http://schemas.microsoft.com/office/drawing/2014/main" id="{482CD4B1-C160-4904-9FFB-1412B7B24F4B}"/>
              </a:ext>
            </a:extLst>
          </p:cNvPr>
          <p:cNvGrpSpPr>
            <a:grpSpLocks noChangeAspect="1"/>
          </p:cNvGrpSpPr>
          <p:nvPr/>
        </p:nvGrpSpPr>
        <p:grpSpPr bwMode="auto">
          <a:xfrm>
            <a:off x="5866911" y="3429000"/>
            <a:ext cx="458177" cy="458178"/>
            <a:chOff x="696" y="2100"/>
            <a:chExt cx="209" cy="209"/>
          </a:xfrm>
        </p:grpSpPr>
        <p:sp>
          <p:nvSpPr>
            <p:cNvPr id="80" name="Freeform 192">
              <a:extLst>
                <a:ext uri="{FF2B5EF4-FFF2-40B4-BE49-F238E27FC236}">
                  <a16:creationId xmlns:a16="http://schemas.microsoft.com/office/drawing/2014/main" id="{429B870B-422A-43FB-A90F-587D9EB2757A}"/>
                </a:ext>
              </a:extLst>
            </p:cNvPr>
            <p:cNvSpPr>
              <a:spLocks/>
            </p:cNvSpPr>
            <p:nvPr/>
          </p:nvSpPr>
          <p:spPr bwMode="auto">
            <a:xfrm>
              <a:off x="769" y="2214"/>
              <a:ext cx="64" cy="46"/>
            </a:xfrm>
            <a:custGeom>
              <a:avLst/>
              <a:gdLst>
                <a:gd name="T0" fmla="*/ 9 w 102"/>
                <a:gd name="T1" fmla="*/ 11 h 73"/>
                <a:gd name="T2" fmla="*/ 9 w 102"/>
                <a:gd name="T3" fmla="*/ 11 h 73"/>
                <a:gd name="T4" fmla="*/ 8 w 102"/>
                <a:gd name="T5" fmla="*/ 13 h 73"/>
                <a:gd name="T6" fmla="*/ 0 w 102"/>
                <a:gd name="T7" fmla="*/ 23 h 73"/>
                <a:gd name="T8" fmla="*/ 90 w 102"/>
                <a:gd name="T9" fmla="*/ 73 h 73"/>
                <a:gd name="T10" fmla="*/ 91 w 102"/>
                <a:gd name="T11" fmla="*/ 69 h 73"/>
                <a:gd name="T12" fmla="*/ 97 w 102"/>
                <a:gd name="T13" fmla="*/ 56 h 73"/>
                <a:gd name="T14" fmla="*/ 102 w 102"/>
                <a:gd name="T15" fmla="*/ 49 h 73"/>
                <a:gd name="T16" fmla="*/ 15 w 102"/>
                <a:gd name="T17" fmla="*/ 0 h 73"/>
                <a:gd name="T18" fmla="*/ 9 w 102"/>
                <a:gd name="T19" fmla="*/ 1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73">
                  <a:moveTo>
                    <a:pt x="9" y="11"/>
                  </a:moveTo>
                  <a:lnTo>
                    <a:pt x="9" y="11"/>
                  </a:lnTo>
                  <a:cubicBezTo>
                    <a:pt x="9" y="12"/>
                    <a:pt x="8" y="12"/>
                    <a:pt x="8" y="13"/>
                  </a:cubicBezTo>
                  <a:cubicBezTo>
                    <a:pt x="3" y="19"/>
                    <a:pt x="0" y="23"/>
                    <a:pt x="0" y="23"/>
                  </a:cubicBezTo>
                  <a:lnTo>
                    <a:pt x="90" y="73"/>
                  </a:lnTo>
                  <a:cubicBezTo>
                    <a:pt x="90" y="72"/>
                    <a:pt x="90" y="71"/>
                    <a:pt x="91" y="69"/>
                  </a:cubicBezTo>
                  <a:cubicBezTo>
                    <a:pt x="92" y="64"/>
                    <a:pt x="94" y="60"/>
                    <a:pt x="97" y="56"/>
                  </a:cubicBezTo>
                  <a:cubicBezTo>
                    <a:pt x="98" y="53"/>
                    <a:pt x="100" y="51"/>
                    <a:pt x="102" y="49"/>
                  </a:cubicBezTo>
                  <a:lnTo>
                    <a:pt x="15" y="0"/>
                  </a:lnTo>
                  <a:cubicBezTo>
                    <a:pt x="13" y="4"/>
                    <a:pt x="11" y="8"/>
                    <a:pt x="9" y="11"/>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193">
              <a:extLst>
                <a:ext uri="{FF2B5EF4-FFF2-40B4-BE49-F238E27FC236}">
                  <a16:creationId xmlns:a16="http://schemas.microsoft.com/office/drawing/2014/main" id="{F939BDBD-7F1B-4794-B40A-68EF4533705D}"/>
                </a:ext>
              </a:extLst>
            </p:cNvPr>
            <p:cNvSpPr>
              <a:spLocks/>
            </p:cNvSpPr>
            <p:nvPr/>
          </p:nvSpPr>
          <p:spPr bwMode="auto">
            <a:xfrm>
              <a:off x="770" y="2150"/>
              <a:ext cx="61" cy="44"/>
            </a:xfrm>
            <a:custGeom>
              <a:avLst/>
              <a:gdLst>
                <a:gd name="T0" fmla="*/ 15 w 99"/>
                <a:gd name="T1" fmla="*/ 71 h 71"/>
                <a:gd name="T2" fmla="*/ 15 w 99"/>
                <a:gd name="T3" fmla="*/ 71 h 71"/>
                <a:gd name="T4" fmla="*/ 99 w 99"/>
                <a:gd name="T5" fmla="*/ 24 h 71"/>
                <a:gd name="T6" fmla="*/ 88 w 99"/>
                <a:gd name="T7" fmla="*/ 0 h 71"/>
                <a:gd name="T8" fmla="*/ 0 w 99"/>
                <a:gd name="T9" fmla="*/ 48 h 71"/>
                <a:gd name="T10" fmla="*/ 13 w 99"/>
                <a:gd name="T11" fmla="*/ 67 h 71"/>
                <a:gd name="T12" fmla="*/ 15 w 99"/>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99" h="71">
                  <a:moveTo>
                    <a:pt x="15" y="71"/>
                  </a:moveTo>
                  <a:lnTo>
                    <a:pt x="15" y="71"/>
                  </a:lnTo>
                  <a:lnTo>
                    <a:pt x="99" y="24"/>
                  </a:lnTo>
                  <a:cubicBezTo>
                    <a:pt x="94" y="17"/>
                    <a:pt x="89" y="9"/>
                    <a:pt x="88" y="0"/>
                  </a:cubicBezTo>
                  <a:lnTo>
                    <a:pt x="0" y="48"/>
                  </a:lnTo>
                  <a:cubicBezTo>
                    <a:pt x="6" y="53"/>
                    <a:pt x="10" y="60"/>
                    <a:pt x="13" y="67"/>
                  </a:cubicBezTo>
                  <a:cubicBezTo>
                    <a:pt x="14" y="68"/>
                    <a:pt x="14" y="70"/>
                    <a:pt x="15" y="71"/>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194">
              <a:extLst>
                <a:ext uri="{FF2B5EF4-FFF2-40B4-BE49-F238E27FC236}">
                  <a16:creationId xmlns:a16="http://schemas.microsoft.com/office/drawing/2014/main" id="{FFAB1B60-30EB-49BF-ADA6-001E4F00231C}"/>
                </a:ext>
              </a:extLst>
            </p:cNvPr>
            <p:cNvSpPr>
              <a:spLocks/>
            </p:cNvSpPr>
            <p:nvPr/>
          </p:nvSpPr>
          <p:spPr bwMode="auto">
            <a:xfrm>
              <a:off x="696" y="2170"/>
              <a:ext cx="66" cy="67"/>
            </a:xfrm>
            <a:custGeom>
              <a:avLst/>
              <a:gdLst>
                <a:gd name="T0" fmla="*/ 53 w 107"/>
                <a:gd name="T1" fmla="*/ 0 h 107"/>
                <a:gd name="T2" fmla="*/ 53 w 107"/>
                <a:gd name="T3" fmla="*/ 0 h 107"/>
                <a:gd name="T4" fmla="*/ 0 w 107"/>
                <a:gd name="T5" fmla="*/ 53 h 107"/>
                <a:gd name="T6" fmla="*/ 53 w 107"/>
                <a:gd name="T7" fmla="*/ 107 h 107"/>
                <a:gd name="T8" fmla="*/ 107 w 107"/>
                <a:gd name="T9" fmla="*/ 53 h 107"/>
                <a:gd name="T10" fmla="*/ 53 w 107"/>
                <a:gd name="T11" fmla="*/ 0 h 107"/>
              </a:gdLst>
              <a:ahLst/>
              <a:cxnLst>
                <a:cxn ang="0">
                  <a:pos x="T0" y="T1"/>
                </a:cxn>
                <a:cxn ang="0">
                  <a:pos x="T2" y="T3"/>
                </a:cxn>
                <a:cxn ang="0">
                  <a:pos x="T4" y="T5"/>
                </a:cxn>
                <a:cxn ang="0">
                  <a:pos x="T6" y="T7"/>
                </a:cxn>
                <a:cxn ang="0">
                  <a:pos x="T8" y="T9"/>
                </a:cxn>
                <a:cxn ang="0">
                  <a:pos x="T10" y="T11"/>
                </a:cxn>
              </a:cxnLst>
              <a:rect l="0" t="0" r="r" b="b"/>
              <a:pathLst>
                <a:path w="107" h="107">
                  <a:moveTo>
                    <a:pt x="53" y="0"/>
                  </a:moveTo>
                  <a:lnTo>
                    <a:pt x="53" y="0"/>
                  </a:lnTo>
                  <a:cubicBezTo>
                    <a:pt x="24" y="0"/>
                    <a:pt x="0" y="24"/>
                    <a:pt x="0" y="53"/>
                  </a:cubicBezTo>
                  <a:cubicBezTo>
                    <a:pt x="0" y="83"/>
                    <a:pt x="24" y="107"/>
                    <a:pt x="53" y="107"/>
                  </a:cubicBezTo>
                  <a:cubicBezTo>
                    <a:pt x="83" y="107"/>
                    <a:pt x="107" y="83"/>
                    <a:pt x="107" y="53"/>
                  </a:cubicBezTo>
                  <a:cubicBezTo>
                    <a:pt x="107" y="24"/>
                    <a:pt x="83" y="0"/>
                    <a:pt x="53"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195">
              <a:extLst>
                <a:ext uri="{FF2B5EF4-FFF2-40B4-BE49-F238E27FC236}">
                  <a16:creationId xmlns:a16="http://schemas.microsoft.com/office/drawing/2014/main" id="{DEA2BC89-917F-4B24-BF77-B92D72C567E4}"/>
                </a:ext>
              </a:extLst>
            </p:cNvPr>
            <p:cNvSpPr>
              <a:spLocks/>
            </p:cNvSpPr>
            <p:nvPr/>
          </p:nvSpPr>
          <p:spPr bwMode="auto">
            <a:xfrm>
              <a:off x="838" y="2100"/>
              <a:ext cx="67" cy="66"/>
            </a:xfrm>
            <a:custGeom>
              <a:avLst/>
              <a:gdLst>
                <a:gd name="T0" fmla="*/ 53 w 107"/>
                <a:gd name="T1" fmla="*/ 0 h 106"/>
                <a:gd name="T2" fmla="*/ 53 w 107"/>
                <a:gd name="T3" fmla="*/ 0 h 106"/>
                <a:gd name="T4" fmla="*/ 0 w 107"/>
                <a:gd name="T5" fmla="*/ 53 h 106"/>
                <a:gd name="T6" fmla="*/ 53 w 107"/>
                <a:gd name="T7" fmla="*/ 106 h 106"/>
                <a:gd name="T8" fmla="*/ 107 w 107"/>
                <a:gd name="T9" fmla="*/ 53 h 106"/>
                <a:gd name="T10" fmla="*/ 53 w 107"/>
                <a:gd name="T11" fmla="*/ 0 h 106"/>
              </a:gdLst>
              <a:ahLst/>
              <a:cxnLst>
                <a:cxn ang="0">
                  <a:pos x="T0" y="T1"/>
                </a:cxn>
                <a:cxn ang="0">
                  <a:pos x="T2" y="T3"/>
                </a:cxn>
                <a:cxn ang="0">
                  <a:pos x="T4" y="T5"/>
                </a:cxn>
                <a:cxn ang="0">
                  <a:pos x="T6" y="T7"/>
                </a:cxn>
                <a:cxn ang="0">
                  <a:pos x="T8" y="T9"/>
                </a:cxn>
                <a:cxn ang="0">
                  <a:pos x="T10" y="T11"/>
                </a:cxn>
              </a:cxnLst>
              <a:rect l="0" t="0" r="r" b="b"/>
              <a:pathLst>
                <a:path w="107" h="106">
                  <a:moveTo>
                    <a:pt x="53" y="0"/>
                  </a:moveTo>
                  <a:lnTo>
                    <a:pt x="53" y="0"/>
                  </a:lnTo>
                  <a:cubicBezTo>
                    <a:pt x="24" y="0"/>
                    <a:pt x="0" y="24"/>
                    <a:pt x="0" y="53"/>
                  </a:cubicBezTo>
                  <a:cubicBezTo>
                    <a:pt x="0" y="83"/>
                    <a:pt x="24" y="106"/>
                    <a:pt x="53" y="106"/>
                  </a:cubicBezTo>
                  <a:cubicBezTo>
                    <a:pt x="83" y="106"/>
                    <a:pt x="107" y="83"/>
                    <a:pt x="107" y="53"/>
                  </a:cubicBezTo>
                  <a:cubicBezTo>
                    <a:pt x="107" y="24"/>
                    <a:pt x="83" y="0"/>
                    <a:pt x="53"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196">
              <a:extLst>
                <a:ext uri="{FF2B5EF4-FFF2-40B4-BE49-F238E27FC236}">
                  <a16:creationId xmlns:a16="http://schemas.microsoft.com/office/drawing/2014/main" id="{3F5B97C9-FF87-419C-B9E6-8B63FDA6FFAC}"/>
                </a:ext>
              </a:extLst>
            </p:cNvPr>
            <p:cNvSpPr>
              <a:spLocks/>
            </p:cNvSpPr>
            <p:nvPr/>
          </p:nvSpPr>
          <p:spPr bwMode="auto">
            <a:xfrm>
              <a:off x="838" y="2243"/>
              <a:ext cx="67" cy="66"/>
            </a:xfrm>
            <a:custGeom>
              <a:avLst/>
              <a:gdLst>
                <a:gd name="T0" fmla="*/ 53 w 107"/>
                <a:gd name="T1" fmla="*/ 0 h 106"/>
                <a:gd name="T2" fmla="*/ 53 w 107"/>
                <a:gd name="T3" fmla="*/ 0 h 106"/>
                <a:gd name="T4" fmla="*/ 0 w 107"/>
                <a:gd name="T5" fmla="*/ 53 h 106"/>
                <a:gd name="T6" fmla="*/ 53 w 107"/>
                <a:gd name="T7" fmla="*/ 106 h 106"/>
                <a:gd name="T8" fmla="*/ 107 w 107"/>
                <a:gd name="T9" fmla="*/ 53 h 106"/>
                <a:gd name="T10" fmla="*/ 53 w 107"/>
                <a:gd name="T11" fmla="*/ 0 h 106"/>
              </a:gdLst>
              <a:ahLst/>
              <a:cxnLst>
                <a:cxn ang="0">
                  <a:pos x="T0" y="T1"/>
                </a:cxn>
                <a:cxn ang="0">
                  <a:pos x="T2" y="T3"/>
                </a:cxn>
                <a:cxn ang="0">
                  <a:pos x="T4" y="T5"/>
                </a:cxn>
                <a:cxn ang="0">
                  <a:pos x="T6" y="T7"/>
                </a:cxn>
                <a:cxn ang="0">
                  <a:pos x="T8" y="T9"/>
                </a:cxn>
                <a:cxn ang="0">
                  <a:pos x="T10" y="T11"/>
                </a:cxn>
              </a:cxnLst>
              <a:rect l="0" t="0" r="r" b="b"/>
              <a:pathLst>
                <a:path w="107" h="106">
                  <a:moveTo>
                    <a:pt x="53" y="0"/>
                  </a:moveTo>
                  <a:lnTo>
                    <a:pt x="53" y="0"/>
                  </a:lnTo>
                  <a:cubicBezTo>
                    <a:pt x="24" y="0"/>
                    <a:pt x="0" y="24"/>
                    <a:pt x="0" y="53"/>
                  </a:cubicBezTo>
                  <a:cubicBezTo>
                    <a:pt x="0" y="82"/>
                    <a:pt x="24" y="106"/>
                    <a:pt x="53" y="106"/>
                  </a:cubicBezTo>
                  <a:cubicBezTo>
                    <a:pt x="83" y="106"/>
                    <a:pt x="107" y="82"/>
                    <a:pt x="107" y="53"/>
                  </a:cubicBezTo>
                  <a:cubicBezTo>
                    <a:pt x="107" y="24"/>
                    <a:pt x="83" y="0"/>
                    <a:pt x="53"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2235E2CF-2B42-4F80-8AF4-6F4B3800D639}"/>
              </a:ext>
            </a:extLst>
          </p:cNvPr>
          <p:cNvGrpSpPr/>
          <p:nvPr/>
        </p:nvGrpSpPr>
        <p:grpSpPr>
          <a:xfrm>
            <a:off x="5267211" y="3032407"/>
            <a:ext cx="678159" cy="382191"/>
            <a:chOff x="831850" y="2057400"/>
            <a:chExt cx="923925" cy="520700"/>
          </a:xfrm>
        </p:grpSpPr>
        <p:sp>
          <p:nvSpPr>
            <p:cNvPr id="97" name="Freeform 1056">
              <a:extLst>
                <a:ext uri="{FF2B5EF4-FFF2-40B4-BE49-F238E27FC236}">
                  <a16:creationId xmlns:a16="http://schemas.microsoft.com/office/drawing/2014/main" id="{E684B5B1-942F-458C-9D47-90145AC4BBB7}"/>
                </a:ext>
              </a:extLst>
            </p:cNvPr>
            <p:cNvSpPr/>
            <p:nvPr/>
          </p:nvSpPr>
          <p:spPr bwMode="auto">
            <a:xfrm>
              <a:off x="8318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28575">
              <a:solidFill>
                <a:srgbClr val="C1C1C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1057">
              <a:extLst>
                <a:ext uri="{FF2B5EF4-FFF2-40B4-BE49-F238E27FC236}">
                  <a16:creationId xmlns:a16="http://schemas.microsoft.com/office/drawing/2014/main" id="{ACE35977-6F09-4A09-91CF-6249818ED333}"/>
                </a:ext>
              </a:extLst>
            </p:cNvPr>
            <p:cNvSpPr/>
            <p:nvPr/>
          </p:nvSpPr>
          <p:spPr bwMode="auto">
            <a:xfrm flipH="1">
              <a:off x="15049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28575">
              <a:solidFill>
                <a:srgbClr val="C1C1C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08" name="Straight Connector 107">
              <a:extLst>
                <a:ext uri="{FF2B5EF4-FFF2-40B4-BE49-F238E27FC236}">
                  <a16:creationId xmlns:a16="http://schemas.microsoft.com/office/drawing/2014/main" id="{9A1F56EC-E941-4880-940A-F27C28536D17}"/>
                </a:ext>
              </a:extLst>
            </p:cNvPr>
            <p:cNvCxnSpPr/>
            <p:nvPr/>
          </p:nvCxnSpPr>
          <p:spPr>
            <a:xfrm flipH="1">
              <a:off x="1181100" y="2057400"/>
              <a:ext cx="215900" cy="520700"/>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4">
            <a:extLst>
              <a:ext uri="{FF2B5EF4-FFF2-40B4-BE49-F238E27FC236}">
                <a16:creationId xmlns:a16="http://schemas.microsoft.com/office/drawing/2014/main" id="{8CC19325-3C8D-4BAC-A669-D43810874882}"/>
              </a:ext>
            </a:extLst>
          </p:cNvPr>
          <p:cNvGrpSpPr>
            <a:grpSpLocks noChangeAspect="1"/>
          </p:cNvGrpSpPr>
          <p:nvPr/>
        </p:nvGrpSpPr>
        <p:grpSpPr bwMode="auto">
          <a:xfrm>
            <a:off x="4993995" y="3441636"/>
            <a:ext cx="471909" cy="460673"/>
            <a:chOff x="1759" y="236"/>
            <a:chExt cx="252" cy="246"/>
          </a:xfrm>
          <a:noFill/>
        </p:grpSpPr>
        <p:sp>
          <p:nvSpPr>
            <p:cNvPr id="110" name="Rectangle 6">
              <a:extLst>
                <a:ext uri="{FF2B5EF4-FFF2-40B4-BE49-F238E27FC236}">
                  <a16:creationId xmlns:a16="http://schemas.microsoft.com/office/drawing/2014/main" id="{56F79016-D458-4D22-A4BF-8B79458BCC02}"/>
                </a:ext>
              </a:extLst>
            </p:cNvPr>
            <p:cNvSpPr>
              <a:spLocks noChangeArrowheads="1"/>
            </p:cNvSpPr>
            <p:nvPr/>
          </p:nvSpPr>
          <p:spPr bwMode="auto">
            <a:xfrm>
              <a:off x="1799" y="376"/>
              <a:ext cx="32" cy="106"/>
            </a:xfrm>
            <a:prstGeom prst="rect">
              <a:avLst/>
            </a:prstGeom>
            <a:solidFill>
              <a:schemeClr val="accent1"/>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1" name="Rectangle 7">
              <a:extLst>
                <a:ext uri="{FF2B5EF4-FFF2-40B4-BE49-F238E27FC236}">
                  <a16:creationId xmlns:a16="http://schemas.microsoft.com/office/drawing/2014/main" id="{5836F958-0024-4863-A84F-FC3D75E5657D}"/>
                </a:ext>
              </a:extLst>
            </p:cNvPr>
            <p:cNvSpPr>
              <a:spLocks noChangeArrowheads="1"/>
            </p:cNvSpPr>
            <p:nvPr/>
          </p:nvSpPr>
          <p:spPr bwMode="auto">
            <a:xfrm>
              <a:off x="1862" y="283"/>
              <a:ext cx="33" cy="199"/>
            </a:xfrm>
            <a:prstGeom prst="rect">
              <a:avLst/>
            </a:prstGeom>
            <a:solidFill>
              <a:schemeClr val="accent1"/>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2" name="Rectangle 8">
              <a:extLst>
                <a:ext uri="{FF2B5EF4-FFF2-40B4-BE49-F238E27FC236}">
                  <a16:creationId xmlns:a16="http://schemas.microsoft.com/office/drawing/2014/main" id="{1CF5CC43-610F-4CC6-BD2D-B67169C7A022}"/>
                </a:ext>
              </a:extLst>
            </p:cNvPr>
            <p:cNvSpPr>
              <a:spLocks noChangeArrowheads="1"/>
            </p:cNvSpPr>
            <p:nvPr/>
          </p:nvSpPr>
          <p:spPr bwMode="auto">
            <a:xfrm>
              <a:off x="1926" y="324"/>
              <a:ext cx="33" cy="158"/>
            </a:xfrm>
            <a:prstGeom prst="rect">
              <a:avLst/>
            </a:prstGeom>
            <a:solidFill>
              <a:schemeClr val="accent1"/>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3" name="Freeform 5">
              <a:extLst>
                <a:ext uri="{FF2B5EF4-FFF2-40B4-BE49-F238E27FC236}">
                  <a16:creationId xmlns:a16="http://schemas.microsoft.com/office/drawing/2014/main" id="{5B510DDA-5DE5-4CC8-A101-EE67A73A7EF6}"/>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38100" cap="flat">
              <a:solidFill>
                <a:schemeClr val="tx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cxnSp>
        <p:nvCxnSpPr>
          <p:cNvPr id="114" name="Straight Arrow Connector 113">
            <a:extLst>
              <a:ext uri="{FF2B5EF4-FFF2-40B4-BE49-F238E27FC236}">
                <a16:creationId xmlns:a16="http://schemas.microsoft.com/office/drawing/2014/main" id="{577E518F-822D-44E9-A06C-FC74F8FC9CDC}"/>
              </a:ext>
            </a:extLst>
          </p:cNvPr>
          <p:cNvCxnSpPr>
            <a:cxnSpLocks/>
          </p:cNvCxnSpPr>
          <p:nvPr/>
        </p:nvCxnSpPr>
        <p:spPr>
          <a:xfrm>
            <a:off x="6577217" y="3456386"/>
            <a:ext cx="62366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1C3C23FD-4961-49AC-9DDE-1277F37D282C}"/>
              </a:ext>
            </a:extLst>
          </p:cNvPr>
          <p:cNvSpPr/>
          <p:nvPr/>
        </p:nvSpPr>
        <p:spPr>
          <a:xfrm>
            <a:off x="4865260" y="4105957"/>
            <a:ext cx="1475072"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nnotate</a:t>
            </a:r>
          </a:p>
        </p:txBody>
      </p:sp>
      <p:sp>
        <p:nvSpPr>
          <p:cNvPr id="121" name="Freeform 220">
            <a:extLst>
              <a:ext uri="{FF2B5EF4-FFF2-40B4-BE49-F238E27FC236}">
                <a16:creationId xmlns:a16="http://schemas.microsoft.com/office/drawing/2014/main" id="{B8C40BD9-4D1A-4924-A3C6-3A6E6035D6D6}"/>
              </a:ext>
            </a:extLst>
          </p:cNvPr>
          <p:cNvSpPr/>
          <p:nvPr/>
        </p:nvSpPr>
        <p:spPr bwMode="auto">
          <a:xfrm>
            <a:off x="9864338" y="4098942"/>
            <a:ext cx="298162" cy="29816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Freeform 163">
            <a:extLst>
              <a:ext uri="{FF2B5EF4-FFF2-40B4-BE49-F238E27FC236}">
                <a16:creationId xmlns:a16="http://schemas.microsoft.com/office/drawing/2014/main" id="{FAF0E99C-BDD6-4519-80EF-F052D4321048}"/>
              </a:ext>
            </a:extLst>
          </p:cNvPr>
          <p:cNvSpPr/>
          <p:nvPr/>
        </p:nvSpPr>
        <p:spPr bwMode="auto">
          <a:xfrm>
            <a:off x="2828161" y="4854073"/>
            <a:ext cx="281084" cy="242996"/>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Freeform 215">
            <a:extLst>
              <a:ext uri="{FF2B5EF4-FFF2-40B4-BE49-F238E27FC236}">
                <a16:creationId xmlns:a16="http://schemas.microsoft.com/office/drawing/2014/main" id="{47B978FA-F592-42F3-BF7A-60D6D265F7E0}"/>
              </a:ext>
            </a:extLst>
          </p:cNvPr>
          <p:cNvSpPr/>
          <p:nvPr/>
        </p:nvSpPr>
        <p:spPr bwMode="auto">
          <a:xfrm>
            <a:off x="1602597" y="4874481"/>
            <a:ext cx="258145" cy="221274"/>
          </a:xfrm>
          <a:custGeom>
            <a:avLst/>
            <a:gdLst>
              <a:gd name="connsiteX0" fmla="*/ 362857 w 5905319"/>
              <a:gd name="connsiteY0" fmla="*/ 3102425 h 5061856"/>
              <a:gd name="connsiteX1" fmla="*/ 362857 w 5905319"/>
              <a:gd name="connsiteY1" fmla="*/ 3599539 h 5061856"/>
              <a:gd name="connsiteX2" fmla="*/ 1208314 w 5905319"/>
              <a:gd name="connsiteY2" fmla="*/ 3599539 h 5061856"/>
              <a:gd name="connsiteX3" fmla="*/ 1208314 w 5905319"/>
              <a:gd name="connsiteY3" fmla="*/ 3102425 h 5061856"/>
              <a:gd name="connsiteX4" fmla="*/ 1389952 w 5905319"/>
              <a:gd name="connsiteY4" fmla="*/ 3102424 h 5061856"/>
              <a:gd name="connsiteX5" fmla="*/ 1389952 w 5905319"/>
              <a:gd name="connsiteY5" fmla="*/ 3599538 h 5061856"/>
              <a:gd name="connsiteX6" fmla="*/ 2235409 w 5905319"/>
              <a:gd name="connsiteY6" fmla="*/ 3599538 h 5061856"/>
              <a:gd name="connsiteX7" fmla="*/ 2235409 w 5905319"/>
              <a:gd name="connsiteY7" fmla="*/ 3102424 h 5061856"/>
              <a:gd name="connsiteX8" fmla="*/ 2417047 w 5905319"/>
              <a:gd name="connsiteY8" fmla="*/ 3102423 h 5061856"/>
              <a:gd name="connsiteX9" fmla="*/ 2417047 w 5905319"/>
              <a:gd name="connsiteY9" fmla="*/ 3399907 h 5061856"/>
              <a:gd name="connsiteX10" fmla="*/ 2583882 w 5905319"/>
              <a:gd name="connsiteY10" fmla="*/ 3102423 h 5061856"/>
              <a:gd name="connsiteX11" fmla="*/ 362857 w 5905319"/>
              <a:gd name="connsiteY11" fmla="*/ 2416626 h 5061856"/>
              <a:gd name="connsiteX12" fmla="*/ 362857 w 5905319"/>
              <a:gd name="connsiteY12" fmla="*/ 2913740 h 5061856"/>
              <a:gd name="connsiteX13" fmla="*/ 1208314 w 5905319"/>
              <a:gd name="connsiteY13" fmla="*/ 2913740 h 5061856"/>
              <a:gd name="connsiteX14" fmla="*/ 1208314 w 5905319"/>
              <a:gd name="connsiteY14" fmla="*/ 2416626 h 5061856"/>
              <a:gd name="connsiteX15" fmla="*/ 1389952 w 5905319"/>
              <a:gd name="connsiteY15" fmla="*/ 2416625 h 5061856"/>
              <a:gd name="connsiteX16" fmla="*/ 1389952 w 5905319"/>
              <a:gd name="connsiteY16" fmla="*/ 2913739 h 5061856"/>
              <a:gd name="connsiteX17" fmla="*/ 2235409 w 5905319"/>
              <a:gd name="connsiteY17" fmla="*/ 2913739 h 5061856"/>
              <a:gd name="connsiteX18" fmla="*/ 2235409 w 5905319"/>
              <a:gd name="connsiteY18" fmla="*/ 2416625 h 5061856"/>
              <a:gd name="connsiteX19" fmla="*/ 2417047 w 5905319"/>
              <a:gd name="connsiteY19" fmla="*/ 2416624 h 5061856"/>
              <a:gd name="connsiteX20" fmla="*/ 2417047 w 5905319"/>
              <a:gd name="connsiteY20" fmla="*/ 2913738 h 5061856"/>
              <a:gd name="connsiteX21" fmla="*/ 2689701 w 5905319"/>
              <a:gd name="connsiteY21" fmla="*/ 2913738 h 5061856"/>
              <a:gd name="connsiteX22" fmla="*/ 2968492 w 5905319"/>
              <a:gd name="connsiteY22" fmla="*/ 2416624 h 5061856"/>
              <a:gd name="connsiteX23" fmla="*/ 362857 w 5905319"/>
              <a:gd name="connsiteY23" fmla="*/ 1730827 h 5061856"/>
              <a:gd name="connsiteX24" fmla="*/ 362857 w 5905319"/>
              <a:gd name="connsiteY24" fmla="*/ 2227941 h 5061856"/>
              <a:gd name="connsiteX25" fmla="*/ 1208314 w 5905319"/>
              <a:gd name="connsiteY25" fmla="*/ 2227941 h 5061856"/>
              <a:gd name="connsiteX26" fmla="*/ 1208314 w 5905319"/>
              <a:gd name="connsiteY26" fmla="*/ 1730827 h 5061856"/>
              <a:gd name="connsiteX27" fmla="*/ 1389952 w 5905319"/>
              <a:gd name="connsiteY27" fmla="*/ 1730826 h 5061856"/>
              <a:gd name="connsiteX28" fmla="*/ 1389952 w 5905319"/>
              <a:gd name="connsiteY28" fmla="*/ 2227940 h 5061856"/>
              <a:gd name="connsiteX29" fmla="*/ 2235409 w 5905319"/>
              <a:gd name="connsiteY29" fmla="*/ 2227940 h 5061856"/>
              <a:gd name="connsiteX30" fmla="*/ 2235409 w 5905319"/>
              <a:gd name="connsiteY30" fmla="*/ 1730826 h 5061856"/>
              <a:gd name="connsiteX31" fmla="*/ 2417047 w 5905319"/>
              <a:gd name="connsiteY31" fmla="*/ 1730825 h 5061856"/>
              <a:gd name="connsiteX32" fmla="*/ 2417047 w 5905319"/>
              <a:gd name="connsiteY32" fmla="*/ 2227939 h 5061856"/>
              <a:gd name="connsiteX33" fmla="*/ 3074311 w 5905319"/>
              <a:gd name="connsiteY33" fmla="*/ 2227939 h 5061856"/>
              <a:gd name="connsiteX34" fmla="*/ 3224896 w 5905319"/>
              <a:gd name="connsiteY34" fmla="*/ 1959429 h 5061856"/>
              <a:gd name="connsiteX35" fmla="*/ 3262504 w 5905319"/>
              <a:gd name="connsiteY35" fmla="*/ 1959429 h 5061856"/>
              <a:gd name="connsiteX36" fmla="*/ 3262504 w 5905319"/>
              <a:gd name="connsiteY36" fmla="*/ 1730825 h 5061856"/>
              <a:gd name="connsiteX37" fmla="*/ 3444143 w 5905319"/>
              <a:gd name="connsiteY37" fmla="*/ 1730824 h 5061856"/>
              <a:gd name="connsiteX38" fmla="*/ 3444143 w 5905319"/>
              <a:gd name="connsiteY38" fmla="*/ 1959429 h 5061856"/>
              <a:gd name="connsiteX39" fmla="*/ 4289600 w 5905319"/>
              <a:gd name="connsiteY39" fmla="*/ 1959429 h 5061856"/>
              <a:gd name="connsiteX40" fmla="*/ 4289600 w 5905319"/>
              <a:gd name="connsiteY40" fmla="*/ 1730824 h 5061856"/>
              <a:gd name="connsiteX41" fmla="*/ 362857 w 5905319"/>
              <a:gd name="connsiteY41" fmla="*/ 1045028 h 5061856"/>
              <a:gd name="connsiteX42" fmla="*/ 362857 w 5905319"/>
              <a:gd name="connsiteY42" fmla="*/ 1542142 h 5061856"/>
              <a:gd name="connsiteX43" fmla="*/ 1208314 w 5905319"/>
              <a:gd name="connsiteY43" fmla="*/ 1542142 h 5061856"/>
              <a:gd name="connsiteX44" fmla="*/ 1208314 w 5905319"/>
              <a:gd name="connsiteY44" fmla="*/ 1045028 h 5061856"/>
              <a:gd name="connsiteX45" fmla="*/ 1389952 w 5905319"/>
              <a:gd name="connsiteY45" fmla="*/ 1045027 h 5061856"/>
              <a:gd name="connsiteX46" fmla="*/ 1389952 w 5905319"/>
              <a:gd name="connsiteY46" fmla="*/ 1542141 h 5061856"/>
              <a:gd name="connsiteX47" fmla="*/ 2235409 w 5905319"/>
              <a:gd name="connsiteY47" fmla="*/ 1542141 h 5061856"/>
              <a:gd name="connsiteX48" fmla="*/ 2235409 w 5905319"/>
              <a:gd name="connsiteY48" fmla="*/ 1045027 h 5061856"/>
              <a:gd name="connsiteX49" fmla="*/ 2417047 w 5905319"/>
              <a:gd name="connsiteY49" fmla="*/ 1045026 h 5061856"/>
              <a:gd name="connsiteX50" fmla="*/ 2417047 w 5905319"/>
              <a:gd name="connsiteY50" fmla="*/ 1542140 h 5061856"/>
              <a:gd name="connsiteX51" fmla="*/ 3262504 w 5905319"/>
              <a:gd name="connsiteY51" fmla="*/ 1542140 h 5061856"/>
              <a:gd name="connsiteX52" fmla="*/ 3262504 w 5905319"/>
              <a:gd name="connsiteY52" fmla="*/ 1045026 h 5061856"/>
              <a:gd name="connsiteX53" fmla="*/ 3444143 w 5905319"/>
              <a:gd name="connsiteY53" fmla="*/ 1045025 h 5061856"/>
              <a:gd name="connsiteX54" fmla="*/ 3444143 w 5905319"/>
              <a:gd name="connsiteY54" fmla="*/ 1542139 h 5061856"/>
              <a:gd name="connsiteX55" fmla="*/ 4289600 w 5905319"/>
              <a:gd name="connsiteY55" fmla="*/ 1542139 h 5061856"/>
              <a:gd name="connsiteX56" fmla="*/ 4289600 w 5905319"/>
              <a:gd name="connsiteY56" fmla="*/ 1045025 h 5061856"/>
              <a:gd name="connsiteX57" fmla="*/ 173592 w 5905319"/>
              <a:gd name="connsiteY57" fmla="*/ 0 h 5061856"/>
              <a:gd name="connsiteX58" fmla="*/ 4474608 w 5905319"/>
              <a:gd name="connsiteY58" fmla="*/ 0 h 5061856"/>
              <a:gd name="connsiteX59" fmla="*/ 4648200 w 5905319"/>
              <a:gd name="connsiteY59" fmla="*/ 173592 h 5061856"/>
              <a:gd name="connsiteX60" fmla="*/ 4648200 w 5905319"/>
              <a:gd name="connsiteY60" fmla="*/ 1959429 h 5061856"/>
              <a:gd name="connsiteX61" fmla="*/ 5035367 w 5905319"/>
              <a:gd name="connsiteY61" fmla="*/ 1959429 h 5061856"/>
              <a:gd name="connsiteX62" fmla="*/ 5905319 w 5905319"/>
              <a:gd name="connsiteY62" fmla="*/ 3510643 h 5061856"/>
              <a:gd name="connsiteX63" fmla="*/ 5035367 w 5905319"/>
              <a:gd name="connsiteY63" fmla="*/ 5061856 h 5061856"/>
              <a:gd name="connsiteX64" fmla="*/ 3224896 w 5905319"/>
              <a:gd name="connsiteY64" fmla="*/ 5061856 h 5061856"/>
              <a:gd name="connsiteX65" fmla="*/ 2606264 w 5905319"/>
              <a:gd name="connsiteY65" fmla="*/ 3958771 h 5061856"/>
              <a:gd name="connsiteX66" fmla="*/ 173592 w 5905319"/>
              <a:gd name="connsiteY66" fmla="*/ 3958771 h 5061856"/>
              <a:gd name="connsiteX67" fmla="*/ 0 w 5905319"/>
              <a:gd name="connsiteY67" fmla="*/ 3785179 h 5061856"/>
              <a:gd name="connsiteX68" fmla="*/ 0 w 5905319"/>
              <a:gd name="connsiteY68" fmla="*/ 173592 h 5061856"/>
              <a:gd name="connsiteX69" fmla="*/ 173592 w 5905319"/>
              <a:gd name="connsiteY69" fmla="*/ 0 h 506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905319" h="5061856">
                <a:moveTo>
                  <a:pt x="362857" y="3102425"/>
                </a:moveTo>
                <a:lnTo>
                  <a:pt x="362857" y="3599539"/>
                </a:lnTo>
                <a:lnTo>
                  <a:pt x="1208314" y="3599539"/>
                </a:lnTo>
                <a:lnTo>
                  <a:pt x="1208314" y="3102425"/>
                </a:lnTo>
                <a:close/>
                <a:moveTo>
                  <a:pt x="1389952" y="3102424"/>
                </a:moveTo>
                <a:lnTo>
                  <a:pt x="1389952" y="3599538"/>
                </a:lnTo>
                <a:lnTo>
                  <a:pt x="2235409" y="3599538"/>
                </a:lnTo>
                <a:lnTo>
                  <a:pt x="2235409" y="3102424"/>
                </a:lnTo>
                <a:close/>
                <a:moveTo>
                  <a:pt x="2417047" y="3102423"/>
                </a:moveTo>
                <a:lnTo>
                  <a:pt x="2417047" y="3399907"/>
                </a:lnTo>
                <a:lnTo>
                  <a:pt x="2583882" y="3102423"/>
                </a:lnTo>
                <a:close/>
                <a:moveTo>
                  <a:pt x="362857" y="2416626"/>
                </a:moveTo>
                <a:lnTo>
                  <a:pt x="362857" y="2913740"/>
                </a:lnTo>
                <a:lnTo>
                  <a:pt x="1208314" y="2913740"/>
                </a:lnTo>
                <a:lnTo>
                  <a:pt x="1208314" y="2416626"/>
                </a:lnTo>
                <a:close/>
                <a:moveTo>
                  <a:pt x="1389952" y="2416625"/>
                </a:moveTo>
                <a:lnTo>
                  <a:pt x="1389952" y="2913739"/>
                </a:lnTo>
                <a:lnTo>
                  <a:pt x="2235409" y="2913739"/>
                </a:lnTo>
                <a:lnTo>
                  <a:pt x="2235409" y="2416625"/>
                </a:lnTo>
                <a:close/>
                <a:moveTo>
                  <a:pt x="2417047" y="2416624"/>
                </a:moveTo>
                <a:lnTo>
                  <a:pt x="2417047" y="2913738"/>
                </a:lnTo>
                <a:lnTo>
                  <a:pt x="2689701" y="2913738"/>
                </a:lnTo>
                <a:lnTo>
                  <a:pt x="2968492" y="2416624"/>
                </a:lnTo>
                <a:close/>
                <a:moveTo>
                  <a:pt x="362857" y="1730827"/>
                </a:moveTo>
                <a:lnTo>
                  <a:pt x="362857" y="2227941"/>
                </a:lnTo>
                <a:lnTo>
                  <a:pt x="1208314" y="2227941"/>
                </a:lnTo>
                <a:lnTo>
                  <a:pt x="1208314" y="1730827"/>
                </a:lnTo>
                <a:close/>
                <a:moveTo>
                  <a:pt x="1389952" y="1730826"/>
                </a:moveTo>
                <a:lnTo>
                  <a:pt x="1389952" y="2227940"/>
                </a:lnTo>
                <a:lnTo>
                  <a:pt x="2235409" y="2227940"/>
                </a:lnTo>
                <a:lnTo>
                  <a:pt x="2235409" y="1730826"/>
                </a:lnTo>
                <a:close/>
                <a:moveTo>
                  <a:pt x="2417047" y="1730825"/>
                </a:moveTo>
                <a:lnTo>
                  <a:pt x="2417047" y="2227939"/>
                </a:lnTo>
                <a:lnTo>
                  <a:pt x="3074311" y="2227939"/>
                </a:lnTo>
                <a:lnTo>
                  <a:pt x="3224896" y="1959429"/>
                </a:lnTo>
                <a:lnTo>
                  <a:pt x="3262504" y="1959429"/>
                </a:lnTo>
                <a:lnTo>
                  <a:pt x="3262504" y="1730825"/>
                </a:lnTo>
                <a:close/>
                <a:moveTo>
                  <a:pt x="3444143" y="1730824"/>
                </a:moveTo>
                <a:lnTo>
                  <a:pt x="3444143" y="1959429"/>
                </a:lnTo>
                <a:lnTo>
                  <a:pt x="4289600" y="1959429"/>
                </a:lnTo>
                <a:lnTo>
                  <a:pt x="4289600" y="1730824"/>
                </a:lnTo>
                <a:close/>
                <a:moveTo>
                  <a:pt x="362857" y="1045028"/>
                </a:moveTo>
                <a:lnTo>
                  <a:pt x="362857" y="1542142"/>
                </a:lnTo>
                <a:lnTo>
                  <a:pt x="1208314" y="1542142"/>
                </a:lnTo>
                <a:lnTo>
                  <a:pt x="1208314" y="1045028"/>
                </a:lnTo>
                <a:close/>
                <a:moveTo>
                  <a:pt x="1389952" y="1045027"/>
                </a:moveTo>
                <a:lnTo>
                  <a:pt x="1389952" y="1542141"/>
                </a:lnTo>
                <a:lnTo>
                  <a:pt x="2235409" y="1542141"/>
                </a:lnTo>
                <a:lnTo>
                  <a:pt x="2235409" y="1045027"/>
                </a:lnTo>
                <a:close/>
                <a:moveTo>
                  <a:pt x="2417047" y="1045026"/>
                </a:moveTo>
                <a:lnTo>
                  <a:pt x="2417047" y="1542140"/>
                </a:lnTo>
                <a:lnTo>
                  <a:pt x="3262504" y="1542140"/>
                </a:lnTo>
                <a:lnTo>
                  <a:pt x="3262504" y="1045026"/>
                </a:lnTo>
                <a:close/>
                <a:moveTo>
                  <a:pt x="3444143" y="1045025"/>
                </a:moveTo>
                <a:lnTo>
                  <a:pt x="3444143" y="1542139"/>
                </a:lnTo>
                <a:lnTo>
                  <a:pt x="4289600" y="1542139"/>
                </a:lnTo>
                <a:lnTo>
                  <a:pt x="4289600" y="1045025"/>
                </a:lnTo>
                <a:close/>
                <a:moveTo>
                  <a:pt x="173592" y="0"/>
                </a:moveTo>
                <a:lnTo>
                  <a:pt x="4474608" y="0"/>
                </a:lnTo>
                <a:cubicBezTo>
                  <a:pt x="4570480" y="0"/>
                  <a:pt x="4648200" y="77720"/>
                  <a:pt x="4648200" y="173592"/>
                </a:cubicBezTo>
                <a:lnTo>
                  <a:pt x="4648200" y="1959429"/>
                </a:lnTo>
                <a:lnTo>
                  <a:pt x="5035367" y="1959429"/>
                </a:lnTo>
                <a:lnTo>
                  <a:pt x="5905319" y="3510643"/>
                </a:lnTo>
                <a:lnTo>
                  <a:pt x="5035367" y="5061856"/>
                </a:lnTo>
                <a:lnTo>
                  <a:pt x="3224896" y="5061856"/>
                </a:lnTo>
                <a:lnTo>
                  <a:pt x="2606264" y="3958771"/>
                </a:lnTo>
                <a:lnTo>
                  <a:pt x="173592" y="3958771"/>
                </a:lnTo>
                <a:cubicBezTo>
                  <a:pt x="77720" y="3958771"/>
                  <a:pt x="0" y="3881051"/>
                  <a:pt x="0" y="3785179"/>
                </a:cubicBezTo>
                <a:lnTo>
                  <a:pt x="0" y="173592"/>
                </a:lnTo>
                <a:cubicBezTo>
                  <a:pt x="0" y="77720"/>
                  <a:pt x="77720" y="0"/>
                  <a:pt x="17359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Freeform: Shape 123">
            <a:extLst>
              <a:ext uri="{FF2B5EF4-FFF2-40B4-BE49-F238E27FC236}">
                <a16:creationId xmlns:a16="http://schemas.microsoft.com/office/drawing/2014/main" id="{2827C86D-91A3-4A79-8C7C-7C3142680401}"/>
              </a:ext>
            </a:extLst>
          </p:cNvPr>
          <p:cNvSpPr/>
          <p:nvPr/>
        </p:nvSpPr>
        <p:spPr bwMode="auto">
          <a:xfrm>
            <a:off x="386028" y="4835025"/>
            <a:ext cx="274192" cy="253916"/>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AA22A0B7-2C15-46B5-AE86-48B4D5B27978}"/>
              </a:ext>
            </a:extLst>
          </p:cNvPr>
          <p:cNvSpPr/>
          <p:nvPr/>
        </p:nvSpPr>
        <p:spPr>
          <a:xfrm>
            <a:off x="5773404" y="3149322"/>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Text Placeholder 4">
            <a:extLst>
              <a:ext uri="{FF2B5EF4-FFF2-40B4-BE49-F238E27FC236}">
                <a16:creationId xmlns:a16="http://schemas.microsoft.com/office/drawing/2014/main" id="{FC7FEADE-2005-4DBA-8F2F-03A66DA0A4A2}"/>
              </a:ext>
            </a:extLst>
          </p:cNvPr>
          <p:cNvSpPr txBox="1">
            <a:spLocks/>
          </p:cNvSpPr>
          <p:nvPr/>
        </p:nvSpPr>
        <p:spPr>
          <a:xfrm>
            <a:off x="300821" y="5470350"/>
            <a:ext cx="12048534" cy="1557349"/>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1400" b="1">
                <a:solidFill>
                  <a:srgbClr val="505050"/>
                </a:solidFill>
                <a:latin typeface="Segoe UI"/>
              </a:rPr>
              <a:t>Example Scenario: We have too much disparate data inside our company and I cannot find things that are relevant</a:t>
            </a:r>
          </a:p>
          <a:p>
            <a:pPr>
              <a:defRPr/>
            </a:pPr>
            <a:r>
              <a:rPr lang="en-US" sz="1400">
                <a:solidFill>
                  <a:srgbClr val="505050"/>
                </a:solidFill>
                <a:latin typeface="Segoe UI"/>
              </a:rPr>
              <a:t>A company’s finance department has documents scattered in siloed storage solutions</a:t>
            </a:r>
          </a:p>
          <a:p>
            <a:pPr>
              <a:defRPr/>
            </a:pPr>
            <a:r>
              <a:rPr lang="en-US" sz="1400">
                <a:solidFill>
                  <a:srgbClr val="505050"/>
                </a:solidFill>
                <a:latin typeface="Segoe UI"/>
              </a:rPr>
              <a:t>When an employee searches for a specific document they are unable to find the right one.</a:t>
            </a:r>
          </a:p>
          <a:p>
            <a:pPr>
              <a:defRPr/>
            </a:pPr>
            <a:r>
              <a:rPr lang="en-US" sz="1400">
                <a:solidFill>
                  <a:srgbClr val="505050"/>
                </a:solidFill>
                <a:latin typeface="Segoe UI"/>
              </a:rPr>
              <a:t>Azure search indexes and mines content located throughout the company and offers an accurate, holistic result to employee in order to save time and increase productivit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rPr>
              <a:t> </a:t>
            </a:r>
          </a:p>
        </p:txBody>
      </p:sp>
      <p:sp>
        <p:nvSpPr>
          <p:cNvPr id="126" name="Title 1">
            <a:extLst>
              <a:ext uri="{FF2B5EF4-FFF2-40B4-BE49-F238E27FC236}">
                <a16:creationId xmlns:a16="http://schemas.microsoft.com/office/drawing/2014/main" id="{C3A4F5AB-B01B-48D5-83DF-56A2AFD6B846}"/>
              </a:ext>
            </a:extLst>
          </p:cNvPr>
          <p:cNvSpPr txBox="1">
            <a:spLocks/>
          </p:cNvSpPr>
          <p:nvPr/>
        </p:nvSpPr>
        <p:spPr>
          <a:xfrm>
            <a:off x="201405" y="569634"/>
            <a:ext cx="11655840" cy="1202484"/>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lang="en-US" b="1">
                <a:solidFill>
                  <a:srgbClr val="505050"/>
                </a:solidFill>
                <a:latin typeface="Segoe UI Light" panose="020B0502040204020203" pitchFamily="34" charset="0"/>
                <a:cs typeface="Segoe UI Light" panose="020B0502040204020203" pitchFamily="34" charset="0"/>
              </a:rPr>
              <a:t>Internal LOB Search</a:t>
            </a:r>
            <a:endPar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64861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C9E093F2-11C1-4CA3-AA58-3C15083AE704}"/>
              </a:ext>
            </a:extLst>
          </p:cNvPr>
          <p:cNvSpPr/>
          <p:nvPr/>
        </p:nvSpPr>
        <p:spPr bwMode="auto">
          <a:xfrm>
            <a:off x="5127350" y="2307294"/>
            <a:ext cx="2064951" cy="3496490"/>
          </a:xfrm>
          <a:prstGeom prst="rect">
            <a:avLst/>
          </a:prstGeom>
          <a:solidFill>
            <a:srgbClr val="F7F7F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69" name="TextBox 68">
            <a:extLst>
              <a:ext uri="{FF2B5EF4-FFF2-40B4-BE49-F238E27FC236}">
                <a16:creationId xmlns:a16="http://schemas.microsoft.com/office/drawing/2014/main" id="{497F3552-9E64-44C4-A0EC-B7F7BAF03773}"/>
              </a:ext>
            </a:extLst>
          </p:cNvPr>
          <p:cNvSpPr txBox="1"/>
          <p:nvPr/>
        </p:nvSpPr>
        <p:spPr>
          <a:xfrm>
            <a:off x="1018593" y="3418307"/>
            <a:ext cx="974266" cy="253916"/>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ocuments</a:t>
            </a:r>
          </a:p>
        </p:txBody>
      </p:sp>
      <p:sp>
        <p:nvSpPr>
          <p:cNvPr id="79" name="TextBox 78">
            <a:extLst>
              <a:ext uri="{FF2B5EF4-FFF2-40B4-BE49-F238E27FC236}">
                <a16:creationId xmlns:a16="http://schemas.microsoft.com/office/drawing/2014/main" id="{31751157-80F4-40BA-A879-145B2F14F966}"/>
              </a:ext>
            </a:extLst>
          </p:cNvPr>
          <p:cNvSpPr txBox="1"/>
          <p:nvPr/>
        </p:nvSpPr>
        <p:spPr>
          <a:xfrm>
            <a:off x="1018593" y="4524836"/>
            <a:ext cx="974266" cy="253916"/>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Images</a:t>
            </a:r>
          </a:p>
        </p:txBody>
      </p:sp>
      <p:sp>
        <p:nvSpPr>
          <p:cNvPr id="111" name="Rectangle 110">
            <a:extLst>
              <a:ext uri="{FF2B5EF4-FFF2-40B4-BE49-F238E27FC236}">
                <a16:creationId xmlns:a16="http://schemas.microsoft.com/office/drawing/2014/main" id="{28F950B3-0E17-4918-B92A-CF8E159CC60A}"/>
              </a:ext>
            </a:extLst>
          </p:cNvPr>
          <p:cNvSpPr/>
          <p:nvPr/>
        </p:nvSpPr>
        <p:spPr>
          <a:xfrm>
            <a:off x="3178497" y="4953447"/>
            <a:ext cx="1190240"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ocation entity extraction</a:t>
            </a:r>
          </a:p>
        </p:txBody>
      </p:sp>
      <p:cxnSp>
        <p:nvCxnSpPr>
          <p:cNvPr id="114" name="Straight Arrow Connector 113">
            <a:extLst>
              <a:ext uri="{FF2B5EF4-FFF2-40B4-BE49-F238E27FC236}">
                <a16:creationId xmlns:a16="http://schemas.microsoft.com/office/drawing/2014/main" id="{1813DF08-120B-4FEA-B233-E002F0F581F4}"/>
              </a:ext>
            </a:extLst>
          </p:cNvPr>
          <p:cNvCxnSpPr>
            <a:cxnSpLocks/>
          </p:cNvCxnSpPr>
          <p:nvPr/>
        </p:nvCxnSpPr>
        <p:spPr>
          <a:xfrm>
            <a:off x="4548773" y="4698033"/>
            <a:ext cx="708483"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Right Bracket 120">
            <a:extLst>
              <a:ext uri="{FF2B5EF4-FFF2-40B4-BE49-F238E27FC236}">
                <a16:creationId xmlns:a16="http://schemas.microsoft.com/office/drawing/2014/main" id="{DFD0BFF2-6542-4354-8344-C24FA08EDA01}"/>
              </a:ext>
            </a:extLst>
          </p:cNvPr>
          <p:cNvSpPr/>
          <p:nvPr/>
        </p:nvSpPr>
        <p:spPr>
          <a:xfrm>
            <a:off x="2097933" y="2661468"/>
            <a:ext cx="45719" cy="2263883"/>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23" name="Straight Arrow Connector 122">
            <a:extLst>
              <a:ext uri="{FF2B5EF4-FFF2-40B4-BE49-F238E27FC236}">
                <a16:creationId xmlns:a16="http://schemas.microsoft.com/office/drawing/2014/main" id="{0CEDA18E-4DA6-40D6-8447-195C0616DB94}"/>
              </a:ext>
            </a:extLst>
          </p:cNvPr>
          <p:cNvCxnSpPr>
            <a:cxnSpLocks/>
          </p:cNvCxnSpPr>
          <p:nvPr/>
        </p:nvCxnSpPr>
        <p:spPr>
          <a:xfrm>
            <a:off x="2148181" y="3310541"/>
            <a:ext cx="717083" cy="1665"/>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F75B1065-93B0-43C4-96F1-1CE9A051A35E}"/>
              </a:ext>
            </a:extLst>
          </p:cNvPr>
          <p:cNvCxnSpPr>
            <a:cxnSpLocks/>
          </p:cNvCxnSpPr>
          <p:nvPr/>
        </p:nvCxnSpPr>
        <p:spPr>
          <a:xfrm>
            <a:off x="2149961" y="4698033"/>
            <a:ext cx="633090"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7B5FD233-7F52-4151-AC4F-D26B12C20ED8}"/>
              </a:ext>
            </a:extLst>
          </p:cNvPr>
          <p:cNvSpPr/>
          <p:nvPr/>
        </p:nvSpPr>
        <p:spPr>
          <a:xfrm>
            <a:off x="3301147" y="2803607"/>
            <a:ext cx="944940"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Printed text recognition</a:t>
            </a:r>
          </a:p>
        </p:txBody>
      </p:sp>
      <p:cxnSp>
        <p:nvCxnSpPr>
          <p:cNvPr id="130" name="Straight Arrow Connector 129">
            <a:extLst>
              <a:ext uri="{FF2B5EF4-FFF2-40B4-BE49-F238E27FC236}">
                <a16:creationId xmlns:a16="http://schemas.microsoft.com/office/drawing/2014/main" id="{330EABE2-5522-4D5E-8818-1CA4E15BE2D2}"/>
              </a:ext>
            </a:extLst>
          </p:cNvPr>
          <p:cNvCxnSpPr>
            <a:cxnSpLocks/>
          </p:cNvCxnSpPr>
          <p:nvPr/>
        </p:nvCxnSpPr>
        <p:spPr>
          <a:xfrm>
            <a:off x="4548773" y="3310541"/>
            <a:ext cx="749755"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6A12D6B3-EBB4-4CE5-B887-45E02477B39B}"/>
              </a:ext>
            </a:extLst>
          </p:cNvPr>
          <p:cNvSpPr txBox="1"/>
          <p:nvPr/>
        </p:nvSpPr>
        <p:spPr>
          <a:xfrm>
            <a:off x="5393808" y="3772298"/>
            <a:ext cx="1295400" cy="253916"/>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lassification Skill</a:t>
            </a:r>
          </a:p>
        </p:txBody>
      </p:sp>
      <p:sp>
        <p:nvSpPr>
          <p:cNvPr id="134" name="TextBox 133">
            <a:extLst>
              <a:ext uri="{FF2B5EF4-FFF2-40B4-BE49-F238E27FC236}">
                <a16:creationId xmlns:a16="http://schemas.microsoft.com/office/drawing/2014/main" id="{DC4D3768-8551-4B9E-9183-69340646E379}"/>
              </a:ext>
            </a:extLst>
          </p:cNvPr>
          <p:cNvSpPr txBox="1"/>
          <p:nvPr/>
        </p:nvSpPr>
        <p:spPr>
          <a:xfrm>
            <a:off x="5321293" y="4878827"/>
            <a:ext cx="1440430" cy="253916"/>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ustom location skill</a:t>
            </a:r>
          </a:p>
        </p:txBody>
      </p:sp>
      <p:sp>
        <p:nvSpPr>
          <p:cNvPr id="60" name="Rectangle 59">
            <a:extLst>
              <a:ext uri="{FF2B5EF4-FFF2-40B4-BE49-F238E27FC236}">
                <a16:creationId xmlns:a16="http://schemas.microsoft.com/office/drawing/2014/main" id="{A6ECE84E-1480-4C6A-B304-1B41808ED282}"/>
              </a:ext>
            </a:extLst>
          </p:cNvPr>
          <p:cNvSpPr/>
          <p:nvPr/>
        </p:nvSpPr>
        <p:spPr>
          <a:xfrm>
            <a:off x="3282091" y="3849531"/>
            <a:ext cx="983052"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Key phrase extraction</a:t>
            </a:r>
          </a:p>
        </p:txBody>
      </p:sp>
      <p:sp>
        <p:nvSpPr>
          <p:cNvPr id="65" name="Rectangle 64">
            <a:extLst>
              <a:ext uri="{FF2B5EF4-FFF2-40B4-BE49-F238E27FC236}">
                <a16:creationId xmlns:a16="http://schemas.microsoft.com/office/drawing/2014/main" id="{2D46BBDC-2C92-462C-8E4D-227866246225}"/>
              </a:ext>
            </a:extLst>
          </p:cNvPr>
          <p:cNvSpPr/>
          <p:nvPr/>
        </p:nvSpPr>
        <p:spPr>
          <a:xfrm>
            <a:off x="3213762" y="1376839"/>
            <a:ext cx="3412777"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earch and Cognitive Services</a:t>
            </a:r>
          </a:p>
        </p:txBody>
      </p:sp>
      <p:sp>
        <p:nvSpPr>
          <p:cNvPr id="66" name="Right Bracket 65">
            <a:extLst>
              <a:ext uri="{FF2B5EF4-FFF2-40B4-BE49-F238E27FC236}">
                <a16:creationId xmlns:a16="http://schemas.microsoft.com/office/drawing/2014/main" id="{63E85F5A-BF89-41F0-9C97-6B14DE5F0AF5}"/>
              </a:ext>
            </a:extLst>
          </p:cNvPr>
          <p:cNvSpPr/>
          <p:nvPr/>
        </p:nvSpPr>
        <p:spPr>
          <a:xfrm rot="16200000">
            <a:off x="4931030" y="-2168336"/>
            <a:ext cx="255935" cy="8080809"/>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4666497F-2655-4487-9236-04CA72DC4E0F}"/>
              </a:ext>
            </a:extLst>
          </p:cNvPr>
          <p:cNvSpPr/>
          <p:nvPr/>
        </p:nvSpPr>
        <p:spPr>
          <a:xfrm>
            <a:off x="768190" y="1909044"/>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Ingest</a:t>
            </a:r>
          </a:p>
        </p:txBody>
      </p:sp>
      <p:sp>
        <p:nvSpPr>
          <p:cNvPr id="62" name="Rectangle 61">
            <a:extLst>
              <a:ext uri="{FF2B5EF4-FFF2-40B4-BE49-F238E27FC236}">
                <a16:creationId xmlns:a16="http://schemas.microsoft.com/office/drawing/2014/main" id="{A355334C-AF90-41D8-A40A-B1263CC92912}"/>
              </a:ext>
            </a:extLst>
          </p:cNvPr>
          <p:cNvSpPr/>
          <p:nvPr/>
        </p:nvSpPr>
        <p:spPr>
          <a:xfrm>
            <a:off x="3036081" y="194326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nrich</a:t>
            </a:r>
          </a:p>
        </p:txBody>
      </p:sp>
      <p:sp>
        <p:nvSpPr>
          <p:cNvPr id="63" name="Rectangle 62">
            <a:extLst>
              <a:ext uri="{FF2B5EF4-FFF2-40B4-BE49-F238E27FC236}">
                <a16:creationId xmlns:a16="http://schemas.microsoft.com/office/drawing/2014/main" id="{1F3EEF6D-FBCC-45CA-BF85-473CD69AC202}"/>
              </a:ext>
            </a:extLst>
          </p:cNvPr>
          <p:cNvSpPr/>
          <p:nvPr/>
        </p:nvSpPr>
        <p:spPr>
          <a:xfrm>
            <a:off x="7571863" y="1909044"/>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earch index</a:t>
            </a:r>
          </a:p>
        </p:txBody>
      </p:sp>
      <p:sp>
        <p:nvSpPr>
          <p:cNvPr id="64" name="Rectangle 63">
            <a:extLst>
              <a:ext uri="{FF2B5EF4-FFF2-40B4-BE49-F238E27FC236}">
                <a16:creationId xmlns:a16="http://schemas.microsoft.com/office/drawing/2014/main" id="{EE471911-842B-458F-833B-4029879F8353}"/>
              </a:ext>
            </a:extLst>
          </p:cNvPr>
          <p:cNvSpPr/>
          <p:nvPr/>
        </p:nvSpPr>
        <p:spPr>
          <a:xfrm>
            <a:off x="9839754" y="1909044"/>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xplore</a:t>
            </a:r>
          </a:p>
        </p:txBody>
      </p:sp>
      <p:sp>
        <p:nvSpPr>
          <p:cNvPr id="67" name="Rectangle 66">
            <a:extLst>
              <a:ext uri="{FF2B5EF4-FFF2-40B4-BE49-F238E27FC236}">
                <a16:creationId xmlns:a16="http://schemas.microsoft.com/office/drawing/2014/main" id="{A69025D0-14CE-4D51-B6AD-BCDD2099B686}"/>
              </a:ext>
            </a:extLst>
          </p:cNvPr>
          <p:cNvSpPr/>
          <p:nvPr/>
        </p:nvSpPr>
        <p:spPr>
          <a:xfrm>
            <a:off x="5441354" y="226557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Cognitive skills</a:t>
            </a:r>
          </a:p>
        </p:txBody>
      </p:sp>
      <p:sp>
        <p:nvSpPr>
          <p:cNvPr id="68" name="Freeform 205">
            <a:extLst>
              <a:ext uri="{FF2B5EF4-FFF2-40B4-BE49-F238E27FC236}">
                <a16:creationId xmlns:a16="http://schemas.microsoft.com/office/drawing/2014/main" id="{AEBA10DB-0054-4A50-A319-977EB3182CAC}"/>
              </a:ext>
            </a:extLst>
          </p:cNvPr>
          <p:cNvSpPr/>
          <p:nvPr/>
        </p:nvSpPr>
        <p:spPr bwMode="auto">
          <a:xfrm>
            <a:off x="7781443" y="3630271"/>
            <a:ext cx="1055912" cy="720714"/>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80" name="Rectangle 79">
            <a:extLst>
              <a:ext uri="{FF2B5EF4-FFF2-40B4-BE49-F238E27FC236}">
                <a16:creationId xmlns:a16="http://schemas.microsoft.com/office/drawing/2014/main" id="{F24F5709-273C-4C7B-9322-8DE41374781B}"/>
              </a:ext>
            </a:extLst>
          </p:cNvPr>
          <p:cNvSpPr/>
          <p:nvPr/>
        </p:nvSpPr>
        <p:spPr>
          <a:xfrm>
            <a:off x="9985083" y="4678889"/>
            <a:ext cx="1184414"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zure Web App</a:t>
            </a:r>
          </a:p>
        </p:txBody>
      </p:sp>
      <p:grpSp>
        <p:nvGrpSpPr>
          <p:cNvPr id="4" name="Group 3">
            <a:extLst>
              <a:ext uri="{FF2B5EF4-FFF2-40B4-BE49-F238E27FC236}">
                <a16:creationId xmlns:a16="http://schemas.microsoft.com/office/drawing/2014/main" id="{585CDC6F-1CAB-4C84-89AD-D769379745CA}"/>
              </a:ext>
            </a:extLst>
          </p:cNvPr>
          <p:cNvGrpSpPr/>
          <p:nvPr/>
        </p:nvGrpSpPr>
        <p:grpSpPr>
          <a:xfrm>
            <a:off x="9966020" y="3577049"/>
            <a:ext cx="1222540" cy="958584"/>
            <a:chOff x="9179546" y="3522969"/>
            <a:chExt cx="1222540" cy="958584"/>
          </a:xfrm>
        </p:grpSpPr>
        <p:grpSp>
          <p:nvGrpSpPr>
            <p:cNvPr id="81" name="Group 80">
              <a:extLst>
                <a:ext uri="{FF2B5EF4-FFF2-40B4-BE49-F238E27FC236}">
                  <a16:creationId xmlns:a16="http://schemas.microsoft.com/office/drawing/2014/main" id="{9026290A-220E-401C-A883-F7EFF6FAD45D}"/>
                </a:ext>
              </a:extLst>
            </p:cNvPr>
            <p:cNvGrpSpPr/>
            <p:nvPr/>
          </p:nvGrpSpPr>
          <p:grpSpPr>
            <a:xfrm>
              <a:off x="9179546" y="3522969"/>
              <a:ext cx="1222540" cy="958584"/>
              <a:chOff x="8598353" y="4344078"/>
              <a:chExt cx="944789" cy="740802"/>
            </a:xfrm>
          </p:grpSpPr>
          <p:sp>
            <p:nvSpPr>
              <p:cNvPr id="82" name="Freeform 5">
                <a:extLst>
                  <a:ext uri="{FF2B5EF4-FFF2-40B4-BE49-F238E27FC236}">
                    <a16:creationId xmlns:a16="http://schemas.microsoft.com/office/drawing/2014/main" id="{B2B744E6-3DCD-48B1-A46B-EB84B38C3870}"/>
                  </a:ext>
                </a:extLst>
              </p:cNvPr>
              <p:cNvSpPr>
                <a:spLocks/>
              </p:cNvSpPr>
              <p:nvPr/>
            </p:nvSpPr>
            <p:spPr bwMode="auto">
              <a:xfrm>
                <a:off x="8598353" y="4344078"/>
                <a:ext cx="944789" cy="740802"/>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useBgFill="1">
            <p:nvSpPr>
              <p:cNvPr id="83" name="Rectangle 82">
                <a:extLst>
                  <a:ext uri="{FF2B5EF4-FFF2-40B4-BE49-F238E27FC236}">
                    <a16:creationId xmlns:a16="http://schemas.microsoft.com/office/drawing/2014/main" id="{D8783864-AD54-4508-BD1C-59A95767CE03}"/>
                  </a:ext>
                </a:extLst>
              </p:cNvPr>
              <p:cNvSpPr/>
              <p:nvPr/>
            </p:nvSpPr>
            <p:spPr bwMode="auto">
              <a:xfrm>
                <a:off x="8658600" y="4406671"/>
                <a:ext cx="824296" cy="47149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ADBEA74-94AE-4A96-94A0-02139BC7EACE}"/>
                </a:ext>
              </a:extLst>
            </p:cNvPr>
            <p:cNvGrpSpPr/>
            <p:nvPr/>
          </p:nvGrpSpPr>
          <p:grpSpPr>
            <a:xfrm>
              <a:off x="9516207" y="3693570"/>
              <a:ext cx="549218" cy="430854"/>
              <a:chOff x="9152808" y="3451427"/>
              <a:chExt cx="493296" cy="386984"/>
            </a:xfrm>
          </p:grpSpPr>
          <p:grpSp>
            <p:nvGrpSpPr>
              <p:cNvPr id="85" name="Group 84">
                <a:extLst>
                  <a:ext uri="{FF2B5EF4-FFF2-40B4-BE49-F238E27FC236}">
                    <a16:creationId xmlns:a16="http://schemas.microsoft.com/office/drawing/2014/main" id="{4F7C2ECD-3FE3-4FC3-8599-ECADA25DBC6B}"/>
                  </a:ext>
                </a:extLst>
              </p:cNvPr>
              <p:cNvGrpSpPr/>
              <p:nvPr/>
            </p:nvGrpSpPr>
            <p:grpSpPr>
              <a:xfrm>
                <a:off x="9152808" y="3451427"/>
                <a:ext cx="493296" cy="386984"/>
                <a:chOff x="9215306" y="3500456"/>
                <a:chExt cx="368300" cy="288925"/>
              </a:xfrm>
            </p:grpSpPr>
            <p:sp>
              <p:nvSpPr>
                <p:cNvPr id="87" name="Freeform 283">
                  <a:extLst>
                    <a:ext uri="{FF2B5EF4-FFF2-40B4-BE49-F238E27FC236}">
                      <a16:creationId xmlns:a16="http://schemas.microsoft.com/office/drawing/2014/main" id="{21809FD2-70E7-408D-8F1F-7363262CDE69}"/>
                    </a:ext>
                  </a:extLst>
                </p:cNvPr>
                <p:cNvSpPr>
                  <a:spLocks/>
                </p:cNvSpPr>
                <p:nvPr/>
              </p:nvSpPr>
              <p:spPr bwMode="auto">
                <a:xfrm>
                  <a:off x="9215306" y="3579831"/>
                  <a:ext cx="368300" cy="209550"/>
                </a:xfrm>
                <a:prstGeom prst="rect">
                  <a:avLst/>
                </a:pr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284">
                  <a:extLst>
                    <a:ext uri="{FF2B5EF4-FFF2-40B4-BE49-F238E27FC236}">
                      <a16:creationId xmlns:a16="http://schemas.microsoft.com/office/drawing/2014/main" id="{E2F4E5DF-30F7-4C20-B00E-24B56BD00EB5}"/>
                    </a:ext>
                  </a:extLst>
                </p:cNvPr>
                <p:cNvSpPr>
                  <a:spLocks/>
                </p:cNvSpPr>
                <p:nvPr/>
              </p:nvSpPr>
              <p:spPr bwMode="auto">
                <a:xfrm>
                  <a:off x="9215306" y="3500456"/>
                  <a:ext cx="368300" cy="52388"/>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6" name="Graphic 9" descr="World">
                <a:extLst>
                  <a:ext uri="{FF2B5EF4-FFF2-40B4-BE49-F238E27FC236}">
                    <a16:creationId xmlns:a16="http://schemas.microsoft.com/office/drawing/2014/main" id="{0E3F523A-6E17-4459-BCD9-00B560BB9650}"/>
                  </a:ext>
                </a:extLst>
              </p:cNvPr>
              <p:cNvSpPr/>
              <p:nvPr/>
            </p:nvSpPr>
            <p:spPr>
              <a:xfrm>
                <a:off x="9295506" y="3594126"/>
                <a:ext cx="207900" cy="207900"/>
              </a:xfrm>
              <a:custGeom>
                <a:avLst/>
                <a:gdLst>
                  <a:gd name="connsiteX0" fmla="*/ 421481 w 733425"/>
                  <a:gd name="connsiteY0" fmla="*/ 669131 h 733425"/>
                  <a:gd name="connsiteX1" fmla="*/ 558641 w 733425"/>
                  <a:gd name="connsiteY1" fmla="*/ 388144 h 733425"/>
                  <a:gd name="connsiteX2" fmla="*/ 672941 w 733425"/>
                  <a:gd name="connsiteY2" fmla="*/ 388144 h 733425"/>
                  <a:gd name="connsiteX3" fmla="*/ 421481 w 733425"/>
                  <a:gd name="connsiteY3" fmla="*/ 669131 h 733425"/>
                  <a:gd name="connsiteX4" fmla="*/ 65246 w 733425"/>
                  <a:gd name="connsiteY4" fmla="*/ 388144 h 733425"/>
                  <a:gd name="connsiteX5" fmla="*/ 179546 w 733425"/>
                  <a:gd name="connsiteY5" fmla="*/ 388144 h 733425"/>
                  <a:gd name="connsiteX6" fmla="*/ 316706 w 733425"/>
                  <a:gd name="connsiteY6" fmla="*/ 669131 h 733425"/>
                  <a:gd name="connsiteX7" fmla="*/ 65246 w 733425"/>
                  <a:gd name="connsiteY7" fmla="*/ 388144 h 733425"/>
                  <a:gd name="connsiteX8" fmla="*/ 316706 w 733425"/>
                  <a:gd name="connsiteY8" fmla="*/ 69056 h 733425"/>
                  <a:gd name="connsiteX9" fmla="*/ 179546 w 733425"/>
                  <a:gd name="connsiteY9" fmla="*/ 350044 h 733425"/>
                  <a:gd name="connsiteX10" fmla="*/ 65246 w 733425"/>
                  <a:gd name="connsiteY10" fmla="*/ 350044 h 733425"/>
                  <a:gd name="connsiteX11" fmla="*/ 316706 w 733425"/>
                  <a:gd name="connsiteY11" fmla="*/ 69056 h 733425"/>
                  <a:gd name="connsiteX12" fmla="*/ 388144 w 733425"/>
                  <a:gd name="connsiteY12" fmla="*/ 388144 h 733425"/>
                  <a:gd name="connsiteX13" fmla="*/ 520541 w 733425"/>
                  <a:gd name="connsiteY13" fmla="*/ 388144 h 733425"/>
                  <a:gd name="connsiteX14" fmla="*/ 388144 w 733425"/>
                  <a:gd name="connsiteY14" fmla="*/ 650081 h 733425"/>
                  <a:gd name="connsiteX15" fmla="*/ 388144 w 733425"/>
                  <a:gd name="connsiteY15" fmla="*/ 388144 h 733425"/>
                  <a:gd name="connsiteX16" fmla="*/ 350044 w 733425"/>
                  <a:gd name="connsiteY16" fmla="*/ 388144 h 733425"/>
                  <a:gd name="connsiteX17" fmla="*/ 350044 w 733425"/>
                  <a:gd name="connsiteY17" fmla="*/ 650081 h 733425"/>
                  <a:gd name="connsiteX18" fmla="*/ 217646 w 733425"/>
                  <a:gd name="connsiteY18" fmla="*/ 388144 h 733425"/>
                  <a:gd name="connsiteX19" fmla="*/ 350044 w 733425"/>
                  <a:gd name="connsiteY19" fmla="*/ 388144 h 733425"/>
                  <a:gd name="connsiteX20" fmla="*/ 388144 w 733425"/>
                  <a:gd name="connsiteY20" fmla="*/ 88106 h 733425"/>
                  <a:gd name="connsiteX21" fmla="*/ 520541 w 733425"/>
                  <a:gd name="connsiteY21" fmla="*/ 350044 h 733425"/>
                  <a:gd name="connsiteX22" fmla="*/ 388144 w 733425"/>
                  <a:gd name="connsiteY22" fmla="*/ 350044 h 733425"/>
                  <a:gd name="connsiteX23" fmla="*/ 388144 w 733425"/>
                  <a:gd name="connsiteY23" fmla="*/ 88106 h 733425"/>
                  <a:gd name="connsiteX24" fmla="*/ 350044 w 733425"/>
                  <a:gd name="connsiteY24" fmla="*/ 350044 h 733425"/>
                  <a:gd name="connsiteX25" fmla="*/ 217646 w 733425"/>
                  <a:gd name="connsiteY25" fmla="*/ 350044 h 733425"/>
                  <a:gd name="connsiteX26" fmla="*/ 350044 w 733425"/>
                  <a:gd name="connsiteY26" fmla="*/ 88106 h 733425"/>
                  <a:gd name="connsiteX27" fmla="*/ 350044 w 733425"/>
                  <a:gd name="connsiteY27" fmla="*/ 350044 h 733425"/>
                  <a:gd name="connsiteX28" fmla="*/ 672941 w 733425"/>
                  <a:gd name="connsiteY28" fmla="*/ 350044 h 733425"/>
                  <a:gd name="connsiteX29" fmla="*/ 558641 w 733425"/>
                  <a:gd name="connsiteY29" fmla="*/ 350044 h 733425"/>
                  <a:gd name="connsiteX30" fmla="*/ 421481 w 733425"/>
                  <a:gd name="connsiteY30" fmla="*/ 69056 h 733425"/>
                  <a:gd name="connsiteX31" fmla="*/ 672941 w 733425"/>
                  <a:gd name="connsiteY31" fmla="*/ 350044 h 733425"/>
                  <a:gd name="connsiteX32" fmla="*/ 369094 w 733425"/>
                  <a:gd name="connsiteY32" fmla="*/ 7144 h 733425"/>
                  <a:gd name="connsiteX33" fmla="*/ 7144 w 733425"/>
                  <a:gd name="connsiteY33" fmla="*/ 369094 h 733425"/>
                  <a:gd name="connsiteX34" fmla="*/ 369094 w 733425"/>
                  <a:gd name="connsiteY34" fmla="*/ 731044 h 733425"/>
                  <a:gd name="connsiteX35" fmla="*/ 731044 w 733425"/>
                  <a:gd name="connsiteY35" fmla="*/ 369094 h 733425"/>
                  <a:gd name="connsiteX36" fmla="*/ 369094 w 733425"/>
                  <a:gd name="connsiteY36" fmla="*/ 71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33425" h="733425">
                    <a:moveTo>
                      <a:pt x="421481" y="669131"/>
                    </a:moveTo>
                    <a:cubicBezTo>
                      <a:pt x="483394" y="592931"/>
                      <a:pt x="551974" y="496729"/>
                      <a:pt x="558641" y="388144"/>
                    </a:cubicBezTo>
                    <a:lnTo>
                      <a:pt x="672941" y="388144"/>
                    </a:lnTo>
                    <a:cubicBezTo>
                      <a:pt x="664369" y="530066"/>
                      <a:pt x="558641" y="645319"/>
                      <a:pt x="421481" y="669131"/>
                    </a:cubicBezTo>
                    <a:close/>
                    <a:moveTo>
                      <a:pt x="65246" y="388144"/>
                    </a:moveTo>
                    <a:lnTo>
                      <a:pt x="179546" y="388144"/>
                    </a:lnTo>
                    <a:cubicBezTo>
                      <a:pt x="187166" y="496729"/>
                      <a:pt x="254794" y="592931"/>
                      <a:pt x="316706" y="669131"/>
                    </a:cubicBezTo>
                    <a:cubicBezTo>
                      <a:pt x="179546" y="645319"/>
                      <a:pt x="73819" y="530066"/>
                      <a:pt x="65246" y="388144"/>
                    </a:cubicBezTo>
                    <a:close/>
                    <a:moveTo>
                      <a:pt x="316706" y="69056"/>
                    </a:moveTo>
                    <a:cubicBezTo>
                      <a:pt x="254794" y="145256"/>
                      <a:pt x="186214" y="241459"/>
                      <a:pt x="179546" y="350044"/>
                    </a:cubicBezTo>
                    <a:lnTo>
                      <a:pt x="65246" y="350044"/>
                    </a:lnTo>
                    <a:cubicBezTo>
                      <a:pt x="73819" y="208121"/>
                      <a:pt x="179546" y="92869"/>
                      <a:pt x="316706" y="69056"/>
                    </a:cubicBezTo>
                    <a:close/>
                    <a:moveTo>
                      <a:pt x="388144" y="388144"/>
                    </a:moveTo>
                    <a:lnTo>
                      <a:pt x="520541" y="388144"/>
                    </a:lnTo>
                    <a:cubicBezTo>
                      <a:pt x="512921" y="486251"/>
                      <a:pt x="449104" y="574834"/>
                      <a:pt x="388144" y="650081"/>
                    </a:cubicBezTo>
                    <a:lnTo>
                      <a:pt x="388144" y="388144"/>
                    </a:lnTo>
                    <a:close/>
                    <a:moveTo>
                      <a:pt x="350044" y="388144"/>
                    </a:moveTo>
                    <a:lnTo>
                      <a:pt x="350044" y="650081"/>
                    </a:lnTo>
                    <a:cubicBezTo>
                      <a:pt x="289084" y="574834"/>
                      <a:pt x="225266" y="486251"/>
                      <a:pt x="217646" y="388144"/>
                    </a:cubicBezTo>
                    <a:lnTo>
                      <a:pt x="350044" y="388144"/>
                    </a:lnTo>
                    <a:close/>
                    <a:moveTo>
                      <a:pt x="388144" y="88106"/>
                    </a:moveTo>
                    <a:cubicBezTo>
                      <a:pt x="449104" y="163354"/>
                      <a:pt x="512921" y="250984"/>
                      <a:pt x="520541" y="350044"/>
                    </a:cubicBezTo>
                    <a:lnTo>
                      <a:pt x="388144" y="350044"/>
                    </a:lnTo>
                    <a:lnTo>
                      <a:pt x="388144" y="88106"/>
                    </a:lnTo>
                    <a:close/>
                    <a:moveTo>
                      <a:pt x="350044" y="350044"/>
                    </a:moveTo>
                    <a:lnTo>
                      <a:pt x="217646" y="350044"/>
                    </a:lnTo>
                    <a:cubicBezTo>
                      <a:pt x="225266" y="251936"/>
                      <a:pt x="289084" y="163354"/>
                      <a:pt x="350044" y="88106"/>
                    </a:cubicBezTo>
                    <a:lnTo>
                      <a:pt x="350044" y="350044"/>
                    </a:lnTo>
                    <a:close/>
                    <a:moveTo>
                      <a:pt x="672941" y="350044"/>
                    </a:moveTo>
                    <a:lnTo>
                      <a:pt x="558641" y="350044"/>
                    </a:lnTo>
                    <a:cubicBezTo>
                      <a:pt x="551974" y="241459"/>
                      <a:pt x="483394" y="145256"/>
                      <a:pt x="421481" y="69056"/>
                    </a:cubicBezTo>
                    <a:cubicBezTo>
                      <a:pt x="558641" y="92869"/>
                      <a:pt x="664369" y="208121"/>
                      <a:pt x="672941" y="350044"/>
                    </a:cubicBezTo>
                    <a:close/>
                    <a:moveTo>
                      <a:pt x="369094" y="7144"/>
                    </a:moveTo>
                    <a:cubicBezTo>
                      <a:pt x="169069" y="7144"/>
                      <a:pt x="7144" y="169069"/>
                      <a:pt x="7144" y="369094"/>
                    </a:cubicBezTo>
                    <a:cubicBezTo>
                      <a:pt x="7144" y="569119"/>
                      <a:pt x="169069" y="731044"/>
                      <a:pt x="369094" y="731044"/>
                    </a:cubicBezTo>
                    <a:cubicBezTo>
                      <a:pt x="569119" y="731044"/>
                      <a:pt x="731044" y="569119"/>
                      <a:pt x="731044" y="369094"/>
                    </a:cubicBezTo>
                    <a:cubicBezTo>
                      <a:pt x="731044" y="169069"/>
                      <a:pt x="569119" y="7144"/>
                      <a:pt x="369094" y="714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cxnSp>
        <p:nvCxnSpPr>
          <p:cNvPr id="89" name="Straight Arrow Connector 88">
            <a:extLst>
              <a:ext uri="{FF2B5EF4-FFF2-40B4-BE49-F238E27FC236}">
                <a16:creationId xmlns:a16="http://schemas.microsoft.com/office/drawing/2014/main" id="{61030A30-7FA0-463C-8C20-59E2F8756804}"/>
              </a:ext>
            </a:extLst>
          </p:cNvPr>
          <p:cNvCxnSpPr>
            <a:cxnSpLocks/>
          </p:cNvCxnSpPr>
          <p:nvPr/>
        </p:nvCxnSpPr>
        <p:spPr>
          <a:xfrm>
            <a:off x="9079566" y="4006805"/>
            <a:ext cx="652242"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4" name="Group 99">
            <a:extLst>
              <a:ext uri="{FF2B5EF4-FFF2-40B4-BE49-F238E27FC236}">
                <a16:creationId xmlns:a16="http://schemas.microsoft.com/office/drawing/2014/main" id="{781FC65C-342F-4E06-8C28-6FA7AA1EE720}"/>
              </a:ext>
            </a:extLst>
          </p:cNvPr>
          <p:cNvGrpSpPr>
            <a:grpSpLocks noChangeAspect="1"/>
          </p:cNvGrpSpPr>
          <p:nvPr/>
        </p:nvGrpSpPr>
        <p:grpSpPr bwMode="auto">
          <a:xfrm>
            <a:off x="1256520" y="2759178"/>
            <a:ext cx="506385" cy="522269"/>
            <a:chOff x="1545" y="1446"/>
            <a:chExt cx="255" cy="263"/>
          </a:xfrm>
        </p:grpSpPr>
        <p:sp>
          <p:nvSpPr>
            <p:cNvPr id="95" name="Freeform 100">
              <a:extLst>
                <a:ext uri="{FF2B5EF4-FFF2-40B4-BE49-F238E27FC236}">
                  <a16:creationId xmlns:a16="http://schemas.microsoft.com/office/drawing/2014/main" id="{0B4E4455-BC3E-4FDB-AC53-EA64BD14CD24}"/>
                </a:ext>
              </a:extLst>
            </p:cNvPr>
            <p:cNvSpPr>
              <a:spLocks/>
            </p:cNvSpPr>
            <p:nvPr/>
          </p:nvSpPr>
          <p:spPr bwMode="auto">
            <a:xfrm>
              <a:off x="1545" y="1446"/>
              <a:ext cx="165" cy="232"/>
            </a:xfrm>
            <a:custGeom>
              <a:avLst/>
              <a:gdLst>
                <a:gd name="T0" fmla="*/ 0 w 266"/>
                <a:gd name="T1" fmla="*/ 0 h 373"/>
                <a:gd name="T2" fmla="*/ 0 w 266"/>
                <a:gd name="T3" fmla="*/ 0 h 373"/>
                <a:gd name="T4" fmla="*/ 0 w 266"/>
                <a:gd name="T5" fmla="*/ 373 h 373"/>
                <a:gd name="T6" fmla="*/ 129 w 266"/>
                <a:gd name="T7" fmla="*/ 373 h 373"/>
                <a:gd name="T8" fmla="*/ 129 w 266"/>
                <a:gd name="T9" fmla="*/ 57 h 373"/>
                <a:gd name="T10" fmla="*/ 266 w 266"/>
                <a:gd name="T11" fmla="*/ 57 h 373"/>
                <a:gd name="T12" fmla="*/ 208 w 266"/>
                <a:gd name="T13" fmla="*/ 0 h 373"/>
                <a:gd name="T14" fmla="*/ 0 w 266"/>
                <a:gd name="T15" fmla="*/ 0 h 3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73">
                  <a:moveTo>
                    <a:pt x="0" y="0"/>
                  </a:moveTo>
                  <a:lnTo>
                    <a:pt x="0" y="0"/>
                  </a:lnTo>
                  <a:lnTo>
                    <a:pt x="0" y="373"/>
                  </a:lnTo>
                  <a:lnTo>
                    <a:pt x="129" y="373"/>
                  </a:lnTo>
                  <a:lnTo>
                    <a:pt x="129" y="57"/>
                  </a:lnTo>
                  <a:lnTo>
                    <a:pt x="266" y="57"/>
                  </a:lnTo>
                  <a:lnTo>
                    <a:pt x="208" y="0"/>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101">
              <a:extLst>
                <a:ext uri="{FF2B5EF4-FFF2-40B4-BE49-F238E27FC236}">
                  <a16:creationId xmlns:a16="http://schemas.microsoft.com/office/drawing/2014/main" id="{4D4072E5-525A-416B-95AB-E49CA4588408}"/>
                </a:ext>
              </a:extLst>
            </p:cNvPr>
            <p:cNvSpPr>
              <a:spLocks/>
            </p:cNvSpPr>
            <p:nvPr/>
          </p:nvSpPr>
          <p:spPr bwMode="auto">
            <a:xfrm>
              <a:off x="1639" y="1496"/>
              <a:ext cx="161"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102">
              <a:extLst>
                <a:ext uri="{FF2B5EF4-FFF2-40B4-BE49-F238E27FC236}">
                  <a16:creationId xmlns:a16="http://schemas.microsoft.com/office/drawing/2014/main" id="{47C1425D-96CB-4E97-A09C-17A8AD2DC78F}"/>
                </a:ext>
              </a:extLst>
            </p:cNvPr>
            <p:cNvSpPr>
              <a:spLocks/>
            </p:cNvSpPr>
            <p:nvPr/>
          </p:nvSpPr>
          <p:spPr bwMode="auto">
            <a:xfrm>
              <a:off x="1732" y="1500"/>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8" name="Group 92">
            <a:extLst>
              <a:ext uri="{FF2B5EF4-FFF2-40B4-BE49-F238E27FC236}">
                <a16:creationId xmlns:a16="http://schemas.microsoft.com/office/drawing/2014/main" id="{67C8C217-28A5-4967-8782-06D6611433A5}"/>
              </a:ext>
            </a:extLst>
          </p:cNvPr>
          <p:cNvGrpSpPr>
            <a:grpSpLocks noChangeAspect="1"/>
          </p:cNvGrpSpPr>
          <p:nvPr/>
        </p:nvGrpSpPr>
        <p:grpSpPr bwMode="auto">
          <a:xfrm>
            <a:off x="1264678" y="4070209"/>
            <a:ext cx="523546" cy="381375"/>
            <a:chOff x="2424" y="1489"/>
            <a:chExt cx="232" cy="169"/>
          </a:xfrm>
        </p:grpSpPr>
        <p:sp>
          <p:nvSpPr>
            <p:cNvPr id="99" name="Freeform 93">
              <a:extLst>
                <a:ext uri="{FF2B5EF4-FFF2-40B4-BE49-F238E27FC236}">
                  <a16:creationId xmlns:a16="http://schemas.microsoft.com/office/drawing/2014/main" id="{776C377F-B98F-4CEA-A584-800ACEAD9BE3}"/>
                </a:ext>
              </a:extLst>
            </p:cNvPr>
            <p:cNvSpPr>
              <a:spLocks noEditPoints="1"/>
            </p:cNvSpPr>
            <p:nvPr/>
          </p:nvSpPr>
          <p:spPr bwMode="auto">
            <a:xfrm>
              <a:off x="2424" y="1489"/>
              <a:ext cx="232" cy="138"/>
            </a:xfrm>
            <a:custGeom>
              <a:avLst/>
              <a:gdLst>
                <a:gd name="T0" fmla="*/ 326 w 374"/>
                <a:gd name="T1" fmla="*/ 92 h 221"/>
                <a:gd name="T2" fmla="*/ 326 w 374"/>
                <a:gd name="T3" fmla="*/ 92 h 221"/>
                <a:gd name="T4" fmla="*/ 307 w 374"/>
                <a:gd name="T5" fmla="*/ 100 h 221"/>
                <a:gd name="T6" fmla="*/ 288 w 374"/>
                <a:gd name="T7" fmla="*/ 92 h 221"/>
                <a:gd name="T8" fmla="*/ 280 w 374"/>
                <a:gd name="T9" fmla="*/ 73 h 221"/>
                <a:gd name="T10" fmla="*/ 288 w 374"/>
                <a:gd name="T11" fmla="*/ 54 h 221"/>
                <a:gd name="T12" fmla="*/ 307 w 374"/>
                <a:gd name="T13" fmla="*/ 46 h 221"/>
                <a:gd name="T14" fmla="*/ 326 w 374"/>
                <a:gd name="T15" fmla="*/ 54 h 221"/>
                <a:gd name="T16" fmla="*/ 334 w 374"/>
                <a:gd name="T17" fmla="*/ 73 h 221"/>
                <a:gd name="T18" fmla="*/ 326 w 374"/>
                <a:gd name="T19" fmla="*/ 92 h 221"/>
                <a:gd name="T20" fmla="*/ 374 w 374"/>
                <a:gd name="T21" fmla="*/ 0 h 221"/>
                <a:gd name="T22" fmla="*/ 374 w 374"/>
                <a:gd name="T23" fmla="*/ 0 h 221"/>
                <a:gd name="T24" fmla="*/ 0 w 374"/>
                <a:gd name="T25" fmla="*/ 0 h 221"/>
                <a:gd name="T26" fmla="*/ 0 w 374"/>
                <a:gd name="T27" fmla="*/ 141 h 221"/>
                <a:gd name="T28" fmla="*/ 94 w 374"/>
                <a:gd name="T29" fmla="*/ 48 h 221"/>
                <a:gd name="T30" fmla="*/ 227 w 374"/>
                <a:gd name="T31" fmla="*/ 181 h 221"/>
                <a:gd name="T32" fmla="*/ 280 w 374"/>
                <a:gd name="T33" fmla="*/ 128 h 221"/>
                <a:gd name="T34" fmla="*/ 374 w 374"/>
                <a:gd name="T35" fmla="*/ 221 h 221"/>
                <a:gd name="T36" fmla="*/ 374 w 374"/>
                <a:gd name="T3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4" h="221">
                  <a:moveTo>
                    <a:pt x="326" y="92"/>
                  </a:moveTo>
                  <a:lnTo>
                    <a:pt x="326" y="92"/>
                  </a:lnTo>
                  <a:cubicBezTo>
                    <a:pt x="320" y="97"/>
                    <a:pt x="314" y="100"/>
                    <a:pt x="307" y="100"/>
                  </a:cubicBezTo>
                  <a:cubicBezTo>
                    <a:pt x="300" y="100"/>
                    <a:pt x="293" y="97"/>
                    <a:pt x="288" y="92"/>
                  </a:cubicBezTo>
                  <a:cubicBezTo>
                    <a:pt x="283" y="86"/>
                    <a:pt x="280" y="80"/>
                    <a:pt x="280" y="73"/>
                  </a:cubicBezTo>
                  <a:cubicBezTo>
                    <a:pt x="280" y="66"/>
                    <a:pt x="283" y="59"/>
                    <a:pt x="288" y="54"/>
                  </a:cubicBezTo>
                  <a:cubicBezTo>
                    <a:pt x="293" y="49"/>
                    <a:pt x="300" y="46"/>
                    <a:pt x="307" y="46"/>
                  </a:cubicBezTo>
                  <a:cubicBezTo>
                    <a:pt x="314" y="46"/>
                    <a:pt x="320" y="49"/>
                    <a:pt x="326" y="54"/>
                  </a:cubicBezTo>
                  <a:cubicBezTo>
                    <a:pt x="331" y="59"/>
                    <a:pt x="334" y="66"/>
                    <a:pt x="334" y="73"/>
                  </a:cubicBezTo>
                  <a:cubicBezTo>
                    <a:pt x="334" y="80"/>
                    <a:pt x="331" y="86"/>
                    <a:pt x="326" y="92"/>
                  </a:cubicBezTo>
                  <a:close/>
                  <a:moveTo>
                    <a:pt x="374" y="0"/>
                  </a:moveTo>
                  <a:lnTo>
                    <a:pt x="374" y="0"/>
                  </a:lnTo>
                  <a:lnTo>
                    <a:pt x="0" y="0"/>
                  </a:lnTo>
                  <a:lnTo>
                    <a:pt x="0" y="141"/>
                  </a:lnTo>
                  <a:lnTo>
                    <a:pt x="94" y="48"/>
                  </a:lnTo>
                  <a:lnTo>
                    <a:pt x="227" y="181"/>
                  </a:lnTo>
                  <a:lnTo>
                    <a:pt x="280" y="128"/>
                  </a:lnTo>
                  <a:lnTo>
                    <a:pt x="374" y="221"/>
                  </a:lnTo>
                  <a:lnTo>
                    <a:pt x="374"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94">
              <a:extLst>
                <a:ext uri="{FF2B5EF4-FFF2-40B4-BE49-F238E27FC236}">
                  <a16:creationId xmlns:a16="http://schemas.microsoft.com/office/drawing/2014/main" id="{D7C1AF8F-97C3-4D31-B6C6-70D9F632B474}"/>
                </a:ext>
              </a:extLst>
            </p:cNvPr>
            <p:cNvSpPr>
              <a:spLocks/>
            </p:cNvSpPr>
            <p:nvPr/>
          </p:nvSpPr>
          <p:spPr bwMode="auto">
            <a:xfrm>
              <a:off x="2424" y="1545"/>
              <a:ext cx="171" cy="113"/>
            </a:xfrm>
            <a:custGeom>
              <a:avLst/>
              <a:gdLst>
                <a:gd name="T0" fmla="*/ 0 w 275"/>
                <a:gd name="T1" fmla="*/ 182 h 182"/>
                <a:gd name="T2" fmla="*/ 0 w 275"/>
                <a:gd name="T3" fmla="*/ 182 h 182"/>
                <a:gd name="T4" fmla="*/ 275 w 275"/>
                <a:gd name="T5" fmla="*/ 182 h 182"/>
                <a:gd name="T6" fmla="*/ 93 w 275"/>
                <a:gd name="T7" fmla="*/ 0 h 182"/>
                <a:gd name="T8" fmla="*/ 0 w 275"/>
                <a:gd name="T9" fmla="*/ 94 h 182"/>
                <a:gd name="T10" fmla="*/ 0 w 275"/>
                <a:gd name="T11" fmla="*/ 182 h 182"/>
              </a:gdLst>
              <a:ahLst/>
              <a:cxnLst>
                <a:cxn ang="0">
                  <a:pos x="T0" y="T1"/>
                </a:cxn>
                <a:cxn ang="0">
                  <a:pos x="T2" y="T3"/>
                </a:cxn>
                <a:cxn ang="0">
                  <a:pos x="T4" y="T5"/>
                </a:cxn>
                <a:cxn ang="0">
                  <a:pos x="T6" y="T7"/>
                </a:cxn>
                <a:cxn ang="0">
                  <a:pos x="T8" y="T9"/>
                </a:cxn>
                <a:cxn ang="0">
                  <a:pos x="T10" y="T11"/>
                </a:cxn>
              </a:cxnLst>
              <a:rect l="0" t="0" r="r" b="b"/>
              <a:pathLst>
                <a:path w="275" h="182">
                  <a:moveTo>
                    <a:pt x="0" y="182"/>
                  </a:moveTo>
                  <a:lnTo>
                    <a:pt x="0" y="182"/>
                  </a:lnTo>
                  <a:lnTo>
                    <a:pt x="275" y="182"/>
                  </a:lnTo>
                  <a:lnTo>
                    <a:pt x="93" y="0"/>
                  </a:lnTo>
                  <a:lnTo>
                    <a:pt x="0" y="94"/>
                  </a:lnTo>
                  <a:lnTo>
                    <a:pt x="0" y="18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95">
              <a:extLst>
                <a:ext uri="{FF2B5EF4-FFF2-40B4-BE49-F238E27FC236}">
                  <a16:creationId xmlns:a16="http://schemas.microsoft.com/office/drawing/2014/main" id="{7F9A98B7-F6D9-46AC-BDB1-F601201ECC54}"/>
                </a:ext>
              </a:extLst>
            </p:cNvPr>
            <p:cNvSpPr>
              <a:spLocks/>
            </p:cNvSpPr>
            <p:nvPr/>
          </p:nvSpPr>
          <p:spPr bwMode="auto">
            <a:xfrm>
              <a:off x="2577" y="1594"/>
              <a:ext cx="79" cy="64"/>
            </a:xfrm>
            <a:custGeom>
              <a:avLst/>
              <a:gdLst>
                <a:gd name="T0" fmla="*/ 127 w 127"/>
                <a:gd name="T1" fmla="*/ 94 h 102"/>
                <a:gd name="T2" fmla="*/ 127 w 127"/>
                <a:gd name="T3" fmla="*/ 94 h 102"/>
                <a:gd name="T4" fmla="*/ 34 w 127"/>
                <a:gd name="T5" fmla="*/ 0 h 102"/>
                <a:gd name="T6" fmla="*/ 0 w 127"/>
                <a:gd name="T7" fmla="*/ 35 h 102"/>
                <a:gd name="T8" fmla="*/ 66 w 127"/>
                <a:gd name="T9" fmla="*/ 102 h 102"/>
                <a:gd name="T10" fmla="*/ 127 w 127"/>
                <a:gd name="T11" fmla="*/ 102 h 102"/>
                <a:gd name="T12" fmla="*/ 127 w 127"/>
                <a:gd name="T13" fmla="*/ 94 h 102"/>
              </a:gdLst>
              <a:ahLst/>
              <a:cxnLst>
                <a:cxn ang="0">
                  <a:pos x="T0" y="T1"/>
                </a:cxn>
                <a:cxn ang="0">
                  <a:pos x="T2" y="T3"/>
                </a:cxn>
                <a:cxn ang="0">
                  <a:pos x="T4" y="T5"/>
                </a:cxn>
                <a:cxn ang="0">
                  <a:pos x="T6" y="T7"/>
                </a:cxn>
                <a:cxn ang="0">
                  <a:pos x="T8" y="T9"/>
                </a:cxn>
                <a:cxn ang="0">
                  <a:pos x="T10" y="T11"/>
                </a:cxn>
                <a:cxn ang="0">
                  <a:pos x="T12" y="T13"/>
                </a:cxn>
              </a:cxnLst>
              <a:rect l="0" t="0" r="r" b="b"/>
              <a:pathLst>
                <a:path w="127" h="102">
                  <a:moveTo>
                    <a:pt x="127" y="94"/>
                  </a:moveTo>
                  <a:lnTo>
                    <a:pt x="127" y="94"/>
                  </a:lnTo>
                  <a:lnTo>
                    <a:pt x="34" y="0"/>
                  </a:lnTo>
                  <a:lnTo>
                    <a:pt x="0" y="35"/>
                  </a:lnTo>
                  <a:lnTo>
                    <a:pt x="66" y="102"/>
                  </a:lnTo>
                  <a:lnTo>
                    <a:pt x="127" y="102"/>
                  </a:lnTo>
                  <a:lnTo>
                    <a:pt x="127" y="94"/>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96">
              <a:extLst>
                <a:ext uri="{FF2B5EF4-FFF2-40B4-BE49-F238E27FC236}">
                  <a16:creationId xmlns:a16="http://schemas.microsoft.com/office/drawing/2014/main" id="{6E4B5800-6387-45F4-8E4A-2029A0A55659}"/>
                </a:ext>
              </a:extLst>
            </p:cNvPr>
            <p:cNvSpPr>
              <a:spLocks/>
            </p:cNvSpPr>
            <p:nvPr/>
          </p:nvSpPr>
          <p:spPr bwMode="auto">
            <a:xfrm>
              <a:off x="2598" y="1518"/>
              <a:ext cx="33" cy="33"/>
            </a:xfrm>
            <a:custGeom>
              <a:avLst/>
              <a:gdLst>
                <a:gd name="T0" fmla="*/ 27 w 53"/>
                <a:gd name="T1" fmla="*/ 0 h 54"/>
                <a:gd name="T2" fmla="*/ 27 w 53"/>
                <a:gd name="T3" fmla="*/ 0 h 54"/>
                <a:gd name="T4" fmla="*/ 8 w 53"/>
                <a:gd name="T5" fmla="*/ 8 h 54"/>
                <a:gd name="T6" fmla="*/ 0 w 53"/>
                <a:gd name="T7" fmla="*/ 27 h 54"/>
                <a:gd name="T8" fmla="*/ 8 w 53"/>
                <a:gd name="T9" fmla="*/ 46 h 54"/>
                <a:gd name="T10" fmla="*/ 27 w 53"/>
                <a:gd name="T11" fmla="*/ 54 h 54"/>
                <a:gd name="T12" fmla="*/ 46 w 53"/>
                <a:gd name="T13" fmla="*/ 46 h 54"/>
                <a:gd name="T14" fmla="*/ 53 w 53"/>
                <a:gd name="T15" fmla="*/ 27 h 54"/>
                <a:gd name="T16" fmla="*/ 46 w 53"/>
                <a:gd name="T17" fmla="*/ 8 h 54"/>
                <a:gd name="T18" fmla="*/ 27 w 5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7" y="0"/>
                  </a:moveTo>
                  <a:lnTo>
                    <a:pt x="27" y="0"/>
                  </a:lnTo>
                  <a:cubicBezTo>
                    <a:pt x="20" y="0"/>
                    <a:pt x="13" y="3"/>
                    <a:pt x="8" y="8"/>
                  </a:cubicBezTo>
                  <a:cubicBezTo>
                    <a:pt x="3" y="13"/>
                    <a:pt x="0" y="20"/>
                    <a:pt x="0" y="27"/>
                  </a:cubicBezTo>
                  <a:cubicBezTo>
                    <a:pt x="0" y="34"/>
                    <a:pt x="3" y="40"/>
                    <a:pt x="8" y="46"/>
                  </a:cubicBezTo>
                  <a:cubicBezTo>
                    <a:pt x="13" y="51"/>
                    <a:pt x="20" y="54"/>
                    <a:pt x="27" y="54"/>
                  </a:cubicBezTo>
                  <a:cubicBezTo>
                    <a:pt x="34" y="54"/>
                    <a:pt x="40" y="51"/>
                    <a:pt x="46" y="46"/>
                  </a:cubicBezTo>
                  <a:cubicBezTo>
                    <a:pt x="51" y="40"/>
                    <a:pt x="53" y="34"/>
                    <a:pt x="53" y="27"/>
                  </a:cubicBezTo>
                  <a:cubicBezTo>
                    <a:pt x="53" y="20"/>
                    <a:pt x="51" y="13"/>
                    <a:pt x="46" y="8"/>
                  </a:cubicBezTo>
                  <a:cubicBezTo>
                    <a:pt x="40" y="3"/>
                    <a:pt x="34" y="0"/>
                    <a:pt x="27"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03" name="Straight Arrow Connector 102">
            <a:extLst>
              <a:ext uri="{FF2B5EF4-FFF2-40B4-BE49-F238E27FC236}">
                <a16:creationId xmlns:a16="http://schemas.microsoft.com/office/drawing/2014/main" id="{86634241-5E7F-4295-884A-6474B7FF17DE}"/>
              </a:ext>
            </a:extLst>
          </p:cNvPr>
          <p:cNvCxnSpPr>
            <a:cxnSpLocks/>
          </p:cNvCxnSpPr>
          <p:nvPr/>
        </p:nvCxnSpPr>
        <p:spPr>
          <a:xfrm>
            <a:off x="7016078" y="4006805"/>
            <a:ext cx="639149"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A7C506E-0290-4C82-BC48-CC52F03AC72F}"/>
              </a:ext>
            </a:extLst>
          </p:cNvPr>
          <p:cNvGrpSpPr/>
          <p:nvPr/>
        </p:nvGrpSpPr>
        <p:grpSpPr>
          <a:xfrm>
            <a:off x="5798167" y="3095228"/>
            <a:ext cx="500970" cy="500968"/>
            <a:chOff x="5886800" y="3075289"/>
            <a:chExt cx="432688" cy="432686"/>
          </a:xfrm>
        </p:grpSpPr>
        <p:sp>
          <p:nvSpPr>
            <p:cNvPr id="12" name="Diamond 11">
              <a:extLst>
                <a:ext uri="{FF2B5EF4-FFF2-40B4-BE49-F238E27FC236}">
                  <a16:creationId xmlns:a16="http://schemas.microsoft.com/office/drawing/2014/main" id="{15393C25-7239-41F5-A9D5-36B73164E7CF}"/>
                </a:ext>
              </a:extLst>
            </p:cNvPr>
            <p:cNvSpPr/>
            <p:nvPr/>
          </p:nvSpPr>
          <p:spPr bwMode="auto">
            <a:xfrm>
              <a:off x="5965571" y="3156889"/>
              <a:ext cx="325754" cy="325754"/>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Graphic 9" descr="Label">
              <a:extLst>
                <a:ext uri="{FF2B5EF4-FFF2-40B4-BE49-F238E27FC236}">
                  <a16:creationId xmlns:a16="http://schemas.microsoft.com/office/drawing/2014/main" id="{E2517B33-20B5-4F3A-AF2A-1620F347077A}"/>
                </a:ext>
              </a:extLst>
            </p:cNvPr>
            <p:cNvSpPr/>
            <p:nvPr/>
          </p:nvSpPr>
          <p:spPr>
            <a:xfrm>
              <a:off x="5886800" y="3075289"/>
              <a:ext cx="432688" cy="432686"/>
            </a:xfrm>
            <a:custGeom>
              <a:avLst/>
              <a:gdLst>
                <a:gd name="connsiteX0" fmla="*/ 296704 w 561975"/>
                <a:gd name="connsiteY0" fmla="*/ 477679 h 561975"/>
                <a:gd name="connsiteX1" fmla="*/ 270034 w 561975"/>
                <a:gd name="connsiteY1" fmla="*/ 451009 h 561975"/>
                <a:gd name="connsiteX2" fmla="*/ 451009 w 561975"/>
                <a:gd name="connsiteY2" fmla="*/ 270034 h 561975"/>
                <a:gd name="connsiteX3" fmla="*/ 477679 w 561975"/>
                <a:gd name="connsiteY3" fmla="*/ 296704 h 561975"/>
                <a:gd name="connsiteX4" fmla="*/ 296704 w 561975"/>
                <a:gd name="connsiteY4" fmla="*/ 477679 h 561975"/>
                <a:gd name="connsiteX5" fmla="*/ 203359 w 561975"/>
                <a:gd name="connsiteY5" fmla="*/ 384334 h 561975"/>
                <a:gd name="connsiteX6" fmla="*/ 384334 w 561975"/>
                <a:gd name="connsiteY6" fmla="*/ 203359 h 561975"/>
                <a:gd name="connsiteX7" fmla="*/ 411004 w 561975"/>
                <a:gd name="connsiteY7" fmla="*/ 230029 h 561975"/>
                <a:gd name="connsiteX8" fmla="*/ 230029 w 561975"/>
                <a:gd name="connsiteY8" fmla="*/ 411004 h 561975"/>
                <a:gd name="connsiteX9" fmla="*/ 203359 w 561975"/>
                <a:gd name="connsiteY9" fmla="*/ 384334 h 561975"/>
                <a:gd name="connsiteX10" fmla="*/ 136684 w 561975"/>
                <a:gd name="connsiteY10" fmla="*/ 317659 h 561975"/>
                <a:gd name="connsiteX11" fmla="*/ 317659 w 561975"/>
                <a:gd name="connsiteY11" fmla="*/ 136684 h 561975"/>
                <a:gd name="connsiteX12" fmla="*/ 344329 w 561975"/>
                <a:gd name="connsiteY12" fmla="*/ 163354 h 561975"/>
                <a:gd name="connsiteX13" fmla="*/ 163354 w 561975"/>
                <a:gd name="connsiteY13" fmla="*/ 344329 h 561975"/>
                <a:gd name="connsiteX14" fmla="*/ 136684 w 561975"/>
                <a:gd name="connsiteY14" fmla="*/ 317659 h 561975"/>
                <a:gd name="connsiteX15" fmla="*/ 83344 w 561975"/>
                <a:gd name="connsiteY15" fmla="*/ 121444 h 561975"/>
                <a:gd name="connsiteX16" fmla="*/ 45244 w 561975"/>
                <a:gd name="connsiteY16" fmla="*/ 83344 h 561975"/>
                <a:gd name="connsiteX17" fmla="*/ 83344 w 561975"/>
                <a:gd name="connsiteY17" fmla="*/ 45244 h 561975"/>
                <a:gd name="connsiteX18" fmla="*/ 121444 w 561975"/>
                <a:gd name="connsiteY18" fmla="*/ 83344 h 561975"/>
                <a:gd name="connsiteX19" fmla="*/ 83344 w 561975"/>
                <a:gd name="connsiteY19" fmla="*/ 121444 h 561975"/>
                <a:gd name="connsiteX20" fmla="*/ 551974 w 561975"/>
                <a:gd name="connsiteY20" fmla="*/ 285274 h 561975"/>
                <a:gd name="connsiteX21" fmla="*/ 285274 w 561975"/>
                <a:gd name="connsiteY21" fmla="*/ 18574 h 561975"/>
                <a:gd name="connsiteX22" fmla="*/ 258604 w 561975"/>
                <a:gd name="connsiteY22" fmla="*/ 7144 h 561975"/>
                <a:gd name="connsiteX23" fmla="*/ 83344 w 561975"/>
                <a:gd name="connsiteY23" fmla="*/ 7144 h 561975"/>
                <a:gd name="connsiteX24" fmla="*/ 7144 w 561975"/>
                <a:gd name="connsiteY24" fmla="*/ 83344 h 561975"/>
                <a:gd name="connsiteX25" fmla="*/ 7144 w 561975"/>
                <a:gd name="connsiteY25" fmla="*/ 257651 h 561975"/>
                <a:gd name="connsiteX26" fmla="*/ 18574 w 561975"/>
                <a:gd name="connsiteY26" fmla="*/ 284321 h 561975"/>
                <a:gd name="connsiteX27" fmla="*/ 285274 w 561975"/>
                <a:gd name="connsiteY27" fmla="*/ 551021 h 561975"/>
                <a:gd name="connsiteX28" fmla="*/ 339566 w 561975"/>
                <a:gd name="connsiteY28" fmla="*/ 551021 h 561975"/>
                <a:gd name="connsiteX29" fmla="*/ 551974 w 561975"/>
                <a:gd name="connsiteY29" fmla="*/ 338614 h 561975"/>
                <a:gd name="connsiteX30" fmla="*/ 551974 w 561975"/>
                <a:gd name="connsiteY30" fmla="*/ 28527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61975" h="561975">
                  <a:moveTo>
                    <a:pt x="296704" y="477679"/>
                  </a:moveTo>
                  <a:lnTo>
                    <a:pt x="270034" y="451009"/>
                  </a:lnTo>
                  <a:lnTo>
                    <a:pt x="451009" y="270034"/>
                  </a:lnTo>
                  <a:lnTo>
                    <a:pt x="477679" y="296704"/>
                  </a:lnTo>
                  <a:lnTo>
                    <a:pt x="296704" y="477679"/>
                  </a:lnTo>
                  <a:close/>
                  <a:moveTo>
                    <a:pt x="203359" y="384334"/>
                  </a:moveTo>
                  <a:lnTo>
                    <a:pt x="384334" y="203359"/>
                  </a:lnTo>
                  <a:lnTo>
                    <a:pt x="411004" y="230029"/>
                  </a:lnTo>
                  <a:lnTo>
                    <a:pt x="230029" y="411004"/>
                  </a:lnTo>
                  <a:lnTo>
                    <a:pt x="203359" y="384334"/>
                  </a:lnTo>
                  <a:close/>
                  <a:moveTo>
                    <a:pt x="136684" y="317659"/>
                  </a:moveTo>
                  <a:lnTo>
                    <a:pt x="317659" y="136684"/>
                  </a:lnTo>
                  <a:lnTo>
                    <a:pt x="344329" y="163354"/>
                  </a:lnTo>
                  <a:lnTo>
                    <a:pt x="163354" y="344329"/>
                  </a:lnTo>
                  <a:lnTo>
                    <a:pt x="136684" y="317659"/>
                  </a:lnTo>
                  <a:close/>
                  <a:moveTo>
                    <a:pt x="83344" y="121444"/>
                  </a:moveTo>
                  <a:cubicBezTo>
                    <a:pt x="62389" y="121444"/>
                    <a:pt x="45244" y="104299"/>
                    <a:pt x="45244" y="83344"/>
                  </a:cubicBezTo>
                  <a:cubicBezTo>
                    <a:pt x="45244" y="62389"/>
                    <a:pt x="62389" y="45244"/>
                    <a:pt x="83344" y="45244"/>
                  </a:cubicBezTo>
                  <a:cubicBezTo>
                    <a:pt x="104299" y="45244"/>
                    <a:pt x="121444" y="62389"/>
                    <a:pt x="121444" y="83344"/>
                  </a:cubicBezTo>
                  <a:cubicBezTo>
                    <a:pt x="121444" y="104299"/>
                    <a:pt x="104299" y="121444"/>
                    <a:pt x="83344" y="121444"/>
                  </a:cubicBezTo>
                  <a:close/>
                  <a:moveTo>
                    <a:pt x="551974" y="285274"/>
                  </a:moveTo>
                  <a:lnTo>
                    <a:pt x="285274" y="18574"/>
                  </a:lnTo>
                  <a:cubicBezTo>
                    <a:pt x="277654" y="10954"/>
                    <a:pt x="268129" y="7144"/>
                    <a:pt x="258604" y="7144"/>
                  </a:cubicBezTo>
                  <a:lnTo>
                    <a:pt x="83344" y="7144"/>
                  </a:lnTo>
                  <a:cubicBezTo>
                    <a:pt x="41434" y="7144"/>
                    <a:pt x="7144" y="41434"/>
                    <a:pt x="7144" y="83344"/>
                  </a:cubicBezTo>
                  <a:lnTo>
                    <a:pt x="7144" y="257651"/>
                  </a:lnTo>
                  <a:cubicBezTo>
                    <a:pt x="7144" y="268129"/>
                    <a:pt x="10954" y="277654"/>
                    <a:pt x="18574" y="284321"/>
                  </a:cubicBezTo>
                  <a:lnTo>
                    <a:pt x="285274" y="551021"/>
                  </a:lnTo>
                  <a:cubicBezTo>
                    <a:pt x="300514" y="566261"/>
                    <a:pt x="324326" y="566261"/>
                    <a:pt x="339566" y="551021"/>
                  </a:cubicBezTo>
                  <a:lnTo>
                    <a:pt x="551974" y="338614"/>
                  </a:lnTo>
                  <a:cubicBezTo>
                    <a:pt x="566261" y="324326"/>
                    <a:pt x="566261" y="299561"/>
                    <a:pt x="551974" y="285274"/>
                  </a:cubicBezTo>
                  <a:close/>
                </a:path>
              </a:pathLst>
            </a:custGeom>
            <a:solidFill>
              <a:srgbClr val="C1C1C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8" name="Right Bracket 137">
            <a:extLst>
              <a:ext uri="{FF2B5EF4-FFF2-40B4-BE49-F238E27FC236}">
                <a16:creationId xmlns:a16="http://schemas.microsoft.com/office/drawing/2014/main" id="{8A5DBAAB-F74B-4CEE-B16F-939DF6438222}"/>
              </a:ext>
            </a:extLst>
          </p:cNvPr>
          <p:cNvSpPr/>
          <p:nvPr/>
        </p:nvSpPr>
        <p:spPr>
          <a:xfrm>
            <a:off x="6971039" y="2926573"/>
            <a:ext cx="45719" cy="2263883"/>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39" name="Group 220">
            <a:extLst>
              <a:ext uri="{FF2B5EF4-FFF2-40B4-BE49-F238E27FC236}">
                <a16:creationId xmlns:a16="http://schemas.microsoft.com/office/drawing/2014/main" id="{3AF8C067-F0C5-4332-AB1E-81097FF7F91D}"/>
              </a:ext>
            </a:extLst>
          </p:cNvPr>
          <p:cNvGrpSpPr>
            <a:grpSpLocks noChangeAspect="1"/>
          </p:cNvGrpSpPr>
          <p:nvPr/>
        </p:nvGrpSpPr>
        <p:grpSpPr bwMode="auto">
          <a:xfrm>
            <a:off x="3564068" y="4460849"/>
            <a:ext cx="419100" cy="417519"/>
            <a:chOff x="4998" y="1444"/>
            <a:chExt cx="264" cy="263"/>
          </a:xfrm>
        </p:grpSpPr>
        <p:sp>
          <p:nvSpPr>
            <p:cNvPr id="140" name="Freeform 221">
              <a:extLst>
                <a:ext uri="{FF2B5EF4-FFF2-40B4-BE49-F238E27FC236}">
                  <a16:creationId xmlns:a16="http://schemas.microsoft.com/office/drawing/2014/main" id="{A6D56DBE-8E70-489B-BCE3-24443353D5D5}"/>
                </a:ext>
              </a:extLst>
            </p:cNvPr>
            <p:cNvSpPr>
              <a:spLocks/>
            </p:cNvSpPr>
            <p:nvPr/>
          </p:nvSpPr>
          <p:spPr bwMode="auto">
            <a:xfrm>
              <a:off x="5093" y="1651"/>
              <a:ext cx="68" cy="19"/>
            </a:xfrm>
            <a:custGeom>
              <a:avLst/>
              <a:gdLst>
                <a:gd name="T0" fmla="*/ 110 w 110"/>
                <a:gd name="T1" fmla="*/ 30 h 30"/>
                <a:gd name="T2" fmla="*/ 110 w 110"/>
                <a:gd name="T3" fmla="*/ 30 h 30"/>
                <a:gd name="T4" fmla="*/ 104 w 110"/>
                <a:gd name="T5" fmla="*/ 0 h 30"/>
                <a:gd name="T6" fmla="*/ 10 w 110"/>
                <a:gd name="T7" fmla="*/ 0 h 30"/>
                <a:gd name="T8" fmla="*/ 0 w 110"/>
                <a:gd name="T9" fmla="*/ 30 h 30"/>
                <a:gd name="T10" fmla="*/ 110 w 110"/>
                <a:gd name="T11" fmla="*/ 30 h 30"/>
              </a:gdLst>
              <a:ahLst/>
              <a:cxnLst>
                <a:cxn ang="0">
                  <a:pos x="T0" y="T1"/>
                </a:cxn>
                <a:cxn ang="0">
                  <a:pos x="T2" y="T3"/>
                </a:cxn>
                <a:cxn ang="0">
                  <a:pos x="T4" y="T5"/>
                </a:cxn>
                <a:cxn ang="0">
                  <a:pos x="T6" y="T7"/>
                </a:cxn>
                <a:cxn ang="0">
                  <a:pos x="T8" y="T9"/>
                </a:cxn>
                <a:cxn ang="0">
                  <a:pos x="T10" y="T11"/>
                </a:cxn>
              </a:cxnLst>
              <a:rect l="0" t="0" r="r" b="b"/>
              <a:pathLst>
                <a:path w="110" h="30">
                  <a:moveTo>
                    <a:pt x="110" y="30"/>
                  </a:moveTo>
                  <a:lnTo>
                    <a:pt x="110" y="30"/>
                  </a:lnTo>
                  <a:lnTo>
                    <a:pt x="104" y="0"/>
                  </a:lnTo>
                  <a:lnTo>
                    <a:pt x="10" y="0"/>
                  </a:lnTo>
                  <a:lnTo>
                    <a:pt x="0" y="30"/>
                  </a:lnTo>
                  <a:lnTo>
                    <a:pt x="110" y="3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222">
              <a:extLst>
                <a:ext uri="{FF2B5EF4-FFF2-40B4-BE49-F238E27FC236}">
                  <a16:creationId xmlns:a16="http://schemas.microsoft.com/office/drawing/2014/main" id="{4BBF2FD1-AB7E-46AD-8765-B660B2AFC720}"/>
                </a:ext>
              </a:extLst>
            </p:cNvPr>
            <p:cNvSpPr>
              <a:spLocks noEditPoints="1"/>
            </p:cNvSpPr>
            <p:nvPr/>
          </p:nvSpPr>
          <p:spPr bwMode="auto">
            <a:xfrm>
              <a:off x="4998" y="1444"/>
              <a:ext cx="264" cy="150"/>
            </a:xfrm>
            <a:custGeom>
              <a:avLst/>
              <a:gdLst>
                <a:gd name="T0" fmla="*/ 213 w 426"/>
                <a:gd name="T1" fmla="*/ 212 h 242"/>
                <a:gd name="T2" fmla="*/ 213 w 426"/>
                <a:gd name="T3" fmla="*/ 212 h 242"/>
                <a:gd name="T4" fmla="*/ 111 w 426"/>
                <a:gd name="T5" fmla="*/ 110 h 242"/>
                <a:gd name="T6" fmla="*/ 132 w 426"/>
                <a:gd name="T7" fmla="*/ 88 h 242"/>
                <a:gd name="T8" fmla="*/ 198 w 426"/>
                <a:gd name="T9" fmla="*/ 154 h 242"/>
                <a:gd name="T10" fmla="*/ 198 w 426"/>
                <a:gd name="T11" fmla="*/ 29 h 242"/>
                <a:gd name="T12" fmla="*/ 228 w 426"/>
                <a:gd name="T13" fmla="*/ 29 h 242"/>
                <a:gd name="T14" fmla="*/ 228 w 426"/>
                <a:gd name="T15" fmla="*/ 154 h 242"/>
                <a:gd name="T16" fmla="*/ 294 w 426"/>
                <a:gd name="T17" fmla="*/ 88 h 242"/>
                <a:gd name="T18" fmla="*/ 315 w 426"/>
                <a:gd name="T19" fmla="*/ 110 h 242"/>
                <a:gd name="T20" fmla="*/ 213 w 426"/>
                <a:gd name="T21" fmla="*/ 212 h 242"/>
                <a:gd name="T22" fmla="*/ 419 w 426"/>
                <a:gd name="T23" fmla="*/ 156 h 242"/>
                <a:gd name="T24" fmla="*/ 419 w 426"/>
                <a:gd name="T25" fmla="*/ 156 h 242"/>
                <a:gd name="T26" fmla="*/ 397 w 426"/>
                <a:gd name="T27" fmla="*/ 105 h 242"/>
                <a:gd name="T28" fmla="*/ 364 w 426"/>
                <a:gd name="T29" fmla="*/ 61 h 242"/>
                <a:gd name="T30" fmla="*/ 320 w 426"/>
                <a:gd name="T31" fmla="*/ 28 h 242"/>
                <a:gd name="T32" fmla="*/ 269 w 426"/>
                <a:gd name="T33" fmla="*/ 6 h 242"/>
                <a:gd name="T34" fmla="*/ 213 w 426"/>
                <a:gd name="T35" fmla="*/ 0 h 242"/>
                <a:gd name="T36" fmla="*/ 156 w 426"/>
                <a:gd name="T37" fmla="*/ 6 h 242"/>
                <a:gd name="T38" fmla="*/ 105 w 426"/>
                <a:gd name="T39" fmla="*/ 28 h 242"/>
                <a:gd name="T40" fmla="*/ 62 w 426"/>
                <a:gd name="T41" fmla="*/ 61 h 242"/>
                <a:gd name="T42" fmla="*/ 29 w 426"/>
                <a:gd name="T43" fmla="*/ 105 h 242"/>
                <a:gd name="T44" fmla="*/ 7 w 426"/>
                <a:gd name="T45" fmla="*/ 156 h 242"/>
                <a:gd name="T46" fmla="*/ 0 w 426"/>
                <a:gd name="T47" fmla="*/ 212 h 242"/>
                <a:gd name="T48" fmla="*/ 2 w 426"/>
                <a:gd name="T49" fmla="*/ 242 h 242"/>
                <a:gd name="T50" fmla="*/ 424 w 426"/>
                <a:gd name="T51" fmla="*/ 242 h 242"/>
                <a:gd name="T52" fmla="*/ 426 w 426"/>
                <a:gd name="T53" fmla="*/ 212 h 242"/>
                <a:gd name="T54" fmla="*/ 419 w 426"/>
                <a:gd name="T55" fmla="*/ 15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6" h="242">
                  <a:moveTo>
                    <a:pt x="213" y="212"/>
                  </a:moveTo>
                  <a:lnTo>
                    <a:pt x="213" y="212"/>
                  </a:lnTo>
                  <a:lnTo>
                    <a:pt x="111" y="110"/>
                  </a:lnTo>
                  <a:lnTo>
                    <a:pt x="132" y="88"/>
                  </a:lnTo>
                  <a:lnTo>
                    <a:pt x="198" y="154"/>
                  </a:lnTo>
                  <a:lnTo>
                    <a:pt x="198" y="29"/>
                  </a:lnTo>
                  <a:lnTo>
                    <a:pt x="228" y="29"/>
                  </a:lnTo>
                  <a:lnTo>
                    <a:pt x="228" y="154"/>
                  </a:lnTo>
                  <a:lnTo>
                    <a:pt x="294" y="88"/>
                  </a:lnTo>
                  <a:lnTo>
                    <a:pt x="315" y="110"/>
                  </a:lnTo>
                  <a:lnTo>
                    <a:pt x="213" y="212"/>
                  </a:lnTo>
                  <a:close/>
                  <a:moveTo>
                    <a:pt x="419" y="156"/>
                  </a:moveTo>
                  <a:lnTo>
                    <a:pt x="419" y="156"/>
                  </a:lnTo>
                  <a:cubicBezTo>
                    <a:pt x="413" y="137"/>
                    <a:pt x="406" y="120"/>
                    <a:pt x="397" y="105"/>
                  </a:cubicBezTo>
                  <a:cubicBezTo>
                    <a:pt x="388" y="89"/>
                    <a:pt x="377" y="74"/>
                    <a:pt x="364" y="61"/>
                  </a:cubicBezTo>
                  <a:cubicBezTo>
                    <a:pt x="351" y="48"/>
                    <a:pt x="336" y="37"/>
                    <a:pt x="320" y="28"/>
                  </a:cubicBezTo>
                  <a:cubicBezTo>
                    <a:pt x="305" y="19"/>
                    <a:pt x="288" y="12"/>
                    <a:pt x="269" y="6"/>
                  </a:cubicBezTo>
                  <a:cubicBezTo>
                    <a:pt x="251" y="2"/>
                    <a:pt x="232" y="0"/>
                    <a:pt x="213" y="0"/>
                  </a:cubicBezTo>
                  <a:cubicBezTo>
                    <a:pt x="193" y="0"/>
                    <a:pt x="174" y="2"/>
                    <a:pt x="156" y="6"/>
                  </a:cubicBezTo>
                  <a:cubicBezTo>
                    <a:pt x="138" y="12"/>
                    <a:pt x="121" y="19"/>
                    <a:pt x="105" y="28"/>
                  </a:cubicBezTo>
                  <a:cubicBezTo>
                    <a:pt x="90" y="37"/>
                    <a:pt x="75" y="48"/>
                    <a:pt x="62" y="61"/>
                  </a:cubicBezTo>
                  <a:cubicBezTo>
                    <a:pt x="49" y="74"/>
                    <a:pt x="38" y="89"/>
                    <a:pt x="29" y="105"/>
                  </a:cubicBezTo>
                  <a:cubicBezTo>
                    <a:pt x="19" y="120"/>
                    <a:pt x="12" y="137"/>
                    <a:pt x="7" y="156"/>
                  </a:cubicBezTo>
                  <a:cubicBezTo>
                    <a:pt x="2" y="174"/>
                    <a:pt x="0" y="193"/>
                    <a:pt x="0" y="212"/>
                  </a:cubicBezTo>
                  <a:cubicBezTo>
                    <a:pt x="0" y="222"/>
                    <a:pt x="0" y="232"/>
                    <a:pt x="2" y="242"/>
                  </a:cubicBezTo>
                  <a:lnTo>
                    <a:pt x="424" y="242"/>
                  </a:lnTo>
                  <a:cubicBezTo>
                    <a:pt x="425" y="232"/>
                    <a:pt x="426" y="222"/>
                    <a:pt x="426" y="212"/>
                  </a:cubicBezTo>
                  <a:cubicBezTo>
                    <a:pt x="426" y="193"/>
                    <a:pt x="424" y="174"/>
                    <a:pt x="419" y="156"/>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223">
              <a:extLst>
                <a:ext uri="{FF2B5EF4-FFF2-40B4-BE49-F238E27FC236}">
                  <a16:creationId xmlns:a16="http://schemas.microsoft.com/office/drawing/2014/main" id="{0DFF8CB6-1A38-45F1-AF5A-9184803FBB6E}"/>
                </a:ext>
              </a:extLst>
            </p:cNvPr>
            <p:cNvSpPr>
              <a:spLocks/>
            </p:cNvSpPr>
            <p:nvPr/>
          </p:nvSpPr>
          <p:spPr bwMode="auto">
            <a:xfrm>
              <a:off x="5022" y="1651"/>
              <a:ext cx="57" cy="40"/>
            </a:xfrm>
            <a:custGeom>
              <a:avLst/>
              <a:gdLst>
                <a:gd name="T0" fmla="*/ 32 w 93"/>
                <a:gd name="T1" fmla="*/ 36 h 65"/>
                <a:gd name="T2" fmla="*/ 32 w 93"/>
                <a:gd name="T3" fmla="*/ 36 h 65"/>
                <a:gd name="T4" fmla="*/ 71 w 93"/>
                <a:gd name="T5" fmla="*/ 65 h 65"/>
                <a:gd name="T6" fmla="*/ 93 w 93"/>
                <a:gd name="T7" fmla="*/ 0 h 65"/>
                <a:gd name="T8" fmla="*/ 0 w 93"/>
                <a:gd name="T9" fmla="*/ 0 h 65"/>
                <a:gd name="T10" fmla="*/ 32 w 93"/>
                <a:gd name="T11" fmla="*/ 36 h 65"/>
              </a:gdLst>
              <a:ahLst/>
              <a:cxnLst>
                <a:cxn ang="0">
                  <a:pos x="T0" y="T1"/>
                </a:cxn>
                <a:cxn ang="0">
                  <a:pos x="T2" y="T3"/>
                </a:cxn>
                <a:cxn ang="0">
                  <a:pos x="T4" y="T5"/>
                </a:cxn>
                <a:cxn ang="0">
                  <a:pos x="T6" y="T7"/>
                </a:cxn>
                <a:cxn ang="0">
                  <a:pos x="T8" y="T9"/>
                </a:cxn>
                <a:cxn ang="0">
                  <a:pos x="T10" y="T11"/>
                </a:cxn>
              </a:cxnLst>
              <a:rect l="0" t="0" r="r" b="b"/>
              <a:pathLst>
                <a:path w="93" h="65">
                  <a:moveTo>
                    <a:pt x="32" y="36"/>
                  </a:moveTo>
                  <a:lnTo>
                    <a:pt x="32" y="36"/>
                  </a:lnTo>
                  <a:cubicBezTo>
                    <a:pt x="44" y="47"/>
                    <a:pt x="57" y="57"/>
                    <a:pt x="71" y="65"/>
                  </a:cubicBezTo>
                  <a:lnTo>
                    <a:pt x="93" y="0"/>
                  </a:lnTo>
                  <a:lnTo>
                    <a:pt x="0" y="0"/>
                  </a:lnTo>
                  <a:cubicBezTo>
                    <a:pt x="9" y="13"/>
                    <a:pt x="20" y="26"/>
                    <a:pt x="32" y="3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224">
              <a:extLst>
                <a:ext uri="{FF2B5EF4-FFF2-40B4-BE49-F238E27FC236}">
                  <a16:creationId xmlns:a16="http://schemas.microsoft.com/office/drawing/2014/main" id="{E2D1E33F-199D-4357-805B-ECAAEE1D20F9}"/>
                </a:ext>
              </a:extLst>
            </p:cNvPr>
            <p:cNvSpPr>
              <a:spLocks/>
            </p:cNvSpPr>
            <p:nvPr/>
          </p:nvSpPr>
          <p:spPr bwMode="auto">
            <a:xfrm>
              <a:off x="5003" y="1613"/>
              <a:ext cx="151" cy="19"/>
            </a:xfrm>
            <a:custGeom>
              <a:avLst/>
              <a:gdLst>
                <a:gd name="T0" fmla="*/ 238 w 243"/>
                <a:gd name="T1" fmla="*/ 0 h 30"/>
                <a:gd name="T2" fmla="*/ 238 w 243"/>
                <a:gd name="T3" fmla="*/ 0 h 30"/>
                <a:gd name="T4" fmla="*/ 0 w 243"/>
                <a:gd name="T5" fmla="*/ 0 h 30"/>
                <a:gd name="T6" fmla="*/ 6 w 243"/>
                <a:gd name="T7" fmla="*/ 15 h 30"/>
                <a:gd name="T8" fmla="*/ 12 w 243"/>
                <a:gd name="T9" fmla="*/ 30 h 30"/>
                <a:gd name="T10" fmla="*/ 243 w 243"/>
                <a:gd name="T11" fmla="*/ 30 h 30"/>
                <a:gd name="T12" fmla="*/ 238 w 24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43" h="30">
                  <a:moveTo>
                    <a:pt x="238" y="0"/>
                  </a:moveTo>
                  <a:lnTo>
                    <a:pt x="238" y="0"/>
                  </a:lnTo>
                  <a:lnTo>
                    <a:pt x="0" y="0"/>
                  </a:lnTo>
                  <a:cubicBezTo>
                    <a:pt x="2" y="5"/>
                    <a:pt x="4" y="10"/>
                    <a:pt x="6" y="15"/>
                  </a:cubicBezTo>
                  <a:cubicBezTo>
                    <a:pt x="8" y="20"/>
                    <a:pt x="10" y="25"/>
                    <a:pt x="12" y="30"/>
                  </a:cubicBezTo>
                  <a:lnTo>
                    <a:pt x="243" y="30"/>
                  </a:lnTo>
                  <a:lnTo>
                    <a:pt x="238"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225">
              <a:extLst>
                <a:ext uri="{FF2B5EF4-FFF2-40B4-BE49-F238E27FC236}">
                  <a16:creationId xmlns:a16="http://schemas.microsoft.com/office/drawing/2014/main" id="{9B7C25FB-B3DC-4A09-BD40-DA4577AA073A}"/>
                </a:ext>
              </a:extLst>
            </p:cNvPr>
            <p:cNvSpPr>
              <a:spLocks/>
            </p:cNvSpPr>
            <p:nvPr/>
          </p:nvSpPr>
          <p:spPr bwMode="auto">
            <a:xfrm>
              <a:off x="5083" y="1689"/>
              <a:ext cx="85" cy="18"/>
            </a:xfrm>
            <a:custGeom>
              <a:avLst/>
              <a:gdLst>
                <a:gd name="T0" fmla="*/ 6 w 136"/>
                <a:gd name="T1" fmla="*/ 0 h 30"/>
                <a:gd name="T2" fmla="*/ 6 w 136"/>
                <a:gd name="T3" fmla="*/ 0 h 30"/>
                <a:gd name="T4" fmla="*/ 0 w 136"/>
                <a:gd name="T5" fmla="*/ 17 h 30"/>
                <a:gd name="T6" fmla="*/ 37 w 136"/>
                <a:gd name="T7" fmla="*/ 27 h 30"/>
                <a:gd name="T8" fmla="*/ 76 w 136"/>
                <a:gd name="T9" fmla="*/ 30 h 30"/>
                <a:gd name="T10" fmla="*/ 136 w 136"/>
                <a:gd name="T11" fmla="*/ 22 h 30"/>
                <a:gd name="T12" fmla="*/ 132 w 136"/>
                <a:gd name="T13" fmla="*/ 0 h 30"/>
                <a:gd name="T14" fmla="*/ 6 w 136"/>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30">
                  <a:moveTo>
                    <a:pt x="6" y="0"/>
                  </a:moveTo>
                  <a:lnTo>
                    <a:pt x="6" y="0"/>
                  </a:lnTo>
                  <a:lnTo>
                    <a:pt x="0" y="17"/>
                  </a:lnTo>
                  <a:cubicBezTo>
                    <a:pt x="12" y="21"/>
                    <a:pt x="25" y="25"/>
                    <a:pt x="37" y="27"/>
                  </a:cubicBezTo>
                  <a:cubicBezTo>
                    <a:pt x="50" y="29"/>
                    <a:pt x="63" y="30"/>
                    <a:pt x="76" y="30"/>
                  </a:cubicBezTo>
                  <a:cubicBezTo>
                    <a:pt x="96" y="30"/>
                    <a:pt x="116" y="28"/>
                    <a:pt x="136" y="22"/>
                  </a:cubicBezTo>
                  <a:lnTo>
                    <a:pt x="132" y="0"/>
                  </a:lnTo>
                  <a:lnTo>
                    <a:pt x="6"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Freeform 226">
              <a:extLst>
                <a:ext uri="{FF2B5EF4-FFF2-40B4-BE49-F238E27FC236}">
                  <a16:creationId xmlns:a16="http://schemas.microsoft.com/office/drawing/2014/main" id="{B03BF3F8-29C2-41DC-AA8E-BA9D273473B6}"/>
                </a:ext>
              </a:extLst>
            </p:cNvPr>
            <p:cNvSpPr>
              <a:spLocks/>
            </p:cNvSpPr>
            <p:nvPr/>
          </p:nvSpPr>
          <p:spPr bwMode="auto">
            <a:xfrm>
              <a:off x="5170" y="1613"/>
              <a:ext cx="87" cy="19"/>
            </a:xfrm>
            <a:custGeom>
              <a:avLst/>
              <a:gdLst>
                <a:gd name="T0" fmla="*/ 6 w 140"/>
                <a:gd name="T1" fmla="*/ 30 h 30"/>
                <a:gd name="T2" fmla="*/ 6 w 140"/>
                <a:gd name="T3" fmla="*/ 30 h 30"/>
                <a:gd name="T4" fmla="*/ 129 w 140"/>
                <a:gd name="T5" fmla="*/ 30 h 30"/>
                <a:gd name="T6" fmla="*/ 135 w 140"/>
                <a:gd name="T7" fmla="*/ 15 h 30"/>
                <a:gd name="T8" fmla="*/ 140 w 140"/>
                <a:gd name="T9" fmla="*/ 0 h 30"/>
                <a:gd name="T10" fmla="*/ 0 w 140"/>
                <a:gd name="T11" fmla="*/ 0 h 30"/>
                <a:gd name="T12" fmla="*/ 6 w 14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40" h="30">
                  <a:moveTo>
                    <a:pt x="6" y="30"/>
                  </a:moveTo>
                  <a:lnTo>
                    <a:pt x="6" y="30"/>
                  </a:lnTo>
                  <a:lnTo>
                    <a:pt x="129" y="30"/>
                  </a:lnTo>
                  <a:cubicBezTo>
                    <a:pt x="131" y="25"/>
                    <a:pt x="133" y="20"/>
                    <a:pt x="135" y="15"/>
                  </a:cubicBezTo>
                  <a:cubicBezTo>
                    <a:pt x="137" y="10"/>
                    <a:pt x="139" y="5"/>
                    <a:pt x="140" y="0"/>
                  </a:cubicBezTo>
                  <a:lnTo>
                    <a:pt x="0" y="0"/>
                  </a:lnTo>
                  <a:lnTo>
                    <a:pt x="6" y="3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Freeform 227">
              <a:extLst>
                <a:ext uri="{FF2B5EF4-FFF2-40B4-BE49-F238E27FC236}">
                  <a16:creationId xmlns:a16="http://schemas.microsoft.com/office/drawing/2014/main" id="{E90069E4-C70C-403C-8D5B-A750D99A7358}"/>
                </a:ext>
              </a:extLst>
            </p:cNvPr>
            <p:cNvSpPr>
              <a:spLocks/>
            </p:cNvSpPr>
            <p:nvPr/>
          </p:nvSpPr>
          <p:spPr bwMode="auto">
            <a:xfrm>
              <a:off x="5177" y="1651"/>
              <a:ext cx="62" cy="45"/>
            </a:xfrm>
            <a:custGeom>
              <a:avLst/>
              <a:gdLst>
                <a:gd name="T0" fmla="*/ 14 w 100"/>
                <a:gd name="T1" fmla="*/ 72 h 72"/>
                <a:gd name="T2" fmla="*/ 14 w 100"/>
                <a:gd name="T3" fmla="*/ 72 h 72"/>
                <a:gd name="T4" fmla="*/ 61 w 100"/>
                <a:gd name="T5" fmla="*/ 42 h 72"/>
                <a:gd name="T6" fmla="*/ 100 w 100"/>
                <a:gd name="T7" fmla="*/ 0 h 72"/>
                <a:gd name="T8" fmla="*/ 0 w 100"/>
                <a:gd name="T9" fmla="*/ 0 h 72"/>
                <a:gd name="T10" fmla="*/ 14 w 100"/>
                <a:gd name="T11" fmla="*/ 72 h 72"/>
              </a:gdLst>
              <a:ahLst/>
              <a:cxnLst>
                <a:cxn ang="0">
                  <a:pos x="T0" y="T1"/>
                </a:cxn>
                <a:cxn ang="0">
                  <a:pos x="T2" y="T3"/>
                </a:cxn>
                <a:cxn ang="0">
                  <a:pos x="T4" y="T5"/>
                </a:cxn>
                <a:cxn ang="0">
                  <a:pos x="T6" y="T7"/>
                </a:cxn>
                <a:cxn ang="0">
                  <a:pos x="T8" y="T9"/>
                </a:cxn>
                <a:cxn ang="0">
                  <a:pos x="T10" y="T11"/>
                </a:cxn>
              </a:cxnLst>
              <a:rect l="0" t="0" r="r" b="b"/>
              <a:pathLst>
                <a:path w="100" h="72">
                  <a:moveTo>
                    <a:pt x="14" y="72"/>
                  </a:moveTo>
                  <a:lnTo>
                    <a:pt x="14" y="72"/>
                  </a:lnTo>
                  <a:cubicBezTo>
                    <a:pt x="31" y="64"/>
                    <a:pt x="47" y="54"/>
                    <a:pt x="61" y="42"/>
                  </a:cubicBezTo>
                  <a:cubicBezTo>
                    <a:pt x="76" y="30"/>
                    <a:pt x="89" y="16"/>
                    <a:pt x="100" y="0"/>
                  </a:cubicBezTo>
                  <a:lnTo>
                    <a:pt x="0" y="0"/>
                  </a:lnTo>
                  <a:lnTo>
                    <a:pt x="14" y="72"/>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47" name="Group 230">
            <a:extLst>
              <a:ext uri="{FF2B5EF4-FFF2-40B4-BE49-F238E27FC236}">
                <a16:creationId xmlns:a16="http://schemas.microsoft.com/office/drawing/2014/main" id="{4BECDE66-0285-44E2-A1D0-DE51F8E0CCE1}"/>
              </a:ext>
            </a:extLst>
          </p:cNvPr>
          <p:cNvGrpSpPr>
            <a:grpSpLocks noChangeAspect="1"/>
          </p:cNvGrpSpPr>
          <p:nvPr/>
        </p:nvGrpSpPr>
        <p:grpSpPr bwMode="auto">
          <a:xfrm>
            <a:off x="5855868" y="4384636"/>
            <a:ext cx="368302" cy="419105"/>
            <a:chOff x="4158" y="1444"/>
            <a:chExt cx="232" cy="264"/>
          </a:xfrm>
        </p:grpSpPr>
        <p:sp>
          <p:nvSpPr>
            <p:cNvPr id="148" name="Freeform 231">
              <a:extLst>
                <a:ext uri="{FF2B5EF4-FFF2-40B4-BE49-F238E27FC236}">
                  <a16:creationId xmlns:a16="http://schemas.microsoft.com/office/drawing/2014/main" id="{40BC7F4A-38EE-4AB8-91FD-F4359944C15C}"/>
                </a:ext>
              </a:extLst>
            </p:cNvPr>
            <p:cNvSpPr>
              <a:spLocks/>
            </p:cNvSpPr>
            <p:nvPr/>
          </p:nvSpPr>
          <p:spPr bwMode="auto">
            <a:xfrm>
              <a:off x="4307" y="1633"/>
              <a:ext cx="73" cy="17"/>
            </a:xfrm>
            <a:custGeom>
              <a:avLst/>
              <a:gdLst>
                <a:gd name="T0" fmla="*/ 71 w 118"/>
                <a:gd name="T1" fmla="*/ 4 h 27"/>
                <a:gd name="T2" fmla="*/ 71 w 118"/>
                <a:gd name="T3" fmla="*/ 4 h 27"/>
                <a:gd name="T4" fmla="*/ 55 w 118"/>
                <a:gd name="T5" fmla="*/ 0 h 27"/>
                <a:gd name="T6" fmla="*/ 0 w 118"/>
                <a:gd name="T7" fmla="*/ 27 h 27"/>
                <a:gd name="T8" fmla="*/ 118 w 118"/>
                <a:gd name="T9" fmla="*/ 27 h 27"/>
                <a:gd name="T10" fmla="*/ 104 w 118"/>
                <a:gd name="T11" fmla="*/ 18 h 27"/>
                <a:gd name="T12" fmla="*/ 88 w 118"/>
                <a:gd name="T13" fmla="*/ 10 h 27"/>
                <a:gd name="T14" fmla="*/ 71 w 118"/>
                <a:gd name="T15" fmla="*/ 4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27">
                  <a:moveTo>
                    <a:pt x="71" y="4"/>
                  </a:moveTo>
                  <a:lnTo>
                    <a:pt x="71" y="4"/>
                  </a:lnTo>
                  <a:cubicBezTo>
                    <a:pt x="66" y="2"/>
                    <a:pt x="60" y="1"/>
                    <a:pt x="55" y="0"/>
                  </a:cubicBezTo>
                  <a:lnTo>
                    <a:pt x="0" y="27"/>
                  </a:lnTo>
                  <a:lnTo>
                    <a:pt x="118" y="27"/>
                  </a:lnTo>
                  <a:cubicBezTo>
                    <a:pt x="114" y="24"/>
                    <a:pt x="109" y="21"/>
                    <a:pt x="104" y="18"/>
                  </a:cubicBezTo>
                  <a:cubicBezTo>
                    <a:pt x="99" y="15"/>
                    <a:pt x="93" y="12"/>
                    <a:pt x="88" y="10"/>
                  </a:cubicBezTo>
                  <a:cubicBezTo>
                    <a:pt x="82" y="8"/>
                    <a:pt x="77" y="6"/>
                    <a:pt x="71" y="4"/>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232">
              <a:extLst>
                <a:ext uri="{FF2B5EF4-FFF2-40B4-BE49-F238E27FC236}">
                  <a16:creationId xmlns:a16="http://schemas.microsoft.com/office/drawing/2014/main" id="{AE5EBBFC-7E7A-405C-B08A-96AD8C5DDDC7}"/>
                </a:ext>
              </a:extLst>
            </p:cNvPr>
            <p:cNvSpPr>
              <a:spLocks/>
            </p:cNvSpPr>
            <p:nvPr/>
          </p:nvSpPr>
          <p:spPr bwMode="auto">
            <a:xfrm>
              <a:off x="4158" y="1666"/>
              <a:ext cx="53" cy="32"/>
            </a:xfrm>
            <a:custGeom>
              <a:avLst/>
              <a:gdLst>
                <a:gd name="T0" fmla="*/ 4 w 85"/>
                <a:gd name="T1" fmla="*/ 13 h 51"/>
                <a:gd name="T2" fmla="*/ 4 w 85"/>
                <a:gd name="T3" fmla="*/ 13 h 51"/>
                <a:gd name="T4" fmla="*/ 13 w 85"/>
                <a:gd name="T5" fmla="*/ 24 h 51"/>
                <a:gd name="T6" fmla="*/ 26 w 85"/>
                <a:gd name="T7" fmla="*/ 33 h 51"/>
                <a:gd name="T8" fmla="*/ 40 w 85"/>
                <a:gd name="T9" fmla="*/ 41 h 51"/>
                <a:gd name="T10" fmla="*/ 55 w 85"/>
                <a:gd name="T11" fmla="*/ 47 h 51"/>
                <a:gd name="T12" fmla="*/ 67 w 85"/>
                <a:gd name="T13" fmla="*/ 51 h 51"/>
                <a:gd name="T14" fmla="*/ 85 w 85"/>
                <a:gd name="T15" fmla="*/ 0 h 51"/>
                <a:gd name="T16" fmla="*/ 0 w 85"/>
                <a:gd name="T17" fmla="*/ 0 h 51"/>
                <a:gd name="T18" fmla="*/ 4 w 85"/>
                <a:gd name="T19"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51">
                  <a:moveTo>
                    <a:pt x="4" y="13"/>
                  </a:moveTo>
                  <a:lnTo>
                    <a:pt x="4" y="13"/>
                  </a:lnTo>
                  <a:cubicBezTo>
                    <a:pt x="6" y="17"/>
                    <a:pt x="9" y="21"/>
                    <a:pt x="13" y="24"/>
                  </a:cubicBezTo>
                  <a:cubicBezTo>
                    <a:pt x="17" y="28"/>
                    <a:pt x="21" y="31"/>
                    <a:pt x="26" y="33"/>
                  </a:cubicBezTo>
                  <a:cubicBezTo>
                    <a:pt x="30" y="36"/>
                    <a:pt x="35" y="39"/>
                    <a:pt x="40" y="41"/>
                  </a:cubicBezTo>
                  <a:cubicBezTo>
                    <a:pt x="45" y="43"/>
                    <a:pt x="50" y="45"/>
                    <a:pt x="55" y="47"/>
                  </a:cubicBezTo>
                  <a:cubicBezTo>
                    <a:pt x="60" y="49"/>
                    <a:pt x="64" y="50"/>
                    <a:pt x="67" y="51"/>
                  </a:cubicBezTo>
                  <a:lnTo>
                    <a:pt x="85" y="0"/>
                  </a:lnTo>
                  <a:lnTo>
                    <a:pt x="0" y="0"/>
                  </a:lnTo>
                  <a:cubicBezTo>
                    <a:pt x="0" y="5"/>
                    <a:pt x="1" y="9"/>
                    <a:pt x="4" y="1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233">
              <a:extLst>
                <a:ext uri="{FF2B5EF4-FFF2-40B4-BE49-F238E27FC236}">
                  <a16:creationId xmlns:a16="http://schemas.microsoft.com/office/drawing/2014/main" id="{1F17BCA2-F728-4111-B360-5FCD13EDB3F5}"/>
                </a:ext>
              </a:extLst>
            </p:cNvPr>
            <p:cNvSpPr>
              <a:spLocks/>
            </p:cNvSpPr>
            <p:nvPr/>
          </p:nvSpPr>
          <p:spPr bwMode="auto">
            <a:xfrm>
              <a:off x="4216" y="1666"/>
              <a:ext cx="112" cy="42"/>
            </a:xfrm>
            <a:custGeom>
              <a:avLst/>
              <a:gdLst>
                <a:gd name="T0" fmla="*/ 94 w 181"/>
                <a:gd name="T1" fmla="*/ 0 h 67"/>
                <a:gd name="T2" fmla="*/ 94 w 181"/>
                <a:gd name="T3" fmla="*/ 0 h 67"/>
                <a:gd name="T4" fmla="*/ 20 w 181"/>
                <a:gd name="T5" fmla="*/ 0 h 67"/>
                <a:gd name="T6" fmla="*/ 0 w 181"/>
                <a:gd name="T7" fmla="*/ 58 h 67"/>
                <a:gd name="T8" fmla="*/ 47 w 181"/>
                <a:gd name="T9" fmla="*/ 64 h 67"/>
                <a:gd name="T10" fmla="*/ 94 w 181"/>
                <a:gd name="T11" fmla="*/ 67 h 67"/>
                <a:gd name="T12" fmla="*/ 138 w 181"/>
                <a:gd name="T13" fmla="*/ 65 h 67"/>
                <a:gd name="T14" fmla="*/ 181 w 181"/>
                <a:gd name="T15" fmla="*/ 59 h 67"/>
                <a:gd name="T16" fmla="*/ 161 w 181"/>
                <a:gd name="T17" fmla="*/ 0 h 67"/>
                <a:gd name="T18" fmla="*/ 94 w 181"/>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67">
                  <a:moveTo>
                    <a:pt x="94" y="0"/>
                  </a:moveTo>
                  <a:lnTo>
                    <a:pt x="94" y="0"/>
                  </a:lnTo>
                  <a:lnTo>
                    <a:pt x="20" y="0"/>
                  </a:lnTo>
                  <a:lnTo>
                    <a:pt x="0" y="58"/>
                  </a:lnTo>
                  <a:cubicBezTo>
                    <a:pt x="16" y="61"/>
                    <a:pt x="31" y="63"/>
                    <a:pt x="47" y="64"/>
                  </a:cubicBezTo>
                  <a:cubicBezTo>
                    <a:pt x="62" y="66"/>
                    <a:pt x="78" y="67"/>
                    <a:pt x="94" y="67"/>
                  </a:cubicBezTo>
                  <a:cubicBezTo>
                    <a:pt x="109" y="67"/>
                    <a:pt x="123" y="66"/>
                    <a:pt x="138" y="65"/>
                  </a:cubicBezTo>
                  <a:cubicBezTo>
                    <a:pt x="152" y="63"/>
                    <a:pt x="167" y="61"/>
                    <a:pt x="181" y="59"/>
                  </a:cubicBezTo>
                  <a:lnTo>
                    <a:pt x="161" y="0"/>
                  </a:lnTo>
                  <a:lnTo>
                    <a:pt x="9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234">
              <a:extLst>
                <a:ext uri="{FF2B5EF4-FFF2-40B4-BE49-F238E27FC236}">
                  <a16:creationId xmlns:a16="http://schemas.microsoft.com/office/drawing/2014/main" id="{23627DF1-3781-49A2-BECC-32B605090F54}"/>
                </a:ext>
              </a:extLst>
            </p:cNvPr>
            <p:cNvSpPr>
              <a:spLocks noEditPoints="1"/>
            </p:cNvSpPr>
            <p:nvPr/>
          </p:nvSpPr>
          <p:spPr bwMode="auto">
            <a:xfrm>
              <a:off x="4168" y="1444"/>
              <a:ext cx="199" cy="222"/>
            </a:xfrm>
            <a:custGeom>
              <a:avLst/>
              <a:gdLst>
                <a:gd name="T0" fmla="*/ 257 w 320"/>
                <a:gd name="T1" fmla="*/ 182 h 359"/>
                <a:gd name="T2" fmla="*/ 257 w 320"/>
                <a:gd name="T3" fmla="*/ 182 h 359"/>
                <a:gd name="T4" fmla="*/ 237 w 320"/>
                <a:gd name="T5" fmla="*/ 211 h 359"/>
                <a:gd name="T6" fmla="*/ 207 w 320"/>
                <a:gd name="T7" fmla="*/ 231 h 359"/>
                <a:gd name="T8" fmla="*/ 171 w 320"/>
                <a:gd name="T9" fmla="*/ 239 h 359"/>
                <a:gd name="T10" fmla="*/ 134 w 320"/>
                <a:gd name="T11" fmla="*/ 231 h 359"/>
                <a:gd name="T12" fmla="*/ 105 w 320"/>
                <a:gd name="T13" fmla="*/ 211 h 359"/>
                <a:gd name="T14" fmla="*/ 85 w 320"/>
                <a:gd name="T15" fmla="*/ 182 h 359"/>
                <a:gd name="T16" fmla="*/ 78 w 320"/>
                <a:gd name="T17" fmla="*/ 145 h 359"/>
                <a:gd name="T18" fmla="*/ 85 w 320"/>
                <a:gd name="T19" fmla="*/ 109 h 359"/>
                <a:gd name="T20" fmla="*/ 105 w 320"/>
                <a:gd name="T21" fmla="*/ 80 h 359"/>
                <a:gd name="T22" fmla="*/ 134 w 320"/>
                <a:gd name="T23" fmla="*/ 60 h 359"/>
                <a:gd name="T24" fmla="*/ 171 w 320"/>
                <a:gd name="T25" fmla="*/ 52 h 359"/>
                <a:gd name="T26" fmla="*/ 207 w 320"/>
                <a:gd name="T27" fmla="*/ 60 h 359"/>
                <a:gd name="T28" fmla="*/ 237 w 320"/>
                <a:gd name="T29" fmla="*/ 80 h 359"/>
                <a:gd name="T30" fmla="*/ 257 w 320"/>
                <a:gd name="T31" fmla="*/ 109 h 359"/>
                <a:gd name="T32" fmla="*/ 264 w 320"/>
                <a:gd name="T33" fmla="*/ 145 h 359"/>
                <a:gd name="T34" fmla="*/ 257 w 320"/>
                <a:gd name="T35" fmla="*/ 182 h 359"/>
                <a:gd name="T36" fmla="*/ 309 w 320"/>
                <a:gd name="T37" fmla="*/ 205 h 359"/>
                <a:gd name="T38" fmla="*/ 309 w 320"/>
                <a:gd name="T39" fmla="*/ 205 h 359"/>
                <a:gd name="T40" fmla="*/ 320 w 320"/>
                <a:gd name="T41" fmla="*/ 148 h 359"/>
                <a:gd name="T42" fmla="*/ 315 w 320"/>
                <a:gd name="T43" fmla="*/ 108 h 359"/>
                <a:gd name="T44" fmla="*/ 300 w 320"/>
                <a:gd name="T45" fmla="*/ 73 h 359"/>
                <a:gd name="T46" fmla="*/ 276 w 320"/>
                <a:gd name="T47" fmla="*/ 42 h 359"/>
                <a:gd name="T48" fmla="*/ 246 w 320"/>
                <a:gd name="T49" fmla="*/ 19 h 359"/>
                <a:gd name="T50" fmla="*/ 211 w 320"/>
                <a:gd name="T51" fmla="*/ 4 h 359"/>
                <a:gd name="T52" fmla="*/ 171 w 320"/>
                <a:gd name="T53" fmla="*/ 0 h 359"/>
                <a:gd name="T54" fmla="*/ 131 w 320"/>
                <a:gd name="T55" fmla="*/ 4 h 359"/>
                <a:gd name="T56" fmla="*/ 96 w 320"/>
                <a:gd name="T57" fmla="*/ 19 h 359"/>
                <a:gd name="T58" fmla="*/ 65 w 320"/>
                <a:gd name="T59" fmla="*/ 42 h 359"/>
                <a:gd name="T60" fmla="*/ 42 w 320"/>
                <a:gd name="T61" fmla="*/ 73 h 359"/>
                <a:gd name="T62" fmla="*/ 27 w 320"/>
                <a:gd name="T63" fmla="*/ 108 h 359"/>
                <a:gd name="T64" fmla="*/ 22 w 320"/>
                <a:gd name="T65" fmla="*/ 148 h 359"/>
                <a:gd name="T66" fmla="*/ 33 w 320"/>
                <a:gd name="T67" fmla="*/ 205 h 359"/>
                <a:gd name="T68" fmla="*/ 65 w 320"/>
                <a:gd name="T69" fmla="*/ 253 h 359"/>
                <a:gd name="T70" fmla="*/ 108 w 320"/>
                <a:gd name="T71" fmla="*/ 296 h 359"/>
                <a:gd name="T72" fmla="*/ 81 w 320"/>
                <a:gd name="T73" fmla="*/ 300 h 359"/>
                <a:gd name="T74" fmla="*/ 51 w 320"/>
                <a:gd name="T75" fmla="*/ 308 h 359"/>
                <a:gd name="T76" fmla="*/ 23 w 320"/>
                <a:gd name="T77" fmla="*/ 318 h 359"/>
                <a:gd name="T78" fmla="*/ 0 w 320"/>
                <a:gd name="T79" fmla="*/ 332 h 359"/>
                <a:gd name="T80" fmla="*/ 144 w 320"/>
                <a:gd name="T81" fmla="*/ 332 h 359"/>
                <a:gd name="T82" fmla="*/ 171 w 320"/>
                <a:gd name="T83" fmla="*/ 359 h 359"/>
                <a:gd name="T84" fmla="*/ 276 w 320"/>
                <a:gd name="T85" fmla="*/ 253 h 359"/>
                <a:gd name="T86" fmla="*/ 309 w 320"/>
                <a:gd name="T87" fmla="*/ 20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359">
                  <a:moveTo>
                    <a:pt x="257" y="182"/>
                  </a:moveTo>
                  <a:lnTo>
                    <a:pt x="257" y="182"/>
                  </a:lnTo>
                  <a:cubicBezTo>
                    <a:pt x="252" y="193"/>
                    <a:pt x="245" y="203"/>
                    <a:pt x="237" y="211"/>
                  </a:cubicBezTo>
                  <a:cubicBezTo>
                    <a:pt x="228" y="220"/>
                    <a:pt x="219" y="227"/>
                    <a:pt x="207" y="231"/>
                  </a:cubicBezTo>
                  <a:cubicBezTo>
                    <a:pt x="196" y="236"/>
                    <a:pt x="184" y="239"/>
                    <a:pt x="171" y="239"/>
                  </a:cubicBezTo>
                  <a:cubicBezTo>
                    <a:pt x="158" y="239"/>
                    <a:pt x="146" y="236"/>
                    <a:pt x="134" y="231"/>
                  </a:cubicBezTo>
                  <a:cubicBezTo>
                    <a:pt x="123" y="227"/>
                    <a:pt x="113" y="220"/>
                    <a:pt x="105" y="211"/>
                  </a:cubicBezTo>
                  <a:cubicBezTo>
                    <a:pt x="96" y="203"/>
                    <a:pt x="90" y="193"/>
                    <a:pt x="85" y="182"/>
                  </a:cubicBezTo>
                  <a:cubicBezTo>
                    <a:pt x="80" y="171"/>
                    <a:pt x="78" y="158"/>
                    <a:pt x="78" y="145"/>
                  </a:cubicBezTo>
                  <a:cubicBezTo>
                    <a:pt x="78" y="133"/>
                    <a:pt x="80" y="120"/>
                    <a:pt x="85" y="109"/>
                  </a:cubicBezTo>
                  <a:cubicBezTo>
                    <a:pt x="90" y="98"/>
                    <a:pt x="96" y="88"/>
                    <a:pt x="105" y="80"/>
                  </a:cubicBezTo>
                  <a:cubicBezTo>
                    <a:pt x="113" y="71"/>
                    <a:pt x="123" y="64"/>
                    <a:pt x="134" y="60"/>
                  </a:cubicBezTo>
                  <a:cubicBezTo>
                    <a:pt x="146" y="55"/>
                    <a:pt x="158" y="52"/>
                    <a:pt x="171" y="52"/>
                  </a:cubicBezTo>
                  <a:cubicBezTo>
                    <a:pt x="184" y="52"/>
                    <a:pt x="196" y="55"/>
                    <a:pt x="207" y="60"/>
                  </a:cubicBezTo>
                  <a:cubicBezTo>
                    <a:pt x="219" y="64"/>
                    <a:pt x="228" y="71"/>
                    <a:pt x="237" y="80"/>
                  </a:cubicBezTo>
                  <a:cubicBezTo>
                    <a:pt x="245" y="88"/>
                    <a:pt x="252" y="98"/>
                    <a:pt x="257" y="109"/>
                  </a:cubicBezTo>
                  <a:cubicBezTo>
                    <a:pt x="262" y="120"/>
                    <a:pt x="264" y="133"/>
                    <a:pt x="264" y="145"/>
                  </a:cubicBezTo>
                  <a:cubicBezTo>
                    <a:pt x="264" y="158"/>
                    <a:pt x="262" y="171"/>
                    <a:pt x="257" y="182"/>
                  </a:cubicBezTo>
                  <a:close/>
                  <a:moveTo>
                    <a:pt x="309" y="205"/>
                  </a:moveTo>
                  <a:lnTo>
                    <a:pt x="309" y="205"/>
                  </a:lnTo>
                  <a:cubicBezTo>
                    <a:pt x="316" y="187"/>
                    <a:pt x="320" y="168"/>
                    <a:pt x="320" y="148"/>
                  </a:cubicBezTo>
                  <a:cubicBezTo>
                    <a:pt x="320" y="134"/>
                    <a:pt x="318" y="121"/>
                    <a:pt x="315" y="108"/>
                  </a:cubicBezTo>
                  <a:cubicBezTo>
                    <a:pt x="311" y="96"/>
                    <a:pt x="306" y="84"/>
                    <a:pt x="300" y="73"/>
                  </a:cubicBezTo>
                  <a:cubicBezTo>
                    <a:pt x="293" y="62"/>
                    <a:pt x="285" y="52"/>
                    <a:pt x="276" y="42"/>
                  </a:cubicBezTo>
                  <a:cubicBezTo>
                    <a:pt x="267" y="33"/>
                    <a:pt x="257" y="26"/>
                    <a:pt x="246" y="19"/>
                  </a:cubicBezTo>
                  <a:cubicBezTo>
                    <a:pt x="235" y="13"/>
                    <a:pt x="223" y="8"/>
                    <a:pt x="211" y="4"/>
                  </a:cubicBezTo>
                  <a:cubicBezTo>
                    <a:pt x="198" y="2"/>
                    <a:pt x="185" y="0"/>
                    <a:pt x="171" y="0"/>
                  </a:cubicBezTo>
                  <a:cubicBezTo>
                    <a:pt x="157" y="0"/>
                    <a:pt x="144" y="2"/>
                    <a:pt x="131" y="4"/>
                  </a:cubicBezTo>
                  <a:cubicBezTo>
                    <a:pt x="118" y="8"/>
                    <a:pt x="107" y="13"/>
                    <a:pt x="96" y="19"/>
                  </a:cubicBezTo>
                  <a:cubicBezTo>
                    <a:pt x="84" y="26"/>
                    <a:pt x="74" y="33"/>
                    <a:pt x="65" y="42"/>
                  </a:cubicBezTo>
                  <a:cubicBezTo>
                    <a:pt x="56" y="52"/>
                    <a:pt x="48" y="62"/>
                    <a:pt x="42" y="73"/>
                  </a:cubicBezTo>
                  <a:cubicBezTo>
                    <a:pt x="36" y="84"/>
                    <a:pt x="31" y="96"/>
                    <a:pt x="27" y="108"/>
                  </a:cubicBezTo>
                  <a:cubicBezTo>
                    <a:pt x="23" y="121"/>
                    <a:pt x="22" y="134"/>
                    <a:pt x="22" y="148"/>
                  </a:cubicBezTo>
                  <a:cubicBezTo>
                    <a:pt x="22" y="168"/>
                    <a:pt x="25" y="187"/>
                    <a:pt x="33" y="205"/>
                  </a:cubicBezTo>
                  <a:cubicBezTo>
                    <a:pt x="41" y="223"/>
                    <a:pt x="51" y="239"/>
                    <a:pt x="65" y="253"/>
                  </a:cubicBezTo>
                  <a:lnTo>
                    <a:pt x="108" y="296"/>
                  </a:lnTo>
                  <a:cubicBezTo>
                    <a:pt x="100" y="297"/>
                    <a:pt x="91" y="299"/>
                    <a:pt x="81" y="300"/>
                  </a:cubicBezTo>
                  <a:cubicBezTo>
                    <a:pt x="71" y="302"/>
                    <a:pt x="61" y="305"/>
                    <a:pt x="51" y="308"/>
                  </a:cubicBezTo>
                  <a:cubicBezTo>
                    <a:pt x="41" y="311"/>
                    <a:pt x="32" y="314"/>
                    <a:pt x="23" y="318"/>
                  </a:cubicBezTo>
                  <a:cubicBezTo>
                    <a:pt x="14" y="322"/>
                    <a:pt x="6" y="327"/>
                    <a:pt x="0" y="332"/>
                  </a:cubicBezTo>
                  <a:lnTo>
                    <a:pt x="144" y="332"/>
                  </a:lnTo>
                  <a:lnTo>
                    <a:pt x="171" y="359"/>
                  </a:lnTo>
                  <a:lnTo>
                    <a:pt x="276" y="253"/>
                  </a:lnTo>
                  <a:cubicBezTo>
                    <a:pt x="290" y="239"/>
                    <a:pt x="301" y="223"/>
                    <a:pt x="309" y="205"/>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235">
              <a:extLst>
                <a:ext uri="{FF2B5EF4-FFF2-40B4-BE49-F238E27FC236}">
                  <a16:creationId xmlns:a16="http://schemas.microsoft.com/office/drawing/2014/main" id="{32743F9B-254F-4576-BAB8-640FD7AF7ECE}"/>
                </a:ext>
              </a:extLst>
            </p:cNvPr>
            <p:cNvSpPr>
              <a:spLocks/>
            </p:cNvSpPr>
            <p:nvPr/>
          </p:nvSpPr>
          <p:spPr bwMode="auto">
            <a:xfrm>
              <a:off x="4233" y="1493"/>
              <a:ext cx="83" cy="82"/>
            </a:xfrm>
            <a:custGeom>
              <a:avLst/>
              <a:gdLst>
                <a:gd name="T0" fmla="*/ 114 w 134"/>
                <a:gd name="T1" fmla="*/ 19 h 133"/>
                <a:gd name="T2" fmla="*/ 114 w 134"/>
                <a:gd name="T3" fmla="*/ 19 h 133"/>
                <a:gd name="T4" fmla="*/ 93 w 134"/>
                <a:gd name="T5" fmla="*/ 5 h 133"/>
                <a:gd name="T6" fmla="*/ 67 w 134"/>
                <a:gd name="T7" fmla="*/ 0 h 133"/>
                <a:gd name="T8" fmla="*/ 41 w 134"/>
                <a:gd name="T9" fmla="*/ 5 h 133"/>
                <a:gd name="T10" fmla="*/ 20 w 134"/>
                <a:gd name="T11" fmla="*/ 19 h 133"/>
                <a:gd name="T12" fmla="*/ 5 w 134"/>
                <a:gd name="T13" fmla="*/ 41 h 133"/>
                <a:gd name="T14" fmla="*/ 0 w 134"/>
                <a:gd name="T15" fmla="*/ 66 h 133"/>
                <a:gd name="T16" fmla="*/ 5 w 134"/>
                <a:gd name="T17" fmla="*/ 92 h 133"/>
                <a:gd name="T18" fmla="*/ 20 w 134"/>
                <a:gd name="T19" fmla="*/ 114 h 133"/>
                <a:gd name="T20" fmla="*/ 41 w 134"/>
                <a:gd name="T21" fmla="*/ 128 h 133"/>
                <a:gd name="T22" fmla="*/ 67 w 134"/>
                <a:gd name="T23" fmla="*/ 133 h 133"/>
                <a:gd name="T24" fmla="*/ 93 w 134"/>
                <a:gd name="T25" fmla="*/ 128 h 133"/>
                <a:gd name="T26" fmla="*/ 114 w 134"/>
                <a:gd name="T27" fmla="*/ 114 h 133"/>
                <a:gd name="T28" fmla="*/ 128 w 134"/>
                <a:gd name="T29" fmla="*/ 92 h 133"/>
                <a:gd name="T30" fmla="*/ 134 w 134"/>
                <a:gd name="T31" fmla="*/ 66 h 133"/>
                <a:gd name="T32" fmla="*/ 128 w 134"/>
                <a:gd name="T33" fmla="*/ 41 h 133"/>
                <a:gd name="T34" fmla="*/ 114 w 134"/>
                <a:gd name="T35"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3">
                  <a:moveTo>
                    <a:pt x="114" y="19"/>
                  </a:moveTo>
                  <a:lnTo>
                    <a:pt x="114" y="19"/>
                  </a:lnTo>
                  <a:cubicBezTo>
                    <a:pt x="108" y="13"/>
                    <a:pt x="101" y="9"/>
                    <a:pt x="93" y="5"/>
                  </a:cubicBezTo>
                  <a:cubicBezTo>
                    <a:pt x="85" y="2"/>
                    <a:pt x="76" y="0"/>
                    <a:pt x="67" y="0"/>
                  </a:cubicBezTo>
                  <a:cubicBezTo>
                    <a:pt x="58" y="0"/>
                    <a:pt x="49" y="2"/>
                    <a:pt x="41" y="5"/>
                  </a:cubicBezTo>
                  <a:cubicBezTo>
                    <a:pt x="33" y="9"/>
                    <a:pt x="26" y="13"/>
                    <a:pt x="20" y="19"/>
                  </a:cubicBezTo>
                  <a:cubicBezTo>
                    <a:pt x="14" y="25"/>
                    <a:pt x="9" y="32"/>
                    <a:pt x="5" y="41"/>
                  </a:cubicBezTo>
                  <a:cubicBezTo>
                    <a:pt x="2" y="49"/>
                    <a:pt x="0" y="57"/>
                    <a:pt x="0" y="66"/>
                  </a:cubicBezTo>
                  <a:cubicBezTo>
                    <a:pt x="0" y="76"/>
                    <a:pt x="2" y="84"/>
                    <a:pt x="5" y="92"/>
                  </a:cubicBezTo>
                  <a:cubicBezTo>
                    <a:pt x="9" y="101"/>
                    <a:pt x="14" y="108"/>
                    <a:pt x="20" y="114"/>
                  </a:cubicBezTo>
                  <a:cubicBezTo>
                    <a:pt x="26" y="120"/>
                    <a:pt x="33" y="124"/>
                    <a:pt x="41" y="128"/>
                  </a:cubicBezTo>
                  <a:cubicBezTo>
                    <a:pt x="49" y="131"/>
                    <a:pt x="58" y="133"/>
                    <a:pt x="67" y="133"/>
                  </a:cubicBezTo>
                  <a:cubicBezTo>
                    <a:pt x="76" y="133"/>
                    <a:pt x="85" y="131"/>
                    <a:pt x="93" y="128"/>
                  </a:cubicBezTo>
                  <a:cubicBezTo>
                    <a:pt x="101" y="124"/>
                    <a:pt x="108" y="120"/>
                    <a:pt x="114" y="114"/>
                  </a:cubicBezTo>
                  <a:cubicBezTo>
                    <a:pt x="120" y="108"/>
                    <a:pt x="125" y="101"/>
                    <a:pt x="128" y="92"/>
                  </a:cubicBezTo>
                  <a:cubicBezTo>
                    <a:pt x="132" y="84"/>
                    <a:pt x="134" y="76"/>
                    <a:pt x="134" y="66"/>
                  </a:cubicBezTo>
                  <a:cubicBezTo>
                    <a:pt x="134" y="57"/>
                    <a:pt x="132" y="49"/>
                    <a:pt x="128" y="41"/>
                  </a:cubicBezTo>
                  <a:cubicBezTo>
                    <a:pt x="125" y="32"/>
                    <a:pt x="120" y="25"/>
                    <a:pt x="114" y="19"/>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Freeform 236">
              <a:extLst>
                <a:ext uri="{FF2B5EF4-FFF2-40B4-BE49-F238E27FC236}">
                  <a16:creationId xmlns:a16="http://schemas.microsoft.com/office/drawing/2014/main" id="{693E37BD-B200-48A8-A113-659DF743CDD6}"/>
                </a:ext>
              </a:extLst>
            </p:cNvPr>
            <p:cNvSpPr>
              <a:spLocks/>
            </p:cNvSpPr>
            <p:nvPr/>
          </p:nvSpPr>
          <p:spPr bwMode="auto">
            <a:xfrm>
              <a:off x="4333" y="1666"/>
              <a:ext cx="57" cy="33"/>
            </a:xfrm>
            <a:custGeom>
              <a:avLst/>
              <a:gdLst>
                <a:gd name="T0" fmla="*/ 0 w 91"/>
                <a:gd name="T1" fmla="*/ 0 h 53"/>
                <a:gd name="T2" fmla="*/ 0 w 91"/>
                <a:gd name="T3" fmla="*/ 0 h 53"/>
                <a:gd name="T4" fmla="*/ 18 w 91"/>
                <a:gd name="T5" fmla="*/ 53 h 53"/>
                <a:gd name="T6" fmla="*/ 32 w 91"/>
                <a:gd name="T7" fmla="*/ 49 h 53"/>
                <a:gd name="T8" fmla="*/ 47 w 91"/>
                <a:gd name="T9" fmla="*/ 43 h 53"/>
                <a:gd name="T10" fmla="*/ 63 w 91"/>
                <a:gd name="T11" fmla="*/ 35 h 53"/>
                <a:gd name="T12" fmla="*/ 78 w 91"/>
                <a:gd name="T13" fmla="*/ 25 h 53"/>
                <a:gd name="T14" fmla="*/ 88 w 91"/>
                <a:gd name="T15" fmla="*/ 13 h 53"/>
                <a:gd name="T16" fmla="*/ 91 w 91"/>
                <a:gd name="T17" fmla="*/ 0 h 53"/>
                <a:gd name="T18" fmla="*/ 0 w 91"/>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53">
                  <a:moveTo>
                    <a:pt x="0" y="0"/>
                  </a:moveTo>
                  <a:lnTo>
                    <a:pt x="0" y="0"/>
                  </a:lnTo>
                  <a:lnTo>
                    <a:pt x="18" y="53"/>
                  </a:lnTo>
                  <a:cubicBezTo>
                    <a:pt x="22" y="52"/>
                    <a:pt x="27" y="50"/>
                    <a:pt x="32" y="49"/>
                  </a:cubicBezTo>
                  <a:cubicBezTo>
                    <a:pt x="37" y="47"/>
                    <a:pt x="42" y="45"/>
                    <a:pt x="47" y="43"/>
                  </a:cubicBezTo>
                  <a:cubicBezTo>
                    <a:pt x="53" y="41"/>
                    <a:pt x="58" y="38"/>
                    <a:pt x="63" y="35"/>
                  </a:cubicBezTo>
                  <a:cubicBezTo>
                    <a:pt x="69" y="32"/>
                    <a:pt x="73" y="29"/>
                    <a:pt x="78" y="25"/>
                  </a:cubicBezTo>
                  <a:cubicBezTo>
                    <a:pt x="82" y="22"/>
                    <a:pt x="85" y="18"/>
                    <a:pt x="88" y="13"/>
                  </a:cubicBezTo>
                  <a:cubicBezTo>
                    <a:pt x="90" y="9"/>
                    <a:pt x="91" y="5"/>
                    <a:pt x="91" y="0"/>
                  </a:cubicBezTo>
                  <a:lnTo>
                    <a:pt x="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4" name="Group 17">
            <a:extLst>
              <a:ext uri="{FF2B5EF4-FFF2-40B4-BE49-F238E27FC236}">
                <a16:creationId xmlns:a16="http://schemas.microsoft.com/office/drawing/2014/main" id="{402DE1CD-E93E-400C-A27D-D0DAFB032428}"/>
              </a:ext>
            </a:extLst>
          </p:cNvPr>
          <p:cNvGrpSpPr>
            <a:grpSpLocks noChangeAspect="1"/>
          </p:cNvGrpSpPr>
          <p:nvPr/>
        </p:nvGrpSpPr>
        <p:grpSpPr bwMode="auto">
          <a:xfrm>
            <a:off x="3602166" y="3376750"/>
            <a:ext cx="342902" cy="411483"/>
            <a:chOff x="2438" y="846"/>
            <a:chExt cx="165" cy="198"/>
          </a:xfrm>
        </p:grpSpPr>
        <p:sp>
          <p:nvSpPr>
            <p:cNvPr id="155" name="Freeform 18">
              <a:extLst>
                <a:ext uri="{FF2B5EF4-FFF2-40B4-BE49-F238E27FC236}">
                  <a16:creationId xmlns:a16="http://schemas.microsoft.com/office/drawing/2014/main" id="{23231E31-54D8-4431-BD56-557C4C48AB49}"/>
                </a:ext>
              </a:extLst>
            </p:cNvPr>
            <p:cNvSpPr>
              <a:spLocks noEditPoints="1"/>
            </p:cNvSpPr>
            <p:nvPr/>
          </p:nvSpPr>
          <p:spPr bwMode="auto">
            <a:xfrm>
              <a:off x="2438" y="846"/>
              <a:ext cx="66" cy="66"/>
            </a:xfrm>
            <a:custGeom>
              <a:avLst/>
              <a:gdLst>
                <a:gd name="T0" fmla="*/ 51 w 107"/>
                <a:gd name="T1" fmla="*/ 20 h 106"/>
                <a:gd name="T2" fmla="*/ 51 w 107"/>
                <a:gd name="T3" fmla="*/ 20 h 106"/>
                <a:gd name="T4" fmla="*/ 52 w 107"/>
                <a:gd name="T5" fmla="*/ 16 h 106"/>
                <a:gd name="T6" fmla="*/ 53 w 107"/>
                <a:gd name="T7" fmla="*/ 13 h 106"/>
                <a:gd name="T8" fmla="*/ 53 w 107"/>
                <a:gd name="T9" fmla="*/ 13 h 106"/>
                <a:gd name="T10" fmla="*/ 54 w 107"/>
                <a:gd name="T11" fmla="*/ 16 h 106"/>
                <a:gd name="T12" fmla="*/ 55 w 107"/>
                <a:gd name="T13" fmla="*/ 20 h 106"/>
                <a:gd name="T14" fmla="*/ 74 w 107"/>
                <a:gd name="T15" fmla="*/ 65 h 106"/>
                <a:gd name="T16" fmla="*/ 32 w 107"/>
                <a:gd name="T17" fmla="*/ 65 h 106"/>
                <a:gd name="T18" fmla="*/ 51 w 107"/>
                <a:gd name="T19" fmla="*/ 20 h 106"/>
                <a:gd name="T20" fmla="*/ 27 w 107"/>
                <a:gd name="T21" fmla="*/ 76 h 106"/>
                <a:gd name="T22" fmla="*/ 27 w 107"/>
                <a:gd name="T23" fmla="*/ 76 h 106"/>
                <a:gd name="T24" fmla="*/ 78 w 107"/>
                <a:gd name="T25" fmla="*/ 76 h 106"/>
                <a:gd name="T26" fmla="*/ 91 w 107"/>
                <a:gd name="T27" fmla="*/ 106 h 106"/>
                <a:gd name="T28" fmla="*/ 107 w 107"/>
                <a:gd name="T29" fmla="*/ 106 h 106"/>
                <a:gd name="T30" fmla="*/ 61 w 107"/>
                <a:gd name="T31" fmla="*/ 0 h 106"/>
                <a:gd name="T32" fmla="*/ 46 w 107"/>
                <a:gd name="T33" fmla="*/ 0 h 106"/>
                <a:gd name="T34" fmla="*/ 0 w 107"/>
                <a:gd name="T35" fmla="*/ 106 h 106"/>
                <a:gd name="T36" fmla="*/ 16 w 107"/>
                <a:gd name="T37" fmla="*/ 106 h 106"/>
                <a:gd name="T38" fmla="*/ 27 w 107"/>
                <a:gd name="T39" fmla="*/ 7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06">
                  <a:moveTo>
                    <a:pt x="51" y="20"/>
                  </a:moveTo>
                  <a:lnTo>
                    <a:pt x="51" y="20"/>
                  </a:lnTo>
                  <a:cubicBezTo>
                    <a:pt x="52" y="19"/>
                    <a:pt x="52" y="18"/>
                    <a:pt x="52" y="16"/>
                  </a:cubicBezTo>
                  <a:cubicBezTo>
                    <a:pt x="52" y="15"/>
                    <a:pt x="52" y="14"/>
                    <a:pt x="53" y="13"/>
                  </a:cubicBezTo>
                  <a:lnTo>
                    <a:pt x="53" y="13"/>
                  </a:lnTo>
                  <a:cubicBezTo>
                    <a:pt x="54" y="14"/>
                    <a:pt x="54" y="15"/>
                    <a:pt x="54" y="16"/>
                  </a:cubicBezTo>
                  <a:cubicBezTo>
                    <a:pt x="54" y="18"/>
                    <a:pt x="55" y="19"/>
                    <a:pt x="55" y="20"/>
                  </a:cubicBezTo>
                  <a:lnTo>
                    <a:pt x="74" y="65"/>
                  </a:lnTo>
                  <a:lnTo>
                    <a:pt x="32" y="65"/>
                  </a:lnTo>
                  <a:lnTo>
                    <a:pt x="51" y="20"/>
                  </a:lnTo>
                  <a:close/>
                  <a:moveTo>
                    <a:pt x="27" y="76"/>
                  </a:moveTo>
                  <a:lnTo>
                    <a:pt x="27" y="76"/>
                  </a:lnTo>
                  <a:lnTo>
                    <a:pt x="78" y="76"/>
                  </a:lnTo>
                  <a:lnTo>
                    <a:pt x="91" y="106"/>
                  </a:lnTo>
                  <a:lnTo>
                    <a:pt x="107" y="106"/>
                  </a:lnTo>
                  <a:lnTo>
                    <a:pt x="61" y="0"/>
                  </a:lnTo>
                  <a:lnTo>
                    <a:pt x="46" y="0"/>
                  </a:lnTo>
                  <a:lnTo>
                    <a:pt x="0" y="106"/>
                  </a:lnTo>
                  <a:lnTo>
                    <a:pt x="16" y="106"/>
                  </a:lnTo>
                  <a:lnTo>
                    <a:pt x="27" y="7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19">
              <a:extLst>
                <a:ext uri="{FF2B5EF4-FFF2-40B4-BE49-F238E27FC236}">
                  <a16:creationId xmlns:a16="http://schemas.microsoft.com/office/drawing/2014/main" id="{51DBAB74-488F-419B-8A5A-A056EA773E51}"/>
                </a:ext>
              </a:extLst>
            </p:cNvPr>
            <p:cNvSpPr>
              <a:spLocks/>
            </p:cNvSpPr>
            <p:nvPr/>
          </p:nvSpPr>
          <p:spPr bwMode="auto">
            <a:xfrm>
              <a:off x="2438" y="1028"/>
              <a:ext cx="165" cy="16"/>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20">
              <a:extLst>
                <a:ext uri="{FF2B5EF4-FFF2-40B4-BE49-F238E27FC236}">
                  <a16:creationId xmlns:a16="http://schemas.microsoft.com/office/drawing/2014/main" id="{864321DC-2642-425D-8DCC-D1A3DAF49AAC}"/>
                </a:ext>
              </a:extLst>
            </p:cNvPr>
            <p:cNvSpPr>
              <a:spLocks/>
            </p:cNvSpPr>
            <p:nvPr/>
          </p:nvSpPr>
          <p:spPr bwMode="auto">
            <a:xfrm>
              <a:off x="2438" y="995"/>
              <a:ext cx="165" cy="16"/>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Freeform 21">
              <a:extLst>
                <a:ext uri="{FF2B5EF4-FFF2-40B4-BE49-F238E27FC236}">
                  <a16:creationId xmlns:a16="http://schemas.microsoft.com/office/drawing/2014/main" id="{3BB43CF2-FE9F-455C-A9CD-B67E76E0545A}"/>
                </a:ext>
              </a:extLst>
            </p:cNvPr>
            <p:cNvSpPr>
              <a:spLocks/>
            </p:cNvSpPr>
            <p:nvPr/>
          </p:nvSpPr>
          <p:spPr bwMode="auto">
            <a:xfrm>
              <a:off x="2438" y="962"/>
              <a:ext cx="165" cy="16"/>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22">
              <a:extLst>
                <a:ext uri="{FF2B5EF4-FFF2-40B4-BE49-F238E27FC236}">
                  <a16:creationId xmlns:a16="http://schemas.microsoft.com/office/drawing/2014/main" id="{5B37E764-E555-49E9-A064-66059B9160C5}"/>
                </a:ext>
              </a:extLst>
            </p:cNvPr>
            <p:cNvSpPr>
              <a:spLocks/>
            </p:cNvSpPr>
            <p:nvPr/>
          </p:nvSpPr>
          <p:spPr bwMode="auto">
            <a:xfrm>
              <a:off x="2520" y="895"/>
              <a:ext cx="83" cy="17"/>
            </a:xfrm>
            <a:custGeom>
              <a:avLst/>
              <a:gdLst>
                <a:gd name="T0" fmla="*/ 133 w 133"/>
                <a:gd name="T1" fmla="*/ 0 h 27"/>
                <a:gd name="T2" fmla="*/ 133 w 133"/>
                <a:gd name="T3" fmla="*/ 0 h 27"/>
                <a:gd name="T4" fmla="*/ 0 w 133"/>
                <a:gd name="T5" fmla="*/ 0 h 27"/>
                <a:gd name="T6" fmla="*/ 0 w 133"/>
                <a:gd name="T7" fmla="*/ 27 h 27"/>
                <a:gd name="T8" fmla="*/ 133 w 133"/>
                <a:gd name="T9" fmla="*/ 27 h 27"/>
                <a:gd name="T10" fmla="*/ 133 w 133"/>
                <a:gd name="T11" fmla="*/ 0 h 27"/>
              </a:gdLst>
              <a:ahLst/>
              <a:cxnLst>
                <a:cxn ang="0">
                  <a:pos x="T0" y="T1"/>
                </a:cxn>
                <a:cxn ang="0">
                  <a:pos x="T2" y="T3"/>
                </a:cxn>
                <a:cxn ang="0">
                  <a:pos x="T4" y="T5"/>
                </a:cxn>
                <a:cxn ang="0">
                  <a:pos x="T6" y="T7"/>
                </a:cxn>
                <a:cxn ang="0">
                  <a:pos x="T8" y="T9"/>
                </a:cxn>
                <a:cxn ang="0">
                  <a:pos x="T10" y="T11"/>
                </a:cxn>
              </a:cxnLst>
              <a:rect l="0" t="0" r="r" b="b"/>
              <a:pathLst>
                <a:path w="133" h="27">
                  <a:moveTo>
                    <a:pt x="133" y="0"/>
                  </a:moveTo>
                  <a:lnTo>
                    <a:pt x="133" y="0"/>
                  </a:lnTo>
                  <a:lnTo>
                    <a:pt x="0" y="0"/>
                  </a:lnTo>
                  <a:lnTo>
                    <a:pt x="0" y="27"/>
                  </a:lnTo>
                  <a:lnTo>
                    <a:pt x="133" y="27"/>
                  </a:lnTo>
                  <a:lnTo>
                    <a:pt x="133"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23">
              <a:extLst>
                <a:ext uri="{FF2B5EF4-FFF2-40B4-BE49-F238E27FC236}">
                  <a16:creationId xmlns:a16="http://schemas.microsoft.com/office/drawing/2014/main" id="{C375859A-BE5D-40C5-8E69-69B5975A16FA}"/>
                </a:ext>
              </a:extLst>
            </p:cNvPr>
            <p:cNvSpPr>
              <a:spLocks/>
            </p:cNvSpPr>
            <p:nvPr/>
          </p:nvSpPr>
          <p:spPr bwMode="auto">
            <a:xfrm>
              <a:off x="2438" y="929"/>
              <a:ext cx="165" cy="16"/>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1" name="Group 12">
            <a:extLst>
              <a:ext uri="{FF2B5EF4-FFF2-40B4-BE49-F238E27FC236}">
                <a16:creationId xmlns:a16="http://schemas.microsoft.com/office/drawing/2014/main" id="{9E9945EB-6D29-469D-9388-AB7941AE7F75}"/>
              </a:ext>
            </a:extLst>
          </p:cNvPr>
          <p:cNvGrpSpPr>
            <a:grpSpLocks noChangeAspect="1"/>
          </p:cNvGrpSpPr>
          <p:nvPr/>
        </p:nvGrpSpPr>
        <p:grpSpPr bwMode="auto">
          <a:xfrm>
            <a:off x="3596611" y="2439028"/>
            <a:ext cx="354013" cy="314326"/>
            <a:chOff x="1571" y="849"/>
            <a:chExt cx="223" cy="198"/>
          </a:xfrm>
        </p:grpSpPr>
        <p:sp>
          <p:nvSpPr>
            <p:cNvPr id="162" name="Freeform 13">
              <a:extLst>
                <a:ext uri="{FF2B5EF4-FFF2-40B4-BE49-F238E27FC236}">
                  <a16:creationId xmlns:a16="http://schemas.microsoft.com/office/drawing/2014/main" id="{3AFEAC75-4245-4A89-A07E-FC947E6E9FB5}"/>
                </a:ext>
              </a:extLst>
            </p:cNvPr>
            <p:cNvSpPr>
              <a:spLocks noEditPoints="1"/>
            </p:cNvSpPr>
            <p:nvPr/>
          </p:nvSpPr>
          <p:spPr bwMode="auto">
            <a:xfrm>
              <a:off x="1634" y="898"/>
              <a:ext cx="160" cy="149"/>
            </a:xfrm>
            <a:custGeom>
              <a:avLst/>
              <a:gdLst>
                <a:gd name="T0" fmla="*/ 84 w 257"/>
                <a:gd name="T1" fmla="*/ 133 h 240"/>
                <a:gd name="T2" fmla="*/ 84 w 257"/>
                <a:gd name="T3" fmla="*/ 133 h 240"/>
                <a:gd name="T4" fmla="*/ 119 w 257"/>
                <a:gd name="T5" fmla="*/ 54 h 240"/>
                <a:gd name="T6" fmla="*/ 156 w 257"/>
                <a:gd name="T7" fmla="*/ 133 h 240"/>
                <a:gd name="T8" fmla="*/ 84 w 257"/>
                <a:gd name="T9" fmla="*/ 133 h 240"/>
                <a:gd name="T10" fmla="*/ 257 w 257"/>
                <a:gd name="T11" fmla="*/ 230 h 240"/>
                <a:gd name="T12" fmla="*/ 257 w 257"/>
                <a:gd name="T13" fmla="*/ 230 h 240"/>
                <a:gd name="T14" fmla="*/ 240 w 257"/>
                <a:gd name="T15" fmla="*/ 228 h 240"/>
                <a:gd name="T16" fmla="*/ 230 w 257"/>
                <a:gd name="T17" fmla="*/ 221 h 240"/>
                <a:gd name="T18" fmla="*/ 223 w 257"/>
                <a:gd name="T19" fmla="*/ 210 h 240"/>
                <a:gd name="T20" fmla="*/ 216 w 257"/>
                <a:gd name="T21" fmla="*/ 195 h 240"/>
                <a:gd name="T22" fmla="*/ 136 w 257"/>
                <a:gd name="T23" fmla="*/ 0 h 240"/>
                <a:gd name="T24" fmla="*/ 119 w 257"/>
                <a:gd name="T25" fmla="*/ 0 h 240"/>
                <a:gd name="T26" fmla="*/ 38 w 257"/>
                <a:gd name="T27" fmla="*/ 192 h 240"/>
                <a:gd name="T28" fmla="*/ 31 w 257"/>
                <a:gd name="T29" fmla="*/ 209 h 240"/>
                <a:gd name="T30" fmla="*/ 25 w 257"/>
                <a:gd name="T31" fmla="*/ 219 h 240"/>
                <a:gd name="T32" fmla="*/ 16 w 257"/>
                <a:gd name="T33" fmla="*/ 226 h 240"/>
                <a:gd name="T34" fmla="*/ 0 w 257"/>
                <a:gd name="T35" fmla="*/ 230 h 240"/>
                <a:gd name="T36" fmla="*/ 0 w 257"/>
                <a:gd name="T37" fmla="*/ 240 h 240"/>
                <a:gd name="T38" fmla="*/ 78 w 257"/>
                <a:gd name="T39" fmla="*/ 240 h 240"/>
                <a:gd name="T40" fmla="*/ 78 w 257"/>
                <a:gd name="T41" fmla="*/ 230 h 240"/>
                <a:gd name="T42" fmla="*/ 71 w 257"/>
                <a:gd name="T43" fmla="*/ 230 h 240"/>
                <a:gd name="T44" fmla="*/ 63 w 257"/>
                <a:gd name="T45" fmla="*/ 229 h 240"/>
                <a:gd name="T46" fmla="*/ 56 w 257"/>
                <a:gd name="T47" fmla="*/ 226 h 240"/>
                <a:gd name="T48" fmla="*/ 54 w 257"/>
                <a:gd name="T49" fmla="*/ 218 h 240"/>
                <a:gd name="T50" fmla="*/ 55 w 257"/>
                <a:gd name="T51" fmla="*/ 210 h 240"/>
                <a:gd name="T52" fmla="*/ 59 w 257"/>
                <a:gd name="T53" fmla="*/ 199 h 240"/>
                <a:gd name="T54" fmla="*/ 63 w 257"/>
                <a:gd name="T55" fmla="*/ 187 h 240"/>
                <a:gd name="T56" fmla="*/ 68 w 257"/>
                <a:gd name="T57" fmla="*/ 175 h 240"/>
                <a:gd name="T58" fmla="*/ 73 w 257"/>
                <a:gd name="T59" fmla="*/ 166 h 240"/>
                <a:gd name="T60" fmla="*/ 75 w 257"/>
                <a:gd name="T61" fmla="*/ 160 h 240"/>
                <a:gd name="T62" fmla="*/ 168 w 257"/>
                <a:gd name="T63" fmla="*/ 160 h 240"/>
                <a:gd name="T64" fmla="*/ 170 w 257"/>
                <a:gd name="T65" fmla="*/ 165 h 240"/>
                <a:gd name="T66" fmla="*/ 174 w 257"/>
                <a:gd name="T67" fmla="*/ 175 h 240"/>
                <a:gd name="T68" fmla="*/ 179 w 257"/>
                <a:gd name="T69" fmla="*/ 187 h 240"/>
                <a:gd name="T70" fmla="*/ 183 w 257"/>
                <a:gd name="T71" fmla="*/ 199 h 240"/>
                <a:gd name="T72" fmla="*/ 186 w 257"/>
                <a:gd name="T73" fmla="*/ 211 h 240"/>
                <a:gd name="T74" fmla="*/ 188 w 257"/>
                <a:gd name="T75" fmla="*/ 219 h 240"/>
                <a:gd name="T76" fmla="*/ 185 w 257"/>
                <a:gd name="T77" fmla="*/ 226 h 240"/>
                <a:gd name="T78" fmla="*/ 179 w 257"/>
                <a:gd name="T79" fmla="*/ 230 h 240"/>
                <a:gd name="T80" fmla="*/ 171 w 257"/>
                <a:gd name="T81" fmla="*/ 231 h 240"/>
                <a:gd name="T82" fmla="*/ 163 w 257"/>
                <a:gd name="T83" fmla="*/ 230 h 240"/>
                <a:gd name="T84" fmla="*/ 163 w 257"/>
                <a:gd name="T85" fmla="*/ 240 h 240"/>
                <a:gd name="T86" fmla="*/ 257 w 257"/>
                <a:gd name="T87" fmla="*/ 240 h 240"/>
                <a:gd name="T88" fmla="*/ 257 w 257"/>
                <a:gd name="T8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7" h="240">
                  <a:moveTo>
                    <a:pt x="84" y="133"/>
                  </a:moveTo>
                  <a:lnTo>
                    <a:pt x="84" y="133"/>
                  </a:lnTo>
                  <a:lnTo>
                    <a:pt x="119" y="54"/>
                  </a:lnTo>
                  <a:lnTo>
                    <a:pt x="156" y="133"/>
                  </a:lnTo>
                  <a:lnTo>
                    <a:pt x="84" y="133"/>
                  </a:lnTo>
                  <a:close/>
                  <a:moveTo>
                    <a:pt x="257" y="230"/>
                  </a:moveTo>
                  <a:lnTo>
                    <a:pt x="257" y="230"/>
                  </a:lnTo>
                  <a:cubicBezTo>
                    <a:pt x="250" y="230"/>
                    <a:pt x="244" y="230"/>
                    <a:pt x="240" y="228"/>
                  </a:cubicBezTo>
                  <a:cubicBezTo>
                    <a:pt x="236" y="226"/>
                    <a:pt x="233" y="224"/>
                    <a:pt x="230" y="221"/>
                  </a:cubicBezTo>
                  <a:cubicBezTo>
                    <a:pt x="227" y="218"/>
                    <a:pt x="225" y="214"/>
                    <a:pt x="223" y="210"/>
                  </a:cubicBezTo>
                  <a:cubicBezTo>
                    <a:pt x="221" y="205"/>
                    <a:pt x="219" y="200"/>
                    <a:pt x="216" y="195"/>
                  </a:cubicBezTo>
                  <a:lnTo>
                    <a:pt x="136" y="0"/>
                  </a:lnTo>
                  <a:lnTo>
                    <a:pt x="119" y="0"/>
                  </a:lnTo>
                  <a:lnTo>
                    <a:pt x="38" y="192"/>
                  </a:lnTo>
                  <a:cubicBezTo>
                    <a:pt x="35" y="199"/>
                    <a:pt x="33" y="204"/>
                    <a:pt x="31" y="209"/>
                  </a:cubicBezTo>
                  <a:cubicBezTo>
                    <a:pt x="29" y="213"/>
                    <a:pt x="27" y="217"/>
                    <a:pt x="25" y="219"/>
                  </a:cubicBezTo>
                  <a:cubicBezTo>
                    <a:pt x="22" y="222"/>
                    <a:pt x="19" y="224"/>
                    <a:pt x="16" y="226"/>
                  </a:cubicBezTo>
                  <a:cubicBezTo>
                    <a:pt x="12" y="228"/>
                    <a:pt x="7" y="229"/>
                    <a:pt x="0" y="230"/>
                  </a:cubicBezTo>
                  <a:lnTo>
                    <a:pt x="0" y="240"/>
                  </a:lnTo>
                  <a:lnTo>
                    <a:pt x="78" y="240"/>
                  </a:lnTo>
                  <a:lnTo>
                    <a:pt x="78" y="230"/>
                  </a:lnTo>
                  <a:cubicBezTo>
                    <a:pt x="76" y="230"/>
                    <a:pt x="73" y="230"/>
                    <a:pt x="71" y="230"/>
                  </a:cubicBezTo>
                  <a:cubicBezTo>
                    <a:pt x="68" y="230"/>
                    <a:pt x="65" y="230"/>
                    <a:pt x="63" y="229"/>
                  </a:cubicBezTo>
                  <a:cubicBezTo>
                    <a:pt x="60" y="228"/>
                    <a:pt x="58" y="227"/>
                    <a:pt x="56" y="226"/>
                  </a:cubicBezTo>
                  <a:cubicBezTo>
                    <a:pt x="55" y="224"/>
                    <a:pt x="54" y="222"/>
                    <a:pt x="54" y="218"/>
                  </a:cubicBezTo>
                  <a:cubicBezTo>
                    <a:pt x="54" y="216"/>
                    <a:pt x="54" y="214"/>
                    <a:pt x="55" y="210"/>
                  </a:cubicBezTo>
                  <a:cubicBezTo>
                    <a:pt x="56" y="207"/>
                    <a:pt x="57" y="203"/>
                    <a:pt x="59" y="199"/>
                  </a:cubicBezTo>
                  <a:cubicBezTo>
                    <a:pt x="60" y="195"/>
                    <a:pt x="62" y="191"/>
                    <a:pt x="63" y="187"/>
                  </a:cubicBezTo>
                  <a:cubicBezTo>
                    <a:pt x="65" y="183"/>
                    <a:pt x="67" y="179"/>
                    <a:pt x="68" y="175"/>
                  </a:cubicBezTo>
                  <a:cubicBezTo>
                    <a:pt x="70" y="171"/>
                    <a:pt x="71" y="168"/>
                    <a:pt x="73" y="166"/>
                  </a:cubicBezTo>
                  <a:cubicBezTo>
                    <a:pt x="74" y="163"/>
                    <a:pt x="75" y="161"/>
                    <a:pt x="75" y="160"/>
                  </a:cubicBezTo>
                  <a:lnTo>
                    <a:pt x="168" y="160"/>
                  </a:lnTo>
                  <a:cubicBezTo>
                    <a:pt x="168" y="161"/>
                    <a:pt x="169" y="163"/>
                    <a:pt x="170" y="165"/>
                  </a:cubicBezTo>
                  <a:cubicBezTo>
                    <a:pt x="171" y="168"/>
                    <a:pt x="173" y="171"/>
                    <a:pt x="174" y="175"/>
                  </a:cubicBezTo>
                  <a:cubicBezTo>
                    <a:pt x="176" y="179"/>
                    <a:pt x="177" y="183"/>
                    <a:pt x="179" y="187"/>
                  </a:cubicBezTo>
                  <a:cubicBezTo>
                    <a:pt x="180" y="191"/>
                    <a:pt x="182" y="195"/>
                    <a:pt x="183" y="199"/>
                  </a:cubicBezTo>
                  <a:cubicBezTo>
                    <a:pt x="184" y="203"/>
                    <a:pt x="186" y="207"/>
                    <a:pt x="186" y="211"/>
                  </a:cubicBezTo>
                  <a:cubicBezTo>
                    <a:pt x="187" y="214"/>
                    <a:pt x="188" y="217"/>
                    <a:pt x="188" y="219"/>
                  </a:cubicBezTo>
                  <a:cubicBezTo>
                    <a:pt x="188" y="222"/>
                    <a:pt x="187" y="225"/>
                    <a:pt x="185" y="226"/>
                  </a:cubicBezTo>
                  <a:cubicBezTo>
                    <a:pt x="184" y="228"/>
                    <a:pt x="182" y="229"/>
                    <a:pt x="179" y="230"/>
                  </a:cubicBezTo>
                  <a:cubicBezTo>
                    <a:pt x="177" y="230"/>
                    <a:pt x="174" y="231"/>
                    <a:pt x="171" y="231"/>
                  </a:cubicBezTo>
                  <a:cubicBezTo>
                    <a:pt x="168" y="231"/>
                    <a:pt x="166" y="230"/>
                    <a:pt x="163" y="230"/>
                  </a:cubicBezTo>
                  <a:lnTo>
                    <a:pt x="163" y="240"/>
                  </a:lnTo>
                  <a:lnTo>
                    <a:pt x="257" y="240"/>
                  </a:lnTo>
                  <a:lnTo>
                    <a:pt x="257" y="23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4">
              <a:extLst>
                <a:ext uri="{FF2B5EF4-FFF2-40B4-BE49-F238E27FC236}">
                  <a16:creationId xmlns:a16="http://schemas.microsoft.com/office/drawing/2014/main" id="{62FDD56E-9AA8-4E75-A26A-CC4A0FB2CF22}"/>
                </a:ext>
              </a:extLst>
            </p:cNvPr>
            <p:cNvSpPr>
              <a:spLocks noEditPoints="1"/>
            </p:cNvSpPr>
            <p:nvPr/>
          </p:nvSpPr>
          <p:spPr bwMode="auto">
            <a:xfrm>
              <a:off x="1571" y="849"/>
              <a:ext cx="96" cy="132"/>
            </a:xfrm>
            <a:custGeom>
              <a:avLst/>
              <a:gdLst>
                <a:gd name="T0" fmla="*/ 55 w 155"/>
                <a:gd name="T1" fmla="*/ 133 h 212"/>
                <a:gd name="T2" fmla="*/ 55 w 155"/>
                <a:gd name="T3" fmla="*/ 133 h 212"/>
                <a:gd name="T4" fmla="*/ 85 w 155"/>
                <a:gd name="T5" fmla="*/ 42 h 212"/>
                <a:gd name="T6" fmla="*/ 115 w 155"/>
                <a:gd name="T7" fmla="*/ 133 h 212"/>
                <a:gd name="T8" fmla="*/ 55 w 155"/>
                <a:gd name="T9" fmla="*/ 133 h 212"/>
                <a:gd name="T10" fmla="*/ 71 w 155"/>
                <a:gd name="T11" fmla="*/ 0 h 212"/>
                <a:gd name="T12" fmla="*/ 71 w 155"/>
                <a:gd name="T13" fmla="*/ 0 h 212"/>
                <a:gd name="T14" fmla="*/ 0 w 155"/>
                <a:gd name="T15" fmla="*/ 212 h 212"/>
                <a:gd name="T16" fmla="*/ 28 w 155"/>
                <a:gd name="T17" fmla="*/ 212 h 212"/>
                <a:gd name="T18" fmla="*/ 46 w 155"/>
                <a:gd name="T19" fmla="*/ 159 h 212"/>
                <a:gd name="T20" fmla="*/ 124 w 155"/>
                <a:gd name="T21" fmla="*/ 159 h 212"/>
                <a:gd name="T22" fmla="*/ 138 w 155"/>
                <a:gd name="T23" fmla="*/ 200 h 212"/>
                <a:gd name="T24" fmla="*/ 155 w 155"/>
                <a:gd name="T25" fmla="*/ 166 h 212"/>
                <a:gd name="T26" fmla="*/ 99 w 155"/>
                <a:gd name="T27" fmla="*/ 0 h 212"/>
                <a:gd name="T28" fmla="*/ 71 w 155"/>
                <a:gd name="T2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2">
                  <a:moveTo>
                    <a:pt x="55" y="133"/>
                  </a:moveTo>
                  <a:lnTo>
                    <a:pt x="55" y="133"/>
                  </a:lnTo>
                  <a:lnTo>
                    <a:pt x="85" y="42"/>
                  </a:lnTo>
                  <a:lnTo>
                    <a:pt x="115" y="133"/>
                  </a:lnTo>
                  <a:lnTo>
                    <a:pt x="55" y="133"/>
                  </a:lnTo>
                  <a:close/>
                  <a:moveTo>
                    <a:pt x="71" y="0"/>
                  </a:moveTo>
                  <a:lnTo>
                    <a:pt x="71" y="0"/>
                  </a:lnTo>
                  <a:lnTo>
                    <a:pt x="0" y="212"/>
                  </a:lnTo>
                  <a:lnTo>
                    <a:pt x="28" y="212"/>
                  </a:lnTo>
                  <a:lnTo>
                    <a:pt x="46" y="159"/>
                  </a:lnTo>
                  <a:lnTo>
                    <a:pt x="124" y="159"/>
                  </a:lnTo>
                  <a:lnTo>
                    <a:pt x="138" y="200"/>
                  </a:lnTo>
                  <a:lnTo>
                    <a:pt x="155" y="166"/>
                  </a:lnTo>
                  <a:lnTo>
                    <a:pt x="99" y="0"/>
                  </a:lnTo>
                  <a:lnTo>
                    <a:pt x="71"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4" name="Group 163">
            <a:extLst>
              <a:ext uri="{FF2B5EF4-FFF2-40B4-BE49-F238E27FC236}">
                <a16:creationId xmlns:a16="http://schemas.microsoft.com/office/drawing/2014/main" id="{338DFC20-3BDF-4A31-91F2-3A42EA5E5563}"/>
              </a:ext>
            </a:extLst>
          </p:cNvPr>
          <p:cNvGrpSpPr/>
          <p:nvPr/>
        </p:nvGrpSpPr>
        <p:grpSpPr>
          <a:xfrm>
            <a:off x="10686709" y="1023976"/>
            <a:ext cx="904960" cy="276999"/>
            <a:chOff x="6821768" y="2945839"/>
            <a:chExt cx="1757536" cy="537963"/>
          </a:xfrm>
        </p:grpSpPr>
        <p:sp>
          <p:nvSpPr>
            <p:cNvPr id="166" name="Freeform 205">
              <a:extLst>
                <a:ext uri="{FF2B5EF4-FFF2-40B4-BE49-F238E27FC236}">
                  <a16:creationId xmlns:a16="http://schemas.microsoft.com/office/drawing/2014/main" id="{3C4DDE18-7BD1-4DC3-BDC6-27C7367725DB}"/>
                </a:ext>
              </a:extLst>
            </p:cNvPr>
            <p:cNvSpPr/>
            <p:nvPr/>
          </p:nvSpPr>
          <p:spPr bwMode="auto">
            <a:xfrm>
              <a:off x="6821768" y="2945839"/>
              <a:ext cx="771548" cy="526622"/>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167" name="Freeform: Shape 166">
              <a:extLst>
                <a:ext uri="{FF2B5EF4-FFF2-40B4-BE49-F238E27FC236}">
                  <a16:creationId xmlns:a16="http://schemas.microsoft.com/office/drawing/2014/main" id="{40146B18-8E2D-4FBA-8089-51C4588388B0}"/>
                </a:ext>
              </a:extLst>
            </p:cNvPr>
            <p:cNvSpPr/>
            <p:nvPr/>
          </p:nvSpPr>
          <p:spPr>
            <a:xfrm>
              <a:off x="7759398" y="3004568"/>
              <a:ext cx="819906"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5" name="Straight Connector 4">
            <a:extLst>
              <a:ext uri="{FF2B5EF4-FFF2-40B4-BE49-F238E27FC236}">
                <a16:creationId xmlns:a16="http://schemas.microsoft.com/office/drawing/2014/main" id="{8CC805F9-217A-4C1E-B23E-CE15E771FE06}"/>
              </a:ext>
            </a:extLst>
          </p:cNvPr>
          <p:cNvCxnSpPr>
            <a:cxnSpLocks/>
          </p:cNvCxnSpPr>
          <p:nvPr/>
        </p:nvCxnSpPr>
        <p:spPr>
          <a:xfrm>
            <a:off x="1078882" y="5019933"/>
            <a:ext cx="833255"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4E7C443D-1B34-45C3-81E3-90EBB3715FB6}"/>
              </a:ext>
            </a:extLst>
          </p:cNvPr>
          <p:cNvSpPr txBox="1"/>
          <p:nvPr/>
        </p:nvSpPr>
        <p:spPr>
          <a:xfrm>
            <a:off x="1123667" y="5062744"/>
            <a:ext cx="974266" cy="415498"/>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0078D4"/>
                </a:solidFill>
                <a:effectLst/>
                <a:uLnTx/>
                <a:uFillTx/>
                <a:latin typeface="+mj-lt"/>
                <a:cs typeface="Segoe UI" panose="020B05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Azure Blob Storage</a:t>
            </a:r>
          </a:p>
        </p:txBody>
      </p:sp>
      <p:sp>
        <p:nvSpPr>
          <p:cNvPr id="92" name="Rectangle 91">
            <a:extLst>
              <a:ext uri="{FF2B5EF4-FFF2-40B4-BE49-F238E27FC236}">
                <a16:creationId xmlns:a16="http://schemas.microsoft.com/office/drawing/2014/main" id="{20C2E6E0-12E4-4B10-954C-CB9AFFC019CD}"/>
              </a:ext>
            </a:extLst>
          </p:cNvPr>
          <p:cNvSpPr/>
          <p:nvPr/>
        </p:nvSpPr>
        <p:spPr bwMode="auto">
          <a:xfrm>
            <a:off x="25926" y="5637923"/>
            <a:ext cx="12192001" cy="327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sp>
        <p:nvSpPr>
          <p:cNvPr id="106" name="Freeform 220">
            <a:extLst>
              <a:ext uri="{FF2B5EF4-FFF2-40B4-BE49-F238E27FC236}">
                <a16:creationId xmlns:a16="http://schemas.microsoft.com/office/drawing/2014/main" id="{54DF214B-7709-48B0-92AA-8B8ACA4C8849}"/>
              </a:ext>
            </a:extLst>
          </p:cNvPr>
          <p:cNvSpPr/>
          <p:nvPr/>
        </p:nvSpPr>
        <p:spPr bwMode="auto">
          <a:xfrm>
            <a:off x="9731808" y="4645841"/>
            <a:ext cx="298162" cy="29816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reeform 163">
            <a:extLst>
              <a:ext uri="{FF2B5EF4-FFF2-40B4-BE49-F238E27FC236}">
                <a16:creationId xmlns:a16="http://schemas.microsoft.com/office/drawing/2014/main" id="{D0DA26C2-75EE-4428-8360-A0061363D9A5}"/>
              </a:ext>
            </a:extLst>
          </p:cNvPr>
          <p:cNvSpPr/>
          <p:nvPr/>
        </p:nvSpPr>
        <p:spPr bwMode="auto">
          <a:xfrm>
            <a:off x="919578" y="5161196"/>
            <a:ext cx="281084" cy="242996"/>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Text Placeholder 4">
            <a:extLst>
              <a:ext uri="{FF2B5EF4-FFF2-40B4-BE49-F238E27FC236}">
                <a16:creationId xmlns:a16="http://schemas.microsoft.com/office/drawing/2014/main" id="{119B6498-7B4C-462D-87D1-BC329647AE72}"/>
              </a:ext>
            </a:extLst>
          </p:cNvPr>
          <p:cNvSpPr txBox="1">
            <a:spLocks/>
          </p:cNvSpPr>
          <p:nvPr/>
        </p:nvSpPr>
        <p:spPr>
          <a:xfrm>
            <a:off x="325027" y="5689254"/>
            <a:ext cx="11841047" cy="1083374"/>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1400" b="1">
                <a:solidFill>
                  <a:srgbClr val="505050"/>
                </a:solidFill>
                <a:latin typeface="Segoe UI"/>
              </a:rPr>
              <a:t>Example Scenario: Analyze &amp; search contracts &amp; content to determine release permissions </a:t>
            </a:r>
          </a:p>
          <a:p>
            <a:pPr>
              <a:defRPr/>
            </a:pPr>
            <a:r>
              <a:rPr lang="en-US" sz="1400">
                <a:solidFill>
                  <a:srgbClr val="505050"/>
                </a:solidFill>
                <a:latin typeface="Segoe UI"/>
              </a:rPr>
              <a:t>A media company has an archive of images and video content that their staff produces regularly</a:t>
            </a:r>
          </a:p>
          <a:p>
            <a:pPr>
              <a:defRPr/>
            </a:pPr>
            <a:r>
              <a:rPr lang="en-US" sz="1400">
                <a:solidFill>
                  <a:srgbClr val="505050"/>
                </a:solidFill>
                <a:latin typeface="Segoe UI"/>
              </a:rPr>
              <a:t>They also have handwritten release forms from individuals who have given permission to be photographed</a:t>
            </a:r>
          </a:p>
          <a:p>
            <a:pPr>
              <a:defRPr/>
            </a:pPr>
            <a:r>
              <a:rPr lang="en-US" sz="1400">
                <a:solidFill>
                  <a:srgbClr val="505050"/>
                </a:solidFill>
                <a:latin typeface="Segoe UI"/>
              </a:rPr>
              <a:t>Azure search identifies related documents in their DAM to ensure rights and releases with each image are easily accessible.</a:t>
            </a:r>
          </a:p>
        </p:txBody>
      </p:sp>
      <p:sp>
        <p:nvSpPr>
          <p:cNvPr id="105" name="Title 1">
            <a:extLst>
              <a:ext uri="{FF2B5EF4-FFF2-40B4-BE49-F238E27FC236}">
                <a16:creationId xmlns:a16="http://schemas.microsoft.com/office/drawing/2014/main" id="{B67B25ED-A4FA-44AC-BD7A-F8ED3BDF5895}"/>
              </a:ext>
            </a:extLst>
          </p:cNvPr>
          <p:cNvSpPr txBox="1">
            <a:spLocks/>
          </p:cNvSpPr>
          <p:nvPr/>
        </p:nvSpPr>
        <p:spPr>
          <a:xfrm>
            <a:off x="201405" y="577576"/>
            <a:ext cx="11655840" cy="1194541"/>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Entity Linking &amp; Document Matching</a:t>
            </a:r>
          </a:p>
        </p:txBody>
      </p:sp>
    </p:spTree>
    <p:extLst>
      <p:ext uri="{BB962C8B-B14F-4D97-AF65-F5344CB8AC3E}">
        <p14:creationId xmlns:p14="http://schemas.microsoft.com/office/powerpoint/2010/main" val="3801494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C1F49FFF-5164-4C92-A086-6DD899DC6C63}"/>
              </a:ext>
            </a:extLst>
          </p:cNvPr>
          <p:cNvSpPr/>
          <p:nvPr/>
        </p:nvSpPr>
        <p:spPr bwMode="auto">
          <a:xfrm>
            <a:off x="6277641" y="2062360"/>
            <a:ext cx="2064951" cy="3047545"/>
          </a:xfrm>
          <a:prstGeom prst="rect">
            <a:avLst/>
          </a:prstGeom>
          <a:solidFill>
            <a:srgbClr val="F7F7F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94" name="Rectangle 93">
            <a:extLst>
              <a:ext uri="{FF2B5EF4-FFF2-40B4-BE49-F238E27FC236}">
                <a16:creationId xmlns:a16="http://schemas.microsoft.com/office/drawing/2014/main" id="{9BE1700C-C375-4D29-8496-99E41387F3C5}"/>
              </a:ext>
            </a:extLst>
          </p:cNvPr>
          <p:cNvSpPr/>
          <p:nvPr/>
        </p:nvSpPr>
        <p:spPr bwMode="auto">
          <a:xfrm>
            <a:off x="4127387" y="2007911"/>
            <a:ext cx="1950799" cy="3430861"/>
          </a:xfrm>
          <a:prstGeom prst="rect">
            <a:avLst/>
          </a:prstGeom>
          <a:solidFill>
            <a:srgbClr val="F7F7F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endPar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1" name="TextBox 40">
            <a:extLst>
              <a:ext uri="{FF2B5EF4-FFF2-40B4-BE49-F238E27FC236}">
                <a16:creationId xmlns:a16="http://schemas.microsoft.com/office/drawing/2014/main" id="{A2C93E83-7E59-4518-BAAA-F7CA635AD5DA}"/>
              </a:ext>
            </a:extLst>
          </p:cNvPr>
          <p:cNvSpPr txBox="1"/>
          <p:nvPr/>
        </p:nvSpPr>
        <p:spPr>
          <a:xfrm>
            <a:off x="124451" y="4104844"/>
            <a:ext cx="1285784" cy="253916"/>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Images</a:t>
            </a:r>
          </a:p>
        </p:txBody>
      </p:sp>
      <p:sp>
        <p:nvSpPr>
          <p:cNvPr id="52" name="Rectangle 51">
            <a:extLst>
              <a:ext uri="{FF2B5EF4-FFF2-40B4-BE49-F238E27FC236}">
                <a16:creationId xmlns:a16="http://schemas.microsoft.com/office/drawing/2014/main" id="{C1F10919-6558-4C80-9F5C-9A596C41E594}"/>
              </a:ext>
            </a:extLst>
          </p:cNvPr>
          <p:cNvSpPr/>
          <p:nvPr/>
        </p:nvSpPr>
        <p:spPr>
          <a:xfrm>
            <a:off x="2008666" y="4104844"/>
            <a:ext cx="1604031"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Document cracking (OCR)</a:t>
            </a:r>
          </a:p>
        </p:txBody>
      </p:sp>
      <p:cxnSp>
        <p:nvCxnSpPr>
          <p:cNvPr id="53" name="Straight Arrow Connector 52">
            <a:extLst>
              <a:ext uri="{FF2B5EF4-FFF2-40B4-BE49-F238E27FC236}">
                <a16:creationId xmlns:a16="http://schemas.microsoft.com/office/drawing/2014/main" id="{595EEA1C-7177-4489-8D33-4871947A4AD8}"/>
              </a:ext>
            </a:extLst>
          </p:cNvPr>
          <p:cNvCxnSpPr>
            <a:cxnSpLocks/>
          </p:cNvCxnSpPr>
          <p:nvPr/>
        </p:nvCxnSpPr>
        <p:spPr>
          <a:xfrm>
            <a:off x="3583207" y="3698216"/>
            <a:ext cx="523543"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6A16437-C9CB-42B1-8E44-E3003F72CEE5}"/>
              </a:ext>
            </a:extLst>
          </p:cNvPr>
          <p:cNvCxnSpPr>
            <a:cxnSpLocks/>
          </p:cNvCxnSpPr>
          <p:nvPr/>
        </p:nvCxnSpPr>
        <p:spPr>
          <a:xfrm>
            <a:off x="9545367" y="4324089"/>
            <a:ext cx="558423"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EA1722E7-245F-456E-BC4B-82CF2C4FFD9F}"/>
              </a:ext>
            </a:extLst>
          </p:cNvPr>
          <p:cNvSpPr/>
          <p:nvPr/>
        </p:nvSpPr>
        <p:spPr>
          <a:xfrm>
            <a:off x="29807" y="212105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Ingest</a:t>
            </a:r>
          </a:p>
        </p:txBody>
      </p:sp>
      <p:cxnSp>
        <p:nvCxnSpPr>
          <p:cNvPr id="62" name="Straight Arrow Connector 61">
            <a:extLst>
              <a:ext uri="{FF2B5EF4-FFF2-40B4-BE49-F238E27FC236}">
                <a16:creationId xmlns:a16="http://schemas.microsoft.com/office/drawing/2014/main" id="{488F99B4-E204-47CB-B40A-E990A871F940}"/>
              </a:ext>
            </a:extLst>
          </p:cNvPr>
          <p:cNvCxnSpPr>
            <a:cxnSpLocks/>
          </p:cNvCxnSpPr>
          <p:nvPr/>
        </p:nvCxnSpPr>
        <p:spPr>
          <a:xfrm>
            <a:off x="1393260" y="3697384"/>
            <a:ext cx="448119" cy="1665"/>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DF8025B3-E8C3-4AE3-BF73-212178EF97ED}"/>
              </a:ext>
            </a:extLst>
          </p:cNvPr>
          <p:cNvSpPr txBox="1"/>
          <p:nvPr/>
        </p:nvSpPr>
        <p:spPr>
          <a:xfrm>
            <a:off x="4369006" y="3175540"/>
            <a:ext cx="1552412" cy="253916"/>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Key phrase extraction</a:t>
            </a:r>
          </a:p>
        </p:txBody>
      </p:sp>
      <p:sp>
        <p:nvSpPr>
          <p:cNvPr id="74" name="TextBox 73">
            <a:extLst>
              <a:ext uri="{FF2B5EF4-FFF2-40B4-BE49-F238E27FC236}">
                <a16:creationId xmlns:a16="http://schemas.microsoft.com/office/drawing/2014/main" id="{98CB56EF-AE43-4E65-A538-D02958690B36}"/>
              </a:ext>
            </a:extLst>
          </p:cNvPr>
          <p:cNvSpPr txBox="1"/>
          <p:nvPr/>
        </p:nvSpPr>
        <p:spPr>
          <a:xfrm>
            <a:off x="4181067" y="4110435"/>
            <a:ext cx="813738" cy="415498"/>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 detection</a:t>
            </a:r>
          </a:p>
        </p:txBody>
      </p:sp>
      <p:sp>
        <p:nvSpPr>
          <p:cNvPr id="75" name="TextBox 74">
            <a:extLst>
              <a:ext uri="{FF2B5EF4-FFF2-40B4-BE49-F238E27FC236}">
                <a16:creationId xmlns:a16="http://schemas.microsoft.com/office/drawing/2014/main" id="{5E86040C-BE7C-4339-88B0-D6DF149B3796}"/>
              </a:ext>
            </a:extLst>
          </p:cNvPr>
          <p:cNvSpPr txBox="1"/>
          <p:nvPr/>
        </p:nvSpPr>
        <p:spPr>
          <a:xfrm>
            <a:off x="5038615" y="4110435"/>
            <a:ext cx="898071" cy="415498"/>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utomatic translation</a:t>
            </a:r>
          </a:p>
        </p:txBody>
      </p:sp>
      <p:sp>
        <p:nvSpPr>
          <p:cNvPr id="76" name="TextBox 75">
            <a:extLst>
              <a:ext uri="{FF2B5EF4-FFF2-40B4-BE49-F238E27FC236}">
                <a16:creationId xmlns:a16="http://schemas.microsoft.com/office/drawing/2014/main" id="{C31E4AAE-ECE8-4E31-AE61-9819DAB8DA70}"/>
              </a:ext>
            </a:extLst>
          </p:cNvPr>
          <p:cNvSpPr txBox="1"/>
          <p:nvPr/>
        </p:nvSpPr>
        <p:spPr>
          <a:xfrm>
            <a:off x="4192018" y="5040062"/>
            <a:ext cx="1729400" cy="253916"/>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Named entity extraction</a:t>
            </a:r>
          </a:p>
        </p:txBody>
      </p:sp>
      <p:cxnSp>
        <p:nvCxnSpPr>
          <p:cNvPr id="77" name="Straight Arrow Connector 76">
            <a:extLst>
              <a:ext uri="{FF2B5EF4-FFF2-40B4-BE49-F238E27FC236}">
                <a16:creationId xmlns:a16="http://schemas.microsoft.com/office/drawing/2014/main" id="{080755E6-BBFF-407D-BC3A-65F94349ED75}"/>
              </a:ext>
            </a:extLst>
          </p:cNvPr>
          <p:cNvCxnSpPr>
            <a:cxnSpLocks/>
            <a:stCxn id="80" idx="2"/>
          </p:cNvCxnSpPr>
          <p:nvPr/>
        </p:nvCxnSpPr>
        <p:spPr>
          <a:xfrm>
            <a:off x="5959429" y="3068892"/>
            <a:ext cx="312852"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0B9F247-8FA3-49DB-A04E-CCEC28858491}"/>
              </a:ext>
            </a:extLst>
          </p:cNvPr>
          <p:cNvSpPr txBox="1"/>
          <p:nvPr/>
        </p:nvSpPr>
        <p:spPr>
          <a:xfrm>
            <a:off x="6421440" y="3171061"/>
            <a:ext cx="1340432" cy="253916"/>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A80000"/>
                </a:solidFill>
                <a:effectLst/>
                <a:uLnTx/>
                <a:uFillTx/>
                <a:latin typeface="Segoe UI Semibold" panose="020B0702040204020203" pitchFamily="34" charset="0"/>
                <a:ea typeface="+mn-ea"/>
                <a:cs typeface="Segoe UI Semibold" panose="020B0702040204020203" pitchFamily="34" charset="0"/>
              </a:rPr>
              <a:t>Clause extraction</a:t>
            </a:r>
          </a:p>
        </p:txBody>
      </p:sp>
      <p:sp>
        <p:nvSpPr>
          <p:cNvPr id="79" name="TextBox 78">
            <a:extLst>
              <a:ext uri="{FF2B5EF4-FFF2-40B4-BE49-F238E27FC236}">
                <a16:creationId xmlns:a16="http://schemas.microsoft.com/office/drawing/2014/main" id="{C18B8357-A033-4F1E-A35C-A40AA95BDB5C}"/>
              </a:ext>
            </a:extLst>
          </p:cNvPr>
          <p:cNvSpPr txBox="1"/>
          <p:nvPr/>
        </p:nvSpPr>
        <p:spPr>
          <a:xfrm>
            <a:off x="6580138" y="3957057"/>
            <a:ext cx="1023037" cy="253916"/>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A80000"/>
                </a:solidFill>
                <a:effectLst/>
                <a:uLnTx/>
                <a:uFillTx/>
                <a:latin typeface="Segoe UI Semibold" panose="020B0702040204020203" pitchFamily="34" charset="0"/>
                <a:ea typeface="+mn-ea"/>
                <a:cs typeface="Segoe UI Semibold" panose="020B0702040204020203" pitchFamily="34" charset="0"/>
              </a:rPr>
              <a:t>Risk identifier</a:t>
            </a:r>
          </a:p>
        </p:txBody>
      </p:sp>
      <p:sp>
        <p:nvSpPr>
          <p:cNvPr id="80" name="Right Bracket 79">
            <a:extLst>
              <a:ext uri="{FF2B5EF4-FFF2-40B4-BE49-F238E27FC236}">
                <a16:creationId xmlns:a16="http://schemas.microsoft.com/office/drawing/2014/main" id="{03C1DB04-C24E-49AE-8A76-F17ECC0EE0B7}"/>
              </a:ext>
            </a:extLst>
          </p:cNvPr>
          <p:cNvSpPr/>
          <p:nvPr/>
        </p:nvSpPr>
        <p:spPr>
          <a:xfrm>
            <a:off x="5877310" y="2684848"/>
            <a:ext cx="82119" cy="768087"/>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ight Bracket 83">
            <a:extLst>
              <a:ext uri="{FF2B5EF4-FFF2-40B4-BE49-F238E27FC236}">
                <a16:creationId xmlns:a16="http://schemas.microsoft.com/office/drawing/2014/main" id="{9D5ED302-31E6-4300-A8EA-7A6FDC55BFC1}"/>
              </a:ext>
            </a:extLst>
          </p:cNvPr>
          <p:cNvSpPr/>
          <p:nvPr/>
        </p:nvSpPr>
        <p:spPr>
          <a:xfrm>
            <a:off x="7802629" y="2713126"/>
            <a:ext cx="82119" cy="1514462"/>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ECCEE77F-A311-4B42-AA0F-F7A61D6E37EA}"/>
              </a:ext>
            </a:extLst>
          </p:cNvPr>
          <p:cNvGrpSpPr/>
          <p:nvPr/>
        </p:nvGrpSpPr>
        <p:grpSpPr>
          <a:xfrm>
            <a:off x="10239246" y="880392"/>
            <a:ext cx="1367537" cy="276999"/>
            <a:chOff x="6821768" y="2945839"/>
            <a:chExt cx="2655912" cy="537963"/>
          </a:xfrm>
        </p:grpSpPr>
        <p:sp>
          <p:nvSpPr>
            <p:cNvPr id="48" name="Freeform 188">
              <a:extLst>
                <a:ext uri="{FF2B5EF4-FFF2-40B4-BE49-F238E27FC236}">
                  <a16:creationId xmlns:a16="http://schemas.microsoft.com/office/drawing/2014/main" id="{748645C1-CFE5-4EF3-B4C2-302239E1904C}"/>
                </a:ext>
              </a:extLst>
            </p:cNvPr>
            <p:cNvSpPr/>
            <p:nvPr/>
          </p:nvSpPr>
          <p:spPr bwMode="auto">
            <a:xfrm>
              <a:off x="8967341" y="2946668"/>
              <a:ext cx="510339" cy="537134"/>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49" name="Freeform 205">
              <a:extLst>
                <a:ext uri="{FF2B5EF4-FFF2-40B4-BE49-F238E27FC236}">
                  <a16:creationId xmlns:a16="http://schemas.microsoft.com/office/drawing/2014/main" id="{BDE9A3E2-697E-46B5-BA6A-CB748A215717}"/>
                </a:ext>
              </a:extLst>
            </p:cNvPr>
            <p:cNvSpPr/>
            <p:nvPr/>
          </p:nvSpPr>
          <p:spPr bwMode="auto">
            <a:xfrm>
              <a:off x="6821768" y="2945839"/>
              <a:ext cx="771548" cy="526622"/>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B03CCE98-207E-4453-9ABC-170A1FC12BDB}"/>
                </a:ext>
              </a:extLst>
            </p:cNvPr>
            <p:cNvSpPr/>
            <p:nvPr/>
          </p:nvSpPr>
          <p:spPr>
            <a:xfrm>
              <a:off x="7878725" y="3004568"/>
              <a:ext cx="819906"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5" name="Rectangle 64">
            <a:extLst>
              <a:ext uri="{FF2B5EF4-FFF2-40B4-BE49-F238E27FC236}">
                <a16:creationId xmlns:a16="http://schemas.microsoft.com/office/drawing/2014/main" id="{7000DC81-06B1-4EDE-9344-D4B9D5ECAE90}"/>
              </a:ext>
            </a:extLst>
          </p:cNvPr>
          <p:cNvSpPr/>
          <p:nvPr/>
        </p:nvSpPr>
        <p:spPr>
          <a:xfrm>
            <a:off x="10640301" y="4663267"/>
            <a:ext cx="831387"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zure Web App</a:t>
            </a:r>
          </a:p>
        </p:txBody>
      </p:sp>
      <p:grpSp>
        <p:nvGrpSpPr>
          <p:cNvPr id="66" name="Group 65">
            <a:extLst>
              <a:ext uri="{FF2B5EF4-FFF2-40B4-BE49-F238E27FC236}">
                <a16:creationId xmlns:a16="http://schemas.microsoft.com/office/drawing/2014/main" id="{F89BBAC6-38A4-47B1-B62E-DF73BF21E98B}"/>
              </a:ext>
            </a:extLst>
          </p:cNvPr>
          <p:cNvGrpSpPr/>
          <p:nvPr/>
        </p:nvGrpSpPr>
        <p:grpSpPr>
          <a:xfrm>
            <a:off x="10453554" y="3942624"/>
            <a:ext cx="831386" cy="651884"/>
            <a:chOff x="9179546" y="3522969"/>
            <a:chExt cx="1222540" cy="958584"/>
          </a:xfrm>
        </p:grpSpPr>
        <p:grpSp>
          <p:nvGrpSpPr>
            <p:cNvPr id="67" name="Group 66">
              <a:extLst>
                <a:ext uri="{FF2B5EF4-FFF2-40B4-BE49-F238E27FC236}">
                  <a16:creationId xmlns:a16="http://schemas.microsoft.com/office/drawing/2014/main" id="{E71B2EA9-9D41-4FE8-9B99-843DEE6E00EF}"/>
                </a:ext>
              </a:extLst>
            </p:cNvPr>
            <p:cNvGrpSpPr/>
            <p:nvPr/>
          </p:nvGrpSpPr>
          <p:grpSpPr>
            <a:xfrm>
              <a:off x="9179546" y="3522969"/>
              <a:ext cx="1222540" cy="958584"/>
              <a:chOff x="8598353" y="4344078"/>
              <a:chExt cx="944789" cy="740802"/>
            </a:xfrm>
          </p:grpSpPr>
          <p:sp>
            <p:nvSpPr>
              <p:cNvPr id="85" name="Freeform 5">
                <a:extLst>
                  <a:ext uri="{FF2B5EF4-FFF2-40B4-BE49-F238E27FC236}">
                    <a16:creationId xmlns:a16="http://schemas.microsoft.com/office/drawing/2014/main" id="{4951A15D-DF5B-4519-89D7-B234C2389E80}"/>
                  </a:ext>
                </a:extLst>
              </p:cNvPr>
              <p:cNvSpPr>
                <a:spLocks/>
              </p:cNvSpPr>
              <p:nvPr/>
            </p:nvSpPr>
            <p:spPr bwMode="auto">
              <a:xfrm>
                <a:off x="8598353" y="4344078"/>
                <a:ext cx="944789" cy="740802"/>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useBgFill="1">
            <p:nvSpPr>
              <p:cNvPr id="87" name="Rectangle 86">
                <a:extLst>
                  <a:ext uri="{FF2B5EF4-FFF2-40B4-BE49-F238E27FC236}">
                    <a16:creationId xmlns:a16="http://schemas.microsoft.com/office/drawing/2014/main" id="{AA603626-1E5D-4B36-8361-7C88C9B7FC78}"/>
                  </a:ext>
                </a:extLst>
              </p:cNvPr>
              <p:cNvSpPr/>
              <p:nvPr/>
            </p:nvSpPr>
            <p:spPr bwMode="auto">
              <a:xfrm>
                <a:off x="8658600" y="4406671"/>
                <a:ext cx="824296" cy="47149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8" name="Group 67">
              <a:extLst>
                <a:ext uri="{FF2B5EF4-FFF2-40B4-BE49-F238E27FC236}">
                  <a16:creationId xmlns:a16="http://schemas.microsoft.com/office/drawing/2014/main" id="{830BE612-53B0-4D7E-88B3-0485575A7D09}"/>
                </a:ext>
              </a:extLst>
            </p:cNvPr>
            <p:cNvGrpSpPr/>
            <p:nvPr/>
          </p:nvGrpSpPr>
          <p:grpSpPr>
            <a:xfrm>
              <a:off x="9516207" y="3693570"/>
              <a:ext cx="549218" cy="430854"/>
              <a:chOff x="9152808" y="3451427"/>
              <a:chExt cx="493296" cy="386984"/>
            </a:xfrm>
          </p:grpSpPr>
          <p:grpSp>
            <p:nvGrpSpPr>
              <p:cNvPr id="70" name="Group 69">
                <a:extLst>
                  <a:ext uri="{FF2B5EF4-FFF2-40B4-BE49-F238E27FC236}">
                    <a16:creationId xmlns:a16="http://schemas.microsoft.com/office/drawing/2014/main" id="{62DCCBA4-03F3-409F-B0B0-6747879232CD}"/>
                  </a:ext>
                </a:extLst>
              </p:cNvPr>
              <p:cNvGrpSpPr/>
              <p:nvPr/>
            </p:nvGrpSpPr>
            <p:grpSpPr>
              <a:xfrm>
                <a:off x="9152808" y="3451427"/>
                <a:ext cx="493296" cy="386984"/>
                <a:chOff x="9215306" y="3500456"/>
                <a:chExt cx="368300" cy="288925"/>
              </a:xfrm>
            </p:grpSpPr>
            <p:sp>
              <p:nvSpPr>
                <p:cNvPr id="73" name="Freeform 283">
                  <a:extLst>
                    <a:ext uri="{FF2B5EF4-FFF2-40B4-BE49-F238E27FC236}">
                      <a16:creationId xmlns:a16="http://schemas.microsoft.com/office/drawing/2014/main" id="{1A92F921-9002-4A3D-A668-4B3DC01D7084}"/>
                    </a:ext>
                  </a:extLst>
                </p:cNvPr>
                <p:cNvSpPr>
                  <a:spLocks/>
                </p:cNvSpPr>
                <p:nvPr/>
              </p:nvSpPr>
              <p:spPr bwMode="auto">
                <a:xfrm>
                  <a:off x="9215306" y="3579831"/>
                  <a:ext cx="368300" cy="209550"/>
                </a:xfrm>
                <a:prstGeom prst="rect">
                  <a:avLst/>
                </a:pr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284">
                  <a:extLst>
                    <a:ext uri="{FF2B5EF4-FFF2-40B4-BE49-F238E27FC236}">
                      <a16:creationId xmlns:a16="http://schemas.microsoft.com/office/drawing/2014/main" id="{A022EB52-0BD5-46B8-B879-5588DEEBBF20}"/>
                    </a:ext>
                  </a:extLst>
                </p:cNvPr>
                <p:cNvSpPr>
                  <a:spLocks/>
                </p:cNvSpPr>
                <p:nvPr/>
              </p:nvSpPr>
              <p:spPr bwMode="auto">
                <a:xfrm>
                  <a:off x="9215306" y="3500456"/>
                  <a:ext cx="368300" cy="52388"/>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72" name="Graphic 9" descr="World">
                <a:extLst>
                  <a:ext uri="{FF2B5EF4-FFF2-40B4-BE49-F238E27FC236}">
                    <a16:creationId xmlns:a16="http://schemas.microsoft.com/office/drawing/2014/main" id="{B3CB01C5-225F-40C4-89B3-48CC91C261AD}"/>
                  </a:ext>
                </a:extLst>
              </p:cNvPr>
              <p:cNvSpPr/>
              <p:nvPr/>
            </p:nvSpPr>
            <p:spPr>
              <a:xfrm>
                <a:off x="9295506" y="3594126"/>
                <a:ext cx="207900" cy="207900"/>
              </a:xfrm>
              <a:custGeom>
                <a:avLst/>
                <a:gdLst>
                  <a:gd name="connsiteX0" fmla="*/ 421481 w 733425"/>
                  <a:gd name="connsiteY0" fmla="*/ 669131 h 733425"/>
                  <a:gd name="connsiteX1" fmla="*/ 558641 w 733425"/>
                  <a:gd name="connsiteY1" fmla="*/ 388144 h 733425"/>
                  <a:gd name="connsiteX2" fmla="*/ 672941 w 733425"/>
                  <a:gd name="connsiteY2" fmla="*/ 388144 h 733425"/>
                  <a:gd name="connsiteX3" fmla="*/ 421481 w 733425"/>
                  <a:gd name="connsiteY3" fmla="*/ 669131 h 733425"/>
                  <a:gd name="connsiteX4" fmla="*/ 65246 w 733425"/>
                  <a:gd name="connsiteY4" fmla="*/ 388144 h 733425"/>
                  <a:gd name="connsiteX5" fmla="*/ 179546 w 733425"/>
                  <a:gd name="connsiteY5" fmla="*/ 388144 h 733425"/>
                  <a:gd name="connsiteX6" fmla="*/ 316706 w 733425"/>
                  <a:gd name="connsiteY6" fmla="*/ 669131 h 733425"/>
                  <a:gd name="connsiteX7" fmla="*/ 65246 w 733425"/>
                  <a:gd name="connsiteY7" fmla="*/ 388144 h 733425"/>
                  <a:gd name="connsiteX8" fmla="*/ 316706 w 733425"/>
                  <a:gd name="connsiteY8" fmla="*/ 69056 h 733425"/>
                  <a:gd name="connsiteX9" fmla="*/ 179546 w 733425"/>
                  <a:gd name="connsiteY9" fmla="*/ 350044 h 733425"/>
                  <a:gd name="connsiteX10" fmla="*/ 65246 w 733425"/>
                  <a:gd name="connsiteY10" fmla="*/ 350044 h 733425"/>
                  <a:gd name="connsiteX11" fmla="*/ 316706 w 733425"/>
                  <a:gd name="connsiteY11" fmla="*/ 69056 h 733425"/>
                  <a:gd name="connsiteX12" fmla="*/ 388144 w 733425"/>
                  <a:gd name="connsiteY12" fmla="*/ 388144 h 733425"/>
                  <a:gd name="connsiteX13" fmla="*/ 520541 w 733425"/>
                  <a:gd name="connsiteY13" fmla="*/ 388144 h 733425"/>
                  <a:gd name="connsiteX14" fmla="*/ 388144 w 733425"/>
                  <a:gd name="connsiteY14" fmla="*/ 650081 h 733425"/>
                  <a:gd name="connsiteX15" fmla="*/ 388144 w 733425"/>
                  <a:gd name="connsiteY15" fmla="*/ 388144 h 733425"/>
                  <a:gd name="connsiteX16" fmla="*/ 350044 w 733425"/>
                  <a:gd name="connsiteY16" fmla="*/ 388144 h 733425"/>
                  <a:gd name="connsiteX17" fmla="*/ 350044 w 733425"/>
                  <a:gd name="connsiteY17" fmla="*/ 650081 h 733425"/>
                  <a:gd name="connsiteX18" fmla="*/ 217646 w 733425"/>
                  <a:gd name="connsiteY18" fmla="*/ 388144 h 733425"/>
                  <a:gd name="connsiteX19" fmla="*/ 350044 w 733425"/>
                  <a:gd name="connsiteY19" fmla="*/ 388144 h 733425"/>
                  <a:gd name="connsiteX20" fmla="*/ 388144 w 733425"/>
                  <a:gd name="connsiteY20" fmla="*/ 88106 h 733425"/>
                  <a:gd name="connsiteX21" fmla="*/ 520541 w 733425"/>
                  <a:gd name="connsiteY21" fmla="*/ 350044 h 733425"/>
                  <a:gd name="connsiteX22" fmla="*/ 388144 w 733425"/>
                  <a:gd name="connsiteY22" fmla="*/ 350044 h 733425"/>
                  <a:gd name="connsiteX23" fmla="*/ 388144 w 733425"/>
                  <a:gd name="connsiteY23" fmla="*/ 88106 h 733425"/>
                  <a:gd name="connsiteX24" fmla="*/ 350044 w 733425"/>
                  <a:gd name="connsiteY24" fmla="*/ 350044 h 733425"/>
                  <a:gd name="connsiteX25" fmla="*/ 217646 w 733425"/>
                  <a:gd name="connsiteY25" fmla="*/ 350044 h 733425"/>
                  <a:gd name="connsiteX26" fmla="*/ 350044 w 733425"/>
                  <a:gd name="connsiteY26" fmla="*/ 88106 h 733425"/>
                  <a:gd name="connsiteX27" fmla="*/ 350044 w 733425"/>
                  <a:gd name="connsiteY27" fmla="*/ 350044 h 733425"/>
                  <a:gd name="connsiteX28" fmla="*/ 672941 w 733425"/>
                  <a:gd name="connsiteY28" fmla="*/ 350044 h 733425"/>
                  <a:gd name="connsiteX29" fmla="*/ 558641 w 733425"/>
                  <a:gd name="connsiteY29" fmla="*/ 350044 h 733425"/>
                  <a:gd name="connsiteX30" fmla="*/ 421481 w 733425"/>
                  <a:gd name="connsiteY30" fmla="*/ 69056 h 733425"/>
                  <a:gd name="connsiteX31" fmla="*/ 672941 w 733425"/>
                  <a:gd name="connsiteY31" fmla="*/ 350044 h 733425"/>
                  <a:gd name="connsiteX32" fmla="*/ 369094 w 733425"/>
                  <a:gd name="connsiteY32" fmla="*/ 7144 h 733425"/>
                  <a:gd name="connsiteX33" fmla="*/ 7144 w 733425"/>
                  <a:gd name="connsiteY33" fmla="*/ 369094 h 733425"/>
                  <a:gd name="connsiteX34" fmla="*/ 369094 w 733425"/>
                  <a:gd name="connsiteY34" fmla="*/ 731044 h 733425"/>
                  <a:gd name="connsiteX35" fmla="*/ 731044 w 733425"/>
                  <a:gd name="connsiteY35" fmla="*/ 369094 h 733425"/>
                  <a:gd name="connsiteX36" fmla="*/ 369094 w 733425"/>
                  <a:gd name="connsiteY36" fmla="*/ 71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33425" h="733425">
                    <a:moveTo>
                      <a:pt x="421481" y="669131"/>
                    </a:moveTo>
                    <a:cubicBezTo>
                      <a:pt x="483394" y="592931"/>
                      <a:pt x="551974" y="496729"/>
                      <a:pt x="558641" y="388144"/>
                    </a:cubicBezTo>
                    <a:lnTo>
                      <a:pt x="672941" y="388144"/>
                    </a:lnTo>
                    <a:cubicBezTo>
                      <a:pt x="664369" y="530066"/>
                      <a:pt x="558641" y="645319"/>
                      <a:pt x="421481" y="669131"/>
                    </a:cubicBezTo>
                    <a:close/>
                    <a:moveTo>
                      <a:pt x="65246" y="388144"/>
                    </a:moveTo>
                    <a:lnTo>
                      <a:pt x="179546" y="388144"/>
                    </a:lnTo>
                    <a:cubicBezTo>
                      <a:pt x="187166" y="496729"/>
                      <a:pt x="254794" y="592931"/>
                      <a:pt x="316706" y="669131"/>
                    </a:cubicBezTo>
                    <a:cubicBezTo>
                      <a:pt x="179546" y="645319"/>
                      <a:pt x="73819" y="530066"/>
                      <a:pt x="65246" y="388144"/>
                    </a:cubicBezTo>
                    <a:close/>
                    <a:moveTo>
                      <a:pt x="316706" y="69056"/>
                    </a:moveTo>
                    <a:cubicBezTo>
                      <a:pt x="254794" y="145256"/>
                      <a:pt x="186214" y="241459"/>
                      <a:pt x="179546" y="350044"/>
                    </a:cubicBezTo>
                    <a:lnTo>
                      <a:pt x="65246" y="350044"/>
                    </a:lnTo>
                    <a:cubicBezTo>
                      <a:pt x="73819" y="208121"/>
                      <a:pt x="179546" y="92869"/>
                      <a:pt x="316706" y="69056"/>
                    </a:cubicBezTo>
                    <a:close/>
                    <a:moveTo>
                      <a:pt x="388144" y="388144"/>
                    </a:moveTo>
                    <a:lnTo>
                      <a:pt x="520541" y="388144"/>
                    </a:lnTo>
                    <a:cubicBezTo>
                      <a:pt x="512921" y="486251"/>
                      <a:pt x="449104" y="574834"/>
                      <a:pt x="388144" y="650081"/>
                    </a:cubicBezTo>
                    <a:lnTo>
                      <a:pt x="388144" y="388144"/>
                    </a:lnTo>
                    <a:close/>
                    <a:moveTo>
                      <a:pt x="350044" y="388144"/>
                    </a:moveTo>
                    <a:lnTo>
                      <a:pt x="350044" y="650081"/>
                    </a:lnTo>
                    <a:cubicBezTo>
                      <a:pt x="289084" y="574834"/>
                      <a:pt x="225266" y="486251"/>
                      <a:pt x="217646" y="388144"/>
                    </a:cubicBezTo>
                    <a:lnTo>
                      <a:pt x="350044" y="388144"/>
                    </a:lnTo>
                    <a:close/>
                    <a:moveTo>
                      <a:pt x="388144" y="88106"/>
                    </a:moveTo>
                    <a:cubicBezTo>
                      <a:pt x="449104" y="163354"/>
                      <a:pt x="512921" y="250984"/>
                      <a:pt x="520541" y="350044"/>
                    </a:cubicBezTo>
                    <a:lnTo>
                      <a:pt x="388144" y="350044"/>
                    </a:lnTo>
                    <a:lnTo>
                      <a:pt x="388144" y="88106"/>
                    </a:lnTo>
                    <a:close/>
                    <a:moveTo>
                      <a:pt x="350044" y="350044"/>
                    </a:moveTo>
                    <a:lnTo>
                      <a:pt x="217646" y="350044"/>
                    </a:lnTo>
                    <a:cubicBezTo>
                      <a:pt x="225266" y="251936"/>
                      <a:pt x="289084" y="163354"/>
                      <a:pt x="350044" y="88106"/>
                    </a:cubicBezTo>
                    <a:lnTo>
                      <a:pt x="350044" y="350044"/>
                    </a:lnTo>
                    <a:close/>
                    <a:moveTo>
                      <a:pt x="672941" y="350044"/>
                    </a:moveTo>
                    <a:lnTo>
                      <a:pt x="558641" y="350044"/>
                    </a:lnTo>
                    <a:cubicBezTo>
                      <a:pt x="551974" y="241459"/>
                      <a:pt x="483394" y="145256"/>
                      <a:pt x="421481" y="69056"/>
                    </a:cubicBezTo>
                    <a:cubicBezTo>
                      <a:pt x="558641" y="92869"/>
                      <a:pt x="664369" y="208121"/>
                      <a:pt x="672941" y="350044"/>
                    </a:cubicBezTo>
                    <a:close/>
                    <a:moveTo>
                      <a:pt x="369094" y="7144"/>
                    </a:moveTo>
                    <a:cubicBezTo>
                      <a:pt x="169069" y="7144"/>
                      <a:pt x="7144" y="169069"/>
                      <a:pt x="7144" y="369094"/>
                    </a:cubicBezTo>
                    <a:cubicBezTo>
                      <a:pt x="7144" y="569119"/>
                      <a:pt x="169069" y="731044"/>
                      <a:pt x="369094" y="731044"/>
                    </a:cubicBezTo>
                    <a:cubicBezTo>
                      <a:pt x="569119" y="731044"/>
                      <a:pt x="731044" y="569119"/>
                      <a:pt x="731044" y="369094"/>
                    </a:cubicBezTo>
                    <a:cubicBezTo>
                      <a:pt x="731044" y="169069"/>
                      <a:pt x="569119" y="7144"/>
                      <a:pt x="369094" y="714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88" name="Freeform 205">
            <a:extLst>
              <a:ext uri="{FF2B5EF4-FFF2-40B4-BE49-F238E27FC236}">
                <a16:creationId xmlns:a16="http://schemas.microsoft.com/office/drawing/2014/main" id="{4FEA7318-77BD-4D45-90F1-67C3C8D2267F}"/>
              </a:ext>
            </a:extLst>
          </p:cNvPr>
          <p:cNvSpPr/>
          <p:nvPr/>
        </p:nvSpPr>
        <p:spPr bwMode="auto">
          <a:xfrm>
            <a:off x="8674811" y="4045935"/>
            <a:ext cx="758070" cy="517422"/>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55" name="Rectangle 54">
            <a:extLst>
              <a:ext uri="{FF2B5EF4-FFF2-40B4-BE49-F238E27FC236}">
                <a16:creationId xmlns:a16="http://schemas.microsoft.com/office/drawing/2014/main" id="{C6402DF8-EF6E-4AC0-8447-BFE03A013F5A}"/>
              </a:ext>
            </a:extLst>
          </p:cNvPr>
          <p:cNvSpPr/>
          <p:nvPr/>
        </p:nvSpPr>
        <p:spPr>
          <a:xfrm>
            <a:off x="2073145" y="212105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nrich</a:t>
            </a:r>
          </a:p>
        </p:txBody>
      </p:sp>
      <p:sp>
        <p:nvSpPr>
          <p:cNvPr id="56" name="Rectangle 55">
            <a:extLst>
              <a:ext uri="{FF2B5EF4-FFF2-40B4-BE49-F238E27FC236}">
                <a16:creationId xmlns:a16="http://schemas.microsoft.com/office/drawing/2014/main" id="{113564D5-1CE7-4149-9E0C-44BA2ADDCFD8}"/>
              </a:ext>
            </a:extLst>
          </p:cNvPr>
          <p:cNvSpPr/>
          <p:nvPr/>
        </p:nvSpPr>
        <p:spPr>
          <a:xfrm>
            <a:off x="8316310" y="212105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earch index</a:t>
            </a:r>
          </a:p>
        </p:txBody>
      </p:sp>
      <p:sp>
        <p:nvSpPr>
          <p:cNvPr id="57" name="Rectangle 56">
            <a:extLst>
              <a:ext uri="{FF2B5EF4-FFF2-40B4-BE49-F238E27FC236}">
                <a16:creationId xmlns:a16="http://schemas.microsoft.com/office/drawing/2014/main" id="{2F745640-7176-4C71-B6E0-124544F14471}"/>
              </a:ext>
            </a:extLst>
          </p:cNvPr>
          <p:cNvSpPr/>
          <p:nvPr/>
        </p:nvSpPr>
        <p:spPr>
          <a:xfrm>
            <a:off x="10131711" y="212105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xplore</a:t>
            </a:r>
          </a:p>
        </p:txBody>
      </p:sp>
      <p:sp>
        <p:nvSpPr>
          <p:cNvPr id="64" name="Rectangle 63">
            <a:extLst>
              <a:ext uri="{FF2B5EF4-FFF2-40B4-BE49-F238E27FC236}">
                <a16:creationId xmlns:a16="http://schemas.microsoft.com/office/drawing/2014/main" id="{01F43370-93B1-445B-A5B6-4C128485C179}"/>
              </a:ext>
            </a:extLst>
          </p:cNvPr>
          <p:cNvSpPr/>
          <p:nvPr/>
        </p:nvSpPr>
        <p:spPr>
          <a:xfrm>
            <a:off x="4407675" y="2121053"/>
            <a:ext cx="147507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Cognitive skills</a:t>
            </a:r>
          </a:p>
        </p:txBody>
      </p:sp>
      <p:sp>
        <p:nvSpPr>
          <p:cNvPr id="71" name="TextBox 70">
            <a:extLst>
              <a:ext uri="{FF2B5EF4-FFF2-40B4-BE49-F238E27FC236}">
                <a16:creationId xmlns:a16="http://schemas.microsoft.com/office/drawing/2014/main" id="{DD69C1E6-8305-47D8-9158-FF36D12701C2}"/>
              </a:ext>
            </a:extLst>
          </p:cNvPr>
          <p:cNvSpPr txBox="1"/>
          <p:nvPr/>
        </p:nvSpPr>
        <p:spPr>
          <a:xfrm>
            <a:off x="6529686" y="2121053"/>
            <a:ext cx="1464831" cy="307777"/>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sz="1400" b="1">
                <a:solidFill>
                  <a:schemeClr val="accent1"/>
                </a:solidFill>
                <a:latin typeface="+mj-lt"/>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Custom skills</a:t>
            </a:r>
          </a:p>
        </p:txBody>
      </p:sp>
      <p:sp>
        <p:nvSpPr>
          <p:cNvPr id="51" name="Right Bracket 50">
            <a:extLst>
              <a:ext uri="{FF2B5EF4-FFF2-40B4-BE49-F238E27FC236}">
                <a16:creationId xmlns:a16="http://schemas.microsoft.com/office/drawing/2014/main" id="{C1BC870E-B6B2-4079-9696-4B497EC90BB9}"/>
              </a:ext>
            </a:extLst>
          </p:cNvPr>
          <p:cNvSpPr/>
          <p:nvPr/>
        </p:nvSpPr>
        <p:spPr>
          <a:xfrm rot="16200000">
            <a:off x="4994406" y="-2671099"/>
            <a:ext cx="125816" cy="9144000"/>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Rectangle 113">
            <a:extLst>
              <a:ext uri="{FF2B5EF4-FFF2-40B4-BE49-F238E27FC236}">
                <a16:creationId xmlns:a16="http://schemas.microsoft.com/office/drawing/2014/main" id="{366582FE-AD38-4541-B333-D3846528D5C3}"/>
              </a:ext>
            </a:extLst>
          </p:cNvPr>
          <p:cNvSpPr/>
          <p:nvPr/>
        </p:nvSpPr>
        <p:spPr>
          <a:xfrm>
            <a:off x="3414419" y="1486113"/>
            <a:ext cx="5164182" cy="307777"/>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earch and Cognitive Services with Machine Learning</a:t>
            </a:r>
          </a:p>
        </p:txBody>
      </p:sp>
      <p:grpSp>
        <p:nvGrpSpPr>
          <p:cNvPr id="115" name="Group 99">
            <a:extLst>
              <a:ext uri="{FF2B5EF4-FFF2-40B4-BE49-F238E27FC236}">
                <a16:creationId xmlns:a16="http://schemas.microsoft.com/office/drawing/2014/main" id="{D941AFA3-F0F5-405A-82D1-8E24EE144ECC}"/>
              </a:ext>
            </a:extLst>
          </p:cNvPr>
          <p:cNvGrpSpPr>
            <a:grpSpLocks noChangeAspect="1"/>
          </p:cNvGrpSpPr>
          <p:nvPr/>
        </p:nvGrpSpPr>
        <p:grpSpPr bwMode="auto">
          <a:xfrm>
            <a:off x="2561930" y="3386139"/>
            <a:ext cx="497502" cy="513108"/>
            <a:chOff x="1545" y="1446"/>
            <a:chExt cx="255" cy="263"/>
          </a:xfrm>
        </p:grpSpPr>
        <p:sp>
          <p:nvSpPr>
            <p:cNvPr id="116" name="Freeform 100">
              <a:extLst>
                <a:ext uri="{FF2B5EF4-FFF2-40B4-BE49-F238E27FC236}">
                  <a16:creationId xmlns:a16="http://schemas.microsoft.com/office/drawing/2014/main" id="{B60F5998-7B53-4225-BF04-37E396F41888}"/>
                </a:ext>
              </a:extLst>
            </p:cNvPr>
            <p:cNvSpPr>
              <a:spLocks/>
            </p:cNvSpPr>
            <p:nvPr/>
          </p:nvSpPr>
          <p:spPr bwMode="auto">
            <a:xfrm>
              <a:off x="1545" y="1446"/>
              <a:ext cx="165" cy="232"/>
            </a:xfrm>
            <a:custGeom>
              <a:avLst/>
              <a:gdLst>
                <a:gd name="T0" fmla="*/ 0 w 266"/>
                <a:gd name="T1" fmla="*/ 0 h 373"/>
                <a:gd name="T2" fmla="*/ 0 w 266"/>
                <a:gd name="T3" fmla="*/ 0 h 373"/>
                <a:gd name="T4" fmla="*/ 0 w 266"/>
                <a:gd name="T5" fmla="*/ 373 h 373"/>
                <a:gd name="T6" fmla="*/ 129 w 266"/>
                <a:gd name="T7" fmla="*/ 373 h 373"/>
                <a:gd name="T8" fmla="*/ 129 w 266"/>
                <a:gd name="T9" fmla="*/ 57 h 373"/>
                <a:gd name="T10" fmla="*/ 266 w 266"/>
                <a:gd name="T11" fmla="*/ 57 h 373"/>
                <a:gd name="T12" fmla="*/ 208 w 266"/>
                <a:gd name="T13" fmla="*/ 0 h 373"/>
                <a:gd name="T14" fmla="*/ 0 w 266"/>
                <a:gd name="T15" fmla="*/ 0 h 3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73">
                  <a:moveTo>
                    <a:pt x="0" y="0"/>
                  </a:moveTo>
                  <a:lnTo>
                    <a:pt x="0" y="0"/>
                  </a:lnTo>
                  <a:lnTo>
                    <a:pt x="0" y="373"/>
                  </a:lnTo>
                  <a:lnTo>
                    <a:pt x="129" y="373"/>
                  </a:lnTo>
                  <a:lnTo>
                    <a:pt x="129" y="57"/>
                  </a:lnTo>
                  <a:lnTo>
                    <a:pt x="266" y="57"/>
                  </a:lnTo>
                  <a:lnTo>
                    <a:pt x="208" y="0"/>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101">
              <a:extLst>
                <a:ext uri="{FF2B5EF4-FFF2-40B4-BE49-F238E27FC236}">
                  <a16:creationId xmlns:a16="http://schemas.microsoft.com/office/drawing/2014/main" id="{0CB32CF3-426E-4284-BD85-33CE0FE441A0}"/>
                </a:ext>
              </a:extLst>
            </p:cNvPr>
            <p:cNvSpPr>
              <a:spLocks/>
            </p:cNvSpPr>
            <p:nvPr/>
          </p:nvSpPr>
          <p:spPr bwMode="auto">
            <a:xfrm>
              <a:off x="1639" y="1496"/>
              <a:ext cx="161"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102">
              <a:extLst>
                <a:ext uri="{FF2B5EF4-FFF2-40B4-BE49-F238E27FC236}">
                  <a16:creationId xmlns:a16="http://schemas.microsoft.com/office/drawing/2014/main" id="{B4FA488F-2681-4891-8BC8-69FC57E141C7}"/>
                </a:ext>
              </a:extLst>
            </p:cNvPr>
            <p:cNvSpPr>
              <a:spLocks/>
            </p:cNvSpPr>
            <p:nvPr/>
          </p:nvSpPr>
          <p:spPr bwMode="auto">
            <a:xfrm>
              <a:off x="1732" y="1500"/>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A0FE78EA-CF6B-4BD6-9AAE-1AF915947A22}"/>
              </a:ext>
            </a:extLst>
          </p:cNvPr>
          <p:cNvGrpSpPr/>
          <p:nvPr/>
        </p:nvGrpSpPr>
        <p:grpSpPr>
          <a:xfrm>
            <a:off x="4402727" y="3809607"/>
            <a:ext cx="370417" cy="217531"/>
            <a:chOff x="5060283" y="3583077"/>
            <a:chExt cx="370417" cy="217531"/>
          </a:xfrm>
        </p:grpSpPr>
        <p:sp>
          <p:nvSpPr>
            <p:cNvPr id="5" name="Graphic 569">
              <a:extLst>
                <a:ext uri="{FF2B5EF4-FFF2-40B4-BE49-F238E27FC236}">
                  <a16:creationId xmlns:a16="http://schemas.microsoft.com/office/drawing/2014/main" id="{E067DC0F-1F49-460A-AE3B-6785B31B6BA0}"/>
                </a:ext>
              </a:extLst>
            </p:cNvPr>
            <p:cNvSpPr/>
            <p:nvPr/>
          </p:nvSpPr>
          <p:spPr>
            <a:xfrm>
              <a:off x="5256593" y="3583077"/>
              <a:ext cx="174107" cy="217531"/>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26029 w 361890"/>
                <a:gd name="connsiteY2" fmla="*/ 137119 h 320718"/>
                <a:gd name="connsiteX3" fmla="*/ 128287 w 361890"/>
                <a:gd name="connsiteY3" fmla="*/ 137119 h 320718"/>
                <a:gd name="connsiteX4" fmla="*/ 286787 w 361890"/>
                <a:gd name="connsiteY4" fmla="*/ 320718 h 320718"/>
                <a:gd name="connsiteX5" fmla="*/ 361622 w 361890"/>
                <a:gd name="connsiteY5" fmla="*/ 251462 h 320718"/>
                <a:gd name="connsiteX6" fmla="*/ 225432 w 361890"/>
                <a:gd name="connsiteY6" fmla="*/ 224968 h 320718"/>
                <a:gd name="connsiteX7" fmla="*/ 237053 w 361890"/>
                <a:gd name="connsiteY7" fmla="*/ 299337 h 320718"/>
                <a:gd name="connsiteX8" fmla="*/ 315605 w 361890"/>
                <a:gd name="connsiteY8" fmla="*/ 187318 h 320718"/>
                <a:gd name="connsiteX9" fmla="*/ 253321 w 361890"/>
                <a:gd name="connsiteY9" fmla="*/ 103188 h 320718"/>
                <a:gd name="connsiteX10" fmla="*/ 264012 w 361890"/>
                <a:gd name="connsiteY10" fmla="*/ 289111 h 320718"/>
                <a:gd name="connsiteX11" fmla="*/ 187783 w 361890"/>
                <a:gd name="connsiteY11" fmla="*/ 149204 h 320718"/>
                <a:gd name="connsiteX12" fmla="*/ 350466 w 361890"/>
                <a:gd name="connsiteY12" fmla="*/ 141767 h 320718"/>
                <a:gd name="connsiteX0" fmla="*/ 0 w 361890"/>
                <a:gd name="connsiteY0" fmla="*/ 203586 h 320718"/>
                <a:gd name="connsiteX1" fmla="*/ 79947 w 361890"/>
                <a:gd name="connsiteY1" fmla="*/ 0 h 320718"/>
                <a:gd name="connsiteX2" fmla="*/ 286787 w 361890"/>
                <a:gd name="connsiteY2" fmla="*/ 320718 h 320718"/>
                <a:gd name="connsiteX3" fmla="*/ 361622 w 361890"/>
                <a:gd name="connsiteY3" fmla="*/ 251462 h 320718"/>
                <a:gd name="connsiteX4" fmla="*/ 225432 w 361890"/>
                <a:gd name="connsiteY4" fmla="*/ 224968 h 320718"/>
                <a:gd name="connsiteX5" fmla="*/ 237053 w 361890"/>
                <a:gd name="connsiteY5" fmla="*/ 299337 h 320718"/>
                <a:gd name="connsiteX6" fmla="*/ 315605 w 361890"/>
                <a:gd name="connsiteY6" fmla="*/ 187318 h 320718"/>
                <a:gd name="connsiteX7" fmla="*/ 253321 w 361890"/>
                <a:gd name="connsiteY7" fmla="*/ 103188 h 320718"/>
                <a:gd name="connsiteX8" fmla="*/ 264012 w 361890"/>
                <a:gd name="connsiteY8" fmla="*/ 289111 h 320718"/>
                <a:gd name="connsiteX9" fmla="*/ 187783 w 361890"/>
                <a:gd name="connsiteY9" fmla="*/ 149204 h 320718"/>
                <a:gd name="connsiteX10" fmla="*/ 350466 w 361890"/>
                <a:gd name="connsiteY10" fmla="*/ 141767 h 320718"/>
                <a:gd name="connsiteX0" fmla="*/ 99004 w 174107"/>
                <a:gd name="connsiteY0" fmla="*/ 217530 h 217530"/>
                <a:gd name="connsiteX1" fmla="*/ 173839 w 174107"/>
                <a:gd name="connsiteY1" fmla="*/ 148274 h 217530"/>
                <a:gd name="connsiteX2" fmla="*/ 37649 w 174107"/>
                <a:gd name="connsiteY2" fmla="*/ 121780 h 217530"/>
                <a:gd name="connsiteX3" fmla="*/ 49270 w 174107"/>
                <a:gd name="connsiteY3" fmla="*/ 196149 h 217530"/>
                <a:gd name="connsiteX4" fmla="*/ 127822 w 174107"/>
                <a:gd name="connsiteY4" fmla="*/ 84130 h 217530"/>
                <a:gd name="connsiteX5" fmla="*/ 65538 w 174107"/>
                <a:gd name="connsiteY5" fmla="*/ 0 h 217530"/>
                <a:gd name="connsiteX6" fmla="*/ 76229 w 174107"/>
                <a:gd name="connsiteY6" fmla="*/ 185923 h 217530"/>
                <a:gd name="connsiteX7" fmla="*/ 0 w 174107"/>
                <a:gd name="connsiteY7" fmla="*/ 46016 h 217530"/>
                <a:gd name="connsiteX8" fmla="*/ 162683 w 174107"/>
                <a:gd name="connsiteY8" fmla="*/ 38579 h 21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07" h="217530">
                  <a:moveTo>
                    <a:pt x="99004" y="217530"/>
                  </a:moveTo>
                  <a:cubicBezTo>
                    <a:pt x="132471" y="215671"/>
                    <a:pt x="178022" y="195684"/>
                    <a:pt x="173839" y="148274"/>
                  </a:cubicBezTo>
                  <a:cubicBezTo>
                    <a:pt x="170585" y="109230"/>
                    <a:pt x="87849" y="99004"/>
                    <a:pt x="37649" y="121780"/>
                  </a:cubicBezTo>
                  <a:cubicBezTo>
                    <a:pt x="-9761" y="143161"/>
                    <a:pt x="-13480" y="209628"/>
                    <a:pt x="49270" y="196149"/>
                  </a:cubicBezTo>
                  <a:cubicBezTo>
                    <a:pt x="127358" y="179416"/>
                    <a:pt x="127822" y="84130"/>
                    <a:pt x="127822" y="84130"/>
                  </a:cubicBezTo>
                  <a:moveTo>
                    <a:pt x="65538" y="0"/>
                  </a:moveTo>
                  <a:cubicBezTo>
                    <a:pt x="65538" y="0"/>
                    <a:pt x="51594" y="145950"/>
                    <a:pt x="76229" y="185923"/>
                  </a:cubicBezTo>
                  <a:moveTo>
                    <a:pt x="0" y="46016"/>
                  </a:moveTo>
                  <a:cubicBezTo>
                    <a:pt x="0" y="46016"/>
                    <a:pt x="86454" y="56706"/>
                    <a:pt x="162683" y="38579"/>
                  </a:cubicBezTo>
                </a:path>
              </a:pathLst>
            </a:custGeom>
            <a:noFill/>
            <a:ln w="18761"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9" name="Graphic 569">
              <a:extLst>
                <a:ext uri="{FF2B5EF4-FFF2-40B4-BE49-F238E27FC236}">
                  <a16:creationId xmlns:a16="http://schemas.microsoft.com/office/drawing/2014/main" id="{8F18C6B5-7D59-4130-A841-0A1455D1CA95}"/>
                </a:ext>
              </a:extLst>
            </p:cNvPr>
            <p:cNvSpPr/>
            <p:nvPr/>
          </p:nvSpPr>
          <p:spPr>
            <a:xfrm>
              <a:off x="5060283" y="3595983"/>
              <a:ext cx="151992" cy="203587"/>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10" fmla="*/ 187783 w 361890"/>
                <a:gd name="connsiteY10" fmla="*/ 149204 h 320718"/>
                <a:gd name="connsiteX11" fmla="*/ 350466 w 361890"/>
                <a:gd name="connsiteY11" fmla="*/ 141767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37053 w 361890"/>
                <a:gd name="connsiteY7" fmla="*/ 299337 h 320718"/>
                <a:gd name="connsiteX8" fmla="*/ 315605 w 361890"/>
                <a:gd name="connsiteY8" fmla="*/ 187318 h 320718"/>
                <a:gd name="connsiteX0" fmla="*/ 0 w 362009"/>
                <a:gd name="connsiteY0" fmla="*/ 203586 h 320718"/>
                <a:gd name="connsiteX1" fmla="*/ 79947 w 362009"/>
                <a:gd name="connsiteY1" fmla="*/ 0 h 320718"/>
                <a:gd name="connsiteX2" fmla="*/ 151992 w 362009"/>
                <a:gd name="connsiteY2" fmla="*/ 203586 h 320718"/>
                <a:gd name="connsiteX3" fmla="*/ 26029 w 362009"/>
                <a:gd name="connsiteY3" fmla="*/ 137119 h 320718"/>
                <a:gd name="connsiteX4" fmla="*/ 128287 w 362009"/>
                <a:gd name="connsiteY4" fmla="*/ 137119 h 320718"/>
                <a:gd name="connsiteX5" fmla="*/ 286787 w 362009"/>
                <a:gd name="connsiteY5" fmla="*/ 320718 h 320718"/>
                <a:gd name="connsiteX6" fmla="*/ 361622 w 362009"/>
                <a:gd name="connsiteY6" fmla="*/ 251462 h 320718"/>
                <a:gd name="connsiteX7" fmla="*/ 315605 w 362009"/>
                <a:gd name="connsiteY7"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0" fmla="*/ 0 w 151992"/>
                <a:gd name="connsiteY0" fmla="*/ 203586 h 203586"/>
                <a:gd name="connsiteX1" fmla="*/ 79947 w 151992"/>
                <a:gd name="connsiteY1" fmla="*/ 0 h 203586"/>
                <a:gd name="connsiteX2" fmla="*/ 151992 w 151992"/>
                <a:gd name="connsiteY2" fmla="*/ 203586 h 203586"/>
                <a:gd name="connsiteX3" fmla="*/ 26029 w 151992"/>
                <a:gd name="connsiteY3" fmla="*/ 137119 h 203586"/>
                <a:gd name="connsiteX4" fmla="*/ 128287 w 151992"/>
                <a:gd name="connsiteY4" fmla="*/ 137119 h 20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92" h="203586">
                  <a:moveTo>
                    <a:pt x="0" y="203586"/>
                  </a:moveTo>
                  <a:lnTo>
                    <a:pt x="79947" y="0"/>
                  </a:lnTo>
                  <a:lnTo>
                    <a:pt x="151992" y="203586"/>
                  </a:lnTo>
                  <a:moveTo>
                    <a:pt x="26029" y="137119"/>
                  </a:moveTo>
                  <a:lnTo>
                    <a:pt x="128287" y="137119"/>
                  </a:lnTo>
                </a:path>
              </a:pathLst>
            </a:custGeom>
            <a:noFill/>
            <a:ln w="18761"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39F2B108-BA8E-4BA0-A9F6-5AC7962AF0DD}"/>
              </a:ext>
            </a:extLst>
          </p:cNvPr>
          <p:cNvGrpSpPr/>
          <p:nvPr/>
        </p:nvGrpSpPr>
        <p:grpSpPr>
          <a:xfrm>
            <a:off x="5316650" y="3786925"/>
            <a:ext cx="341981" cy="306338"/>
            <a:chOff x="3561683" y="4660743"/>
            <a:chExt cx="425620" cy="381259"/>
          </a:xfrm>
        </p:grpSpPr>
        <p:sp>
          <p:nvSpPr>
            <p:cNvPr id="132" name="Graphic 569">
              <a:extLst>
                <a:ext uri="{FF2B5EF4-FFF2-40B4-BE49-F238E27FC236}">
                  <a16:creationId xmlns:a16="http://schemas.microsoft.com/office/drawing/2014/main" id="{1111E004-F335-4068-BB75-8A9C4343A6EB}"/>
                </a:ext>
              </a:extLst>
            </p:cNvPr>
            <p:cNvSpPr/>
            <p:nvPr/>
          </p:nvSpPr>
          <p:spPr>
            <a:xfrm>
              <a:off x="3813196" y="4824471"/>
              <a:ext cx="174107" cy="217531"/>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26029 w 361890"/>
                <a:gd name="connsiteY2" fmla="*/ 137119 h 320718"/>
                <a:gd name="connsiteX3" fmla="*/ 128287 w 361890"/>
                <a:gd name="connsiteY3" fmla="*/ 137119 h 320718"/>
                <a:gd name="connsiteX4" fmla="*/ 286787 w 361890"/>
                <a:gd name="connsiteY4" fmla="*/ 320718 h 320718"/>
                <a:gd name="connsiteX5" fmla="*/ 361622 w 361890"/>
                <a:gd name="connsiteY5" fmla="*/ 251462 h 320718"/>
                <a:gd name="connsiteX6" fmla="*/ 225432 w 361890"/>
                <a:gd name="connsiteY6" fmla="*/ 224968 h 320718"/>
                <a:gd name="connsiteX7" fmla="*/ 237053 w 361890"/>
                <a:gd name="connsiteY7" fmla="*/ 299337 h 320718"/>
                <a:gd name="connsiteX8" fmla="*/ 315605 w 361890"/>
                <a:gd name="connsiteY8" fmla="*/ 187318 h 320718"/>
                <a:gd name="connsiteX9" fmla="*/ 253321 w 361890"/>
                <a:gd name="connsiteY9" fmla="*/ 103188 h 320718"/>
                <a:gd name="connsiteX10" fmla="*/ 264012 w 361890"/>
                <a:gd name="connsiteY10" fmla="*/ 289111 h 320718"/>
                <a:gd name="connsiteX11" fmla="*/ 187783 w 361890"/>
                <a:gd name="connsiteY11" fmla="*/ 149204 h 320718"/>
                <a:gd name="connsiteX12" fmla="*/ 350466 w 361890"/>
                <a:gd name="connsiteY12" fmla="*/ 141767 h 320718"/>
                <a:gd name="connsiteX0" fmla="*/ 0 w 361890"/>
                <a:gd name="connsiteY0" fmla="*/ 203586 h 320718"/>
                <a:gd name="connsiteX1" fmla="*/ 79947 w 361890"/>
                <a:gd name="connsiteY1" fmla="*/ 0 h 320718"/>
                <a:gd name="connsiteX2" fmla="*/ 286787 w 361890"/>
                <a:gd name="connsiteY2" fmla="*/ 320718 h 320718"/>
                <a:gd name="connsiteX3" fmla="*/ 361622 w 361890"/>
                <a:gd name="connsiteY3" fmla="*/ 251462 h 320718"/>
                <a:gd name="connsiteX4" fmla="*/ 225432 w 361890"/>
                <a:gd name="connsiteY4" fmla="*/ 224968 h 320718"/>
                <a:gd name="connsiteX5" fmla="*/ 237053 w 361890"/>
                <a:gd name="connsiteY5" fmla="*/ 299337 h 320718"/>
                <a:gd name="connsiteX6" fmla="*/ 315605 w 361890"/>
                <a:gd name="connsiteY6" fmla="*/ 187318 h 320718"/>
                <a:gd name="connsiteX7" fmla="*/ 253321 w 361890"/>
                <a:gd name="connsiteY7" fmla="*/ 103188 h 320718"/>
                <a:gd name="connsiteX8" fmla="*/ 264012 w 361890"/>
                <a:gd name="connsiteY8" fmla="*/ 289111 h 320718"/>
                <a:gd name="connsiteX9" fmla="*/ 187783 w 361890"/>
                <a:gd name="connsiteY9" fmla="*/ 149204 h 320718"/>
                <a:gd name="connsiteX10" fmla="*/ 350466 w 361890"/>
                <a:gd name="connsiteY10" fmla="*/ 141767 h 320718"/>
                <a:gd name="connsiteX0" fmla="*/ 99004 w 174107"/>
                <a:gd name="connsiteY0" fmla="*/ 217530 h 217530"/>
                <a:gd name="connsiteX1" fmla="*/ 173839 w 174107"/>
                <a:gd name="connsiteY1" fmla="*/ 148274 h 217530"/>
                <a:gd name="connsiteX2" fmla="*/ 37649 w 174107"/>
                <a:gd name="connsiteY2" fmla="*/ 121780 h 217530"/>
                <a:gd name="connsiteX3" fmla="*/ 49270 w 174107"/>
                <a:gd name="connsiteY3" fmla="*/ 196149 h 217530"/>
                <a:gd name="connsiteX4" fmla="*/ 127822 w 174107"/>
                <a:gd name="connsiteY4" fmla="*/ 84130 h 217530"/>
                <a:gd name="connsiteX5" fmla="*/ 65538 w 174107"/>
                <a:gd name="connsiteY5" fmla="*/ 0 h 217530"/>
                <a:gd name="connsiteX6" fmla="*/ 76229 w 174107"/>
                <a:gd name="connsiteY6" fmla="*/ 185923 h 217530"/>
                <a:gd name="connsiteX7" fmla="*/ 0 w 174107"/>
                <a:gd name="connsiteY7" fmla="*/ 46016 h 217530"/>
                <a:gd name="connsiteX8" fmla="*/ 162683 w 174107"/>
                <a:gd name="connsiteY8" fmla="*/ 38579 h 21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07" h="217530">
                  <a:moveTo>
                    <a:pt x="99004" y="217530"/>
                  </a:moveTo>
                  <a:cubicBezTo>
                    <a:pt x="132471" y="215671"/>
                    <a:pt x="178022" y="195684"/>
                    <a:pt x="173839" y="148274"/>
                  </a:cubicBezTo>
                  <a:cubicBezTo>
                    <a:pt x="170585" y="109230"/>
                    <a:pt x="87849" y="99004"/>
                    <a:pt x="37649" y="121780"/>
                  </a:cubicBezTo>
                  <a:cubicBezTo>
                    <a:pt x="-9761" y="143161"/>
                    <a:pt x="-13480" y="209628"/>
                    <a:pt x="49270" y="196149"/>
                  </a:cubicBezTo>
                  <a:cubicBezTo>
                    <a:pt x="127358" y="179416"/>
                    <a:pt x="127822" y="84130"/>
                    <a:pt x="127822" y="84130"/>
                  </a:cubicBezTo>
                  <a:moveTo>
                    <a:pt x="65538" y="0"/>
                  </a:moveTo>
                  <a:cubicBezTo>
                    <a:pt x="65538" y="0"/>
                    <a:pt x="51594" y="145950"/>
                    <a:pt x="76229" y="185923"/>
                  </a:cubicBezTo>
                  <a:moveTo>
                    <a:pt x="0" y="46016"/>
                  </a:moveTo>
                  <a:cubicBezTo>
                    <a:pt x="0" y="46016"/>
                    <a:pt x="86454" y="56706"/>
                    <a:pt x="162683" y="38579"/>
                  </a:cubicBez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3" name="Graphic 569">
              <a:extLst>
                <a:ext uri="{FF2B5EF4-FFF2-40B4-BE49-F238E27FC236}">
                  <a16:creationId xmlns:a16="http://schemas.microsoft.com/office/drawing/2014/main" id="{900F1F51-8133-4B06-B8AA-E75DB4EE524A}"/>
                </a:ext>
              </a:extLst>
            </p:cNvPr>
            <p:cNvSpPr/>
            <p:nvPr/>
          </p:nvSpPr>
          <p:spPr>
            <a:xfrm>
              <a:off x="3561683" y="4660743"/>
              <a:ext cx="151992" cy="189108"/>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10" fmla="*/ 187783 w 361890"/>
                <a:gd name="connsiteY10" fmla="*/ 149204 h 320718"/>
                <a:gd name="connsiteX11" fmla="*/ 350466 w 361890"/>
                <a:gd name="connsiteY11" fmla="*/ 141767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37053 w 361890"/>
                <a:gd name="connsiteY7" fmla="*/ 299337 h 320718"/>
                <a:gd name="connsiteX8" fmla="*/ 315605 w 361890"/>
                <a:gd name="connsiteY8" fmla="*/ 187318 h 320718"/>
                <a:gd name="connsiteX0" fmla="*/ 0 w 362009"/>
                <a:gd name="connsiteY0" fmla="*/ 203586 h 320718"/>
                <a:gd name="connsiteX1" fmla="*/ 79947 w 362009"/>
                <a:gd name="connsiteY1" fmla="*/ 0 h 320718"/>
                <a:gd name="connsiteX2" fmla="*/ 151992 w 362009"/>
                <a:gd name="connsiteY2" fmla="*/ 203586 h 320718"/>
                <a:gd name="connsiteX3" fmla="*/ 26029 w 362009"/>
                <a:gd name="connsiteY3" fmla="*/ 137119 h 320718"/>
                <a:gd name="connsiteX4" fmla="*/ 128287 w 362009"/>
                <a:gd name="connsiteY4" fmla="*/ 137119 h 320718"/>
                <a:gd name="connsiteX5" fmla="*/ 286787 w 362009"/>
                <a:gd name="connsiteY5" fmla="*/ 320718 h 320718"/>
                <a:gd name="connsiteX6" fmla="*/ 361622 w 362009"/>
                <a:gd name="connsiteY6" fmla="*/ 251462 h 320718"/>
                <a:gd name="connsiteX7" fmla="*/ 315605 w 362009"/>
                <a:gd name="connsiteY7"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0" fmla="*/ 0 w 151992"/>
                <a:gd name="connsiteY0" fmla="*/ 203586 h 203586"/>
                <a:gd name="connsiteX1" fmla="*/ 79947 w 151992"/>
                <a:gd name="connsiteY1" fmla="*/ 0 h 203586"/>
                <a:gd name="connsiteX2" fmla="*/ 151992 w 151992"/>
                <a:gd name="connsiteY2" fmla="*/ 203586 h 203586"/>
                <a:gd name="connsiteX3" fmla="*/ 26029 w 151992"/>
                <a:gd name="connsiteY3" fmla="*/ 137119 h 203586"/>
                <a:gd name="connsiteX4" fmla="*/ 128287 w 151992"/>
                <a:gd name="connsiteY4" fmla="*/ 137119 h 20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92" h="203586">
                  <a:moveTo>
                    <a:pt x="0" y="203586"/>
                  </a:moveTo>
                  <a:lnTo>
                    <a:pt x="79947" y="0"/>
                  </a:lnTo>
                  <a:lnTo>
                    <a:pt x="151992" y="203586"/>
                  </a:lnTo>
                  <a:moveTo>
                    <a:pt x="26029" y="137119"/>
                  </a:moveTo>
                  <a:lnTo>
                    <a:pt x="128287" y="137119"/>
                  </a:ln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6B91A577-684C-414C-AB46-F49B972020B9}"/>
                </a:ext>
              </a:extLst>
            </p:cNvPr>
            <p:cNvGrpSpPr/>
            <p:nvPr/>
          </p:nvGrpSpPr>
          <p:grpSpPr>
            <a:xfrm rot="4500000">
              <a:off x="3602680" y="4874014"/>
              <a:ext cx="143879" cy="156277"/>
              <a:chOff x="3545204" y="5263677"/>
              <a:chExt cx="244801" cy="265895"/>
            </a:xfrm>
          </p:grpSpPr>
          <p:sp>
            <p:nvSpPr>
              <p:cNvPr id="136" name="Freeform 6">
                <a:extLst>
                  <a:ext uri="{FF2B5EF4-FFF2-40B4-BE49-F238E27FC236}">
                    <a16:creationId xmlns:a16="http://schemas.microsoft.com/office/drawing/2014/main" id="{CD061768-F007-471C-8945-F87A07B5678B}"/>
                  </a:ext>
                </a:extLst>
              </p:cNvPr>
              <p:cNvSpPr>
                <a:spLocks/>
              </p:cNvSpPr>
              <p:nvPr/>
            </p:nvSpPr>
            <p:spPr bwMode="auto">
              <a:xfrm>
                <a:off x="3561942" y="5263677"/>
                <a:ext cx="228063" cy="199838"/>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7">
                <a:extLst>
                  <a:ext uri="{FF2B5EF4-FFF2-40B4-BE49-F238E27FC236}">
                    <a16:creationId xmlns:a16="http://schemas.microsoft.com/office/drawing/2014/main" id="{18303137-45E2-4869-BD68-A812990C8662}"/>
                  </a:ext>
                </a:extLst>
              </p:cNvPr>
              <p:cNvSpPr>
                <a:spLocks/>
              </p:cNvSpPr>
              <p:nvPr/>
            </p:nvSpPr>
            <p:spPr bwMode="auto">
              <a:xfrm>
                <a:off x="3545204" y="5401974"/>
                <a:ext cx="82027" cy="127598"/>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B3CD00E5-955A-4509-BCBB-BB2706C9C4DC}"/>
                </a:ext>
              </a:extLst>
            </p:cNvPr>
            <p:cNvGrpSpPr/>
            <p:nvPr/>
          </p:nvGrpSpPr>
          <p:grpSpPr>
            <a:xfrm rot="4500000">
              <a:off x="3742474" y="4658569"/>
              <a:ext cx="128617" cy="158317"/>
              <a:chOff x="3433233" y="5042859"/>
              <a:chExt cx="218833" cy="269366"/>
            </a:xfrm>
          </p:grpSpPr>
          <p:sp>
            <p:nvSpPr>
              <p:cNvPr id="135" name="Freeform 5">
                <a:extLst>
                  <a:ext uri="{FF2B5EF4-FFF2-40B4-BE49-F238E27FC236}">
                    <a16:creationId xmlns:a16="http://schemas.microsoft.com/office/drawing/2014/main" id="{CD922CD4-1C9C-4E6A-8B51-1FD883250ADD}"/>
                  </a:ext>
                </a:extLst>
              </p:cNvPr>
              <p:cNvSpPr>
                <a:spLocks/>
              </p:cNvSpPr>
              <p:nvPr/>
            </p:nvSpPr>
            <p:spPr bwMode="auto">
              <a:xfrm>
                <a:off x="3433233" y="5107871"/>
                <a:ext cx="200966" cy="204354"/>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8">
                <a:extLst>
                  <a:ext uri="{FF2B5EF4-FFF2-40B4-BE49-F238E27FC236}">
                    <a16:creationId xmlns:a16="http://schemas.microsoft.com/office/drawing/2014/main" id="{BBE89189-E2F9-431D-9116-772B9F3B3C05}"/>
                  </a:ext>
                </a:extLst>
              </p:cNvPr>
              <p:cNvSpPr>
                <a:spLocks/>
              </p:cNvSpPr>
              <p:nvPr/>
            </p:nvSpPr>
            <p:spPr bwMode="auto">
              <a:xfrm rot="20743478">
                <a:off x="3570039" y="5042859"/>
                <a:ext cx="82027" cy="129421"/>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54" name="Group 153">
            <a:extLst>
              <a:ext uri="{FF2B5EF4-FFF2-40B4-BE49-F238E27FC236}">
                <a16:creationId xmlns:a16="http://schemas.microsoft.com/office/drawing/2014/main" id="{CB7CAADF-7DF3-41AA-BA62-0490FF39F80F}"/>
              </a:ext>
            </a:extLst>
          </p:cNvPr>
          <p:cNvGrpSpPr/>
          <p:nvPr/>
        </p:nvGrpSpPr>
        <p:grpSpPr>
          <a:xfrm>
            <a:off x="4912299" y="4616410"/>
            <a:ext cx="342902" cy="411482"/>
            <a:chOff x="2511480" y="1832429"/>
            <a:chExt cx="3056720" cy="3668061"/>
          </a:xfrm>
        </p:grpSpPr>
        <p:sp>
          <p:nvSpPr>
            <p:cNvPr id="155" name="Freeform 18">
              <a:extLst>
                <a:ext uri="{FF2B5EF4-FFF2-40B4-BE49-F238E27FC236}">
                  <a16:creationId xmlns:a16="http://schemas.microsoft.com/office/drawing/2014/main" id="{35C49334-A9DE-458C-AD18-CEBC771DC84D}"/>
                </a:ext>
              </a:extLst>
            </p:cNvPr>
            <p:cNvSpPr>
              <a:spLocks noEditPoints="1"/>
            </p:cNvSpPr>
            <p:nvPr/>
          </p:nvSpPr>
          <p:spPr bwMode="auto">
            <a:xfrm>
              <a:off x="2511480" y="1832429"/>
              <a:ext cx="1222690" cy="1222690"/>
            </a:xfrm>
            <a:custGeom>
              <a:avLst/>
              <a:gdLst>
                <a:gd name="T0" fmla="*/ 51 w 107"/>
                <a:gd name="T1" fmla="*/ 20 h 106"/>
                <a:gd name="T2" fmla="*/ 51 w 107"/>
                <a:gd name="T3" fmla="*/ 20 h 106"/>
                <a:gd name="T4" fmla="*/ 52 w 107"/>
                <a:gd name="T5" fmla="*/ 16 h 106"/>
                <a:gd name="T6" fmla="*/ 53 w 107"/>
                <a:gd name="T7" fmla="*/ 13 h 106"/>
                <a:gd name="T8" fmla="*/ 53 w 107"/>
                <a:gd name="T9" fmla="*/ 13 h 106"/>
                <a:gd name="T10" fmla="*/ 54 w 107"/>
                <a:gd name="T11" fmla="*/ 16 h 106"/>
                <a:gd name="T12" fmla="*/ 55 w 107"/>
                <a:gd name="T13" fmla="*/ 20 h 106"/>
                <a:gd name="T14" fmla="*/ 74 w 107"/>
                <a:gd name="T15" fmla="*/ 65 h 106"/>
                <a:gd name="T16" fmla="*/ 32 w 107"/>
                <a:gd name="T17" fmla="*/ 65 h 106"/>
                <a:gd name="T18" fmla="*/ 51 w 107"/>
                <a:gd name="T19" fmla="*/ 20 h 106"/>
                <a:gd name="T20" fmla="*/ 27 w 107"/>
                <a:gd name="T21" fmla="*/ 76 h 106"/>
                <a:gd name="T22" fmla="*/ 27 w 107"/>
                <a:gd name="T23" fmla="*/ 76 h 106"/>
                <a:gd name="T24" fmla="*/ 78 w 107"/>
                <a:gd name="T25" fmla="*/ 76 h 106"/>
                <a:gd name="T26" fmla="*/ 91 w 107"/>
                <a:gd name="T27" fmla="*/ 106 h 106"/>
                <a:gd name="T28" fmla="*/ 107 w 107"/>
                <a:gd name="T29" fmla="*/ 106 h 106"/>
                <a:gd name="T30" fmla="*/ 61 w 107"/>
                <a:gd name="T31" fmla="*/ 0 h 106"/>
                <a:gd name="T32" fmla="*/ 46 w 107"/>
                <a:gd name="T33" fmla="*/ 0 h 106"/>
                <a:gd name="T34" fmla="*/ 0 w 107"/>
                <a:gd name="T35" fmla="*/ 106 h 106"/>
                <a:gd name="T36" fmla="*/ 16 w 107"/>
                <a:gd name="T37" fmla="*/ 106 h 106"/>
                <a:gd name="T38" fmla="*/ 27 w 107"/>
                <a:gd name="T39" fmla="*/ 7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06">
                  <a:moveTo>
                    <a:pt x="51" y="20"/>
                  </a:moveTo>
                  <a:lnTo>
                    <a:pt x="51" y="20"/>
                  </a:lnTo>
                  <a:cubicBezTo>
                    <a:pt x="52" y="19"/>
                    <a:pt x="52" y="18"/>
                    <a:pt x="52" y="16"/>
                  </a:cubicBezTo>
                  <a:cubicBezTo>
                    <a:pt x="52" y="15"/>
                    <a:pt x="52" y="14"/>
                    <a:pt x="53" y="13"/>
                  </a:cubicBezTo>
                  <a:lnTo>
                    <a:pt x="53" y="13"/>
                  </a:lnTo>
                  <a:cubicBezTo>
                    <a:pt x="54" y="14"/>
                    <a:pt x="54" y="15"/>
                    <a:pt x="54" y="16"/>
                  </a:cubicBezTo>
                  <a:cubicBezTo>
                    <a:pt x="54" y="18"/>
                    <a:pt x="55" y="19"/>
                    <a:pt x="55" y="20"/>
                  </a:cubicBezTo>
                  <a:lnTo>
                    <a:pt x="74" y="65"/>
                  </a:lnTo>
                  <a:lnTo>
                    <a:pt x="32" y="65"/>
                  </a:lnTo>
                  <a:lnTo>
                    <a:pt x="51" y="20"/>
                  </a:lnTo>
                  <a:close/>
                  <a:moveTo>
                    <a:pt x="27" y="76"/>
                  </a:moveTo>
                  <a:lnTo>
                    <a:pt x="27" y="76"/>
                  </a:lnTo>
                  <a:lnTo>
                    <a:pt x="78" y="76"/>
                  </a:lnTo>
                  <a:lnTo>
                    <a:pt x="91" y="106"/>
                  </a:lnTo>
                  <a:lnTo>
                    <a:pt x="107" y="106"/>
                  </a:lnTo>
                  <a:lnTo>
                    <a:pt x="61" y="0"/>
                  </a:lnTo>
                  <a:lnTo>
                    <a:pt x="46" y="0"/>
                  </a:lnTo>
                  <a:lnTo>
                    <a:pt x="0" y="106"/>
                  </a:lnTo>
                  <a:lnTo>
                    <a:pt x="16" y="106"/>
                  </a:lnTo>
                  <a:lnTo>
                    <a:pt x="27" y="7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19">
              <a:extLst>
                <a:ext uri="{FF2B5EF4-FFF2-40B4-BE49-F238E27FC236}">
                  <a16:creationId xmlns:a16="http://schemas.microsoft.com/office/drawing/2014/main" id="{00C67959-EF12-464A-A140-AF01C1204ABB}"/>
                </a:ext>
              </a:extLst>
            </p:cNvPr>
            <p:cNvSpPr>
              <a:spLocks/>
            </p:cNvSpPr>
            <p:nvPr/>
          </p:nvSpPr>
          <p:spPr bwMode="auto">
            <a:xfrm>
              <a:off x="2511480" y="5204082"/>
              <a:ext cx="3056720" cy="296408"/>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Freeform 20">
              <a:extLst>
                <a:ext uri="{FF2B5EF4-FFF2-40B4-BE49-F238E27FC236}">
                  <a16:creationId xmlns:a16="http://schemas.microsoft.com/office/drawing/2014/main" id="{0033C6DC-9A11-4B2E-AF84-838AADA1EDB3}"/>
                </a:ext>
              </a:extLst>
            </p:cNvPr>
            <p:cNvSpPr>
              <a:spLocks/>
            </p:cNvSpPr>
            <p:nvPr/>
          </p:nvSpPr>
          <p:spPr bwMode="auto">
            <a:xfrm>
              <a:off x="2511480" y="4592741"/>
              <a:ext cx="3056720"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Freeform 21">
              <a:extLst>
                <a:ext uri="{FF2B5EF4-FFF2-40B4-BE49-F238E27FC236}">
                  <a16:creationId xmlns:a16="http://schemas.microsoft.com/office/drawing/2014/main" id="{EBC62DD0-E046-40A8-A397-78CA2A3F055B}"/>
                </a:ext>
              </a:extLst>
            </p:cNvPr>
            <p:cNvSpPr>
              <a:spLocks/>
            </p:cNvSpPr>
            <p:nvPr/>
          </p:nvSpPr>
          <p:spPr bwMode="auto">
            <a:xfrm>
              <a:off x="2511480" y="3981392"/>
              <a:ext cx="3056720"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22">
              <a:extLst>
                <a:ext uri="{FF2B5EF4-FFF2-40B4-BE49-F238E27FC236}">
                  <a16:creationId xmlns:a16="http://schemas.microsoft.com/office/drawing/2014/main" id="{6EE1DAF3-F474-403A-8D83-26DCFC3E49E1}"/>
                </a:ext>
              </a:extLst>
            </p:cNvPr>
            <p:cNvSpPr>
              <a:spLocks/>
            </p:cNvSpPr>
            <p:nvPr/>
          </p:nvSpPr>
          <p:spPr bwMode="auto">
            <a:xfrm>
              <a:off x="4030578" y="2740178"/>
              <a:ext cx="1537622" cy="314932"/>
            </a:xfrm>
            <a:custGeom>
              <a:avLst/>
              <a:gdLst>
                <a:gd name="T0" fmla="*/ 133 w 133"/>
                <a:gd name="T1" fmla="*/ 0 h 27"/>
                <a:gd name="T2" fmla="*/ 133 w 133"/>
                <a:gd name="T3" fmla="*/ 0 h 27"/>
                <a:gd name="T4" fmla="*/ 0 w 133"/>
                <a:gd name="T5" fmla="*/ 0 h 27"/>
                <a:gd name="T6" fmla="*/ 0 w 133"/>
                <a:gd name="T7" fmla="*/ 27 h 27"/>
                <a:gd name="T8" fmla="*/ 133 w 133"/>
                <a:gd name="T9" fmla="*/ 27 h 27"/>
                <a:gd name="T10" fmla="*/ 133 w 133"/>
                <a:gd name="T11" fmla="*/ 0 h 27"/>
              </a:gdLst>
              <a:ahLst/>
              <a:cxnLst>
                <a:cxn ang="0">
                  <a:pos x="T0" y="T1"/>
                </a:cxn>
                <a:cxn ang="0">
                  <a:pos x="T2" y="T3"/>
                </a:cxn>
                <a:cxn ang="0">
                  <a:pos x="T4" y="T5"/>
                </a:cxn>
                <a:cxn ang="0">
                  <a:pos x="T6" y="T7"/>
                </a:cxn>
                <a:cxn ang="0">
                  <a:pos x="T8" y="T9"/>
                </a:cxn>
                <a:cxn ang="0">
                  <a:pos x="T10" y="T11"/>
                </a:cxn>
              </a:cxnLst>
              <a:rect l="0" t="0" r="r" b="b"/>
              <a:pathLst>
                <a:path w="133" h="27">
                  <a:moveTo>
                    <a:pt x="133" y="0"/>
                  </a:moveTo>
                  <a:lnTo>
                    <a:pt x="133" y="0"/>
                  </a:lnTo>
                  <a:lnTo>
                    <a:pt x="0" y="0"/>
                  </a:lnTo>
                  <a:lnTo>
                    <a:pt x="0" y="27"/>
                  </a:lnTo>
                  <a:lnTo>
                    <a:pt x="133" y="27"/>
                  </a:lnTo>
                  <a:lnTo>
                    <a:pt x="133"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23">
              <a:extLst>
                <a:ext uri="{FF2B5EF4-FFF2-40B4-BE49-F238E27FC236}">
                  <a16:creationId xmlns:a16="http://schemas.microsoft.com/office/drawing/2014/main" id="{95F3D528-D22D-4D52-9986-AC30686F51EF}"/>
                </a:ext>
              </a:extLst>
            </p:cNvPr>
            <p:cNvSpPr>
              <a:spLocks/>
            </p:cNvSpPr>
            <p:nvPr/>
          </p:nvSpPr>
          <p:spPr bwMode="auto">
            <a:xfrm>
              <a:off x="2511480" y="3370051"/>
              <a:ext cx="3056720"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19">
              <a:extLst>
                <a:ext uri="{FF2B5EF4-FFF2-40B4-BE49-F238E27FC236}">
                  <a16:creationId xmlns:a16="http://schemas.microsoft.com/office/drawing/2014/main" id="{CA1FC977-48D4-420D-BF93-E7B4351E4E97}"/>
                </a:ext>
              </a:extLst>
            </p:cNvPr>
            <p:cNvSpPr>
              <a:spLocks/>
            </p:cNvSpPr>
            <p:nvPr/>
          </p:nvSpPr>
          <p:spPr bwMode="auto">
            <a:xfrm>
              <a:off x="2835028" y="5204082"/>
              <a:ext cx="1533772" cy="296408"/>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0">
              <a:extLst>
                <a:ext uri="{FF2B5EF4-FFF2-40B4-BE49-F238E27FC236}">
                  <a16:creationId xmlns:a16="http://schemas.microsoft.com/office/drawing/2014/main" id="{12DB09B8-071B-4CBC-ACAF-9B6CBCFDE462}"/>
                </a:ext>
              </a:extLst>
            </p:cNvPr>
            <p:cNvSpPr>
              <a:spLocks/>
            </p:cNvSpPr>
            <p:nvPr/>
          </p:nvSpPr>
          <p:spPr bwMode="auto">
            <a:xfrm>
              <a:off x="3842425" y="4592741"/>
              <a:ext cx="1334521"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2">
              <a:extLst>
                <a:ext uri="{FF2B5EF4-FFF2-40B4-BE49-F238E27FC236}">
                  <a16:creationId xmlns:a16="http://schemas.microsoft.com/office/drawing/2014/main" id="{466F706C-26B2-48E7-944F-A9E485A236CF}"/>
                </a:ext>
              </a:extLst>
            </p:cNvPr>
            <p:cNvSpPr>
              <a:spLocks/>
            </p:cNvSpPr>
            <p:nvPr/>
          </p:nvSpPr>
          <p:spPr bwMode="auto">
            <a:xfrm>
              <a:off x="4847771" y="2740178"/>
              <a:ext cx="720429" cy="314932"/>
            </a:xfrm>
            <a:custGeom>
              <a:avLst/>
              <a:gdLst>
                <a:gd name="T0" fmla="*/ 133 w 133"/>
                <a:gd name="T1" fmla="*/ 0 h 27"/>
                <a:gd name="T2" fmla="*/ 133 w 133"/>
                <a:gd name="T3" fmla="*/ 0 h 27"/>
                <a:gd name="T4" fmla="*/ 0 w 133"/>
                <a:gd name="T5" fmla="*/ 0 h 27"/>
                <a:gd name="T6" fmla="*/ 0 w 133"/>
                <a:gd name="T7" fmla="*/ 27 h 27"/>
                <a:gd name="T8" fmla="*/ 133 w 133"/>
                <a:gd name="T9" fmla="*/ 27 h 27"/>
                <a:gd name="T10" fmla="*/ 133 w 133"/>
                <a:gd name="T11" fmla="*/ 0 h 27"/>
              </a:gdLst>
              <a:ahLst/>
              <a:cxnLst>
                <a:cxn ang="0">
                  <a:pos x="T0" y="T1"/>
                </a:cxn>
                <a:cxn ang="0">
                  <a:pos x="T2" y="T3"/>
                </a:cxn>
                <a:cxn ang="0">
                  <a:pos x="T4" y="T5"/>
                </a:cxn>
                <a:cxn ang="0">
                  <a:pos x="T6" y="T7"/>
                </a:cxn>
                <a:cxn ang="0">
                  <a:pos x="T8" y="T9"/>
                </a:cxn>
                <a:cxn ang="0">
                  <a:pos x="T10" y="T11"/>
                </a:cxn>
              </a:cxnLst>
              <a:rect l="0" t="0" r="r" b="b"/>
              <a:pathLst>
                <a:path w="133" h="27">
                  <a:moveTo>
                    <a:pt x="133" y="0"/>
                  </a:moveTo>
                  <a:lnTo>
                    <a:pt x="133" y="0"/>
                  </a:lnTo>
                  <a:lnTo>
                    <a:pt x="0" y="0"/>
                  </a:lnTo>
                  <a:lnTo>
                    <a:pt x="0" y="27"/>
                  </a:lnTo>
                  <a:lnTo>
                    <a:pt x="133" y="27"/>
                  </a:lnTo>
                  <a:lnTo>
                    <a:pt x="13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3">
              <a:extLst>
                <a:ext uri="{FF2B5EF4-FFF2-40B4-BE49-F238E27FC236}">
                  <a16:creationId xmlns:a16="http://schemas.microsoft.com/office/drawing/2014/main" id="{E77D4373-242D-40E2-85F4-F1F320AD37BE}"/>
                </a:ext>
              </a:extLst>
            </p:cNvPr>
            <p:cNvSpPr>
              <a:spLocks/>
            </p:cNvSpPr>
            <p:nvPr/>
          </p:nvSpPr>
          <p:spPr bwMode="auto">
            <a:xfrm>
              <a:off x="2511480" y="3370051"/>
              <a:ext cx="1550658" cy="296408"/>
            </a:xfrm>
            <a:custGeom>
              <a:avLst/>
              <a:gdLst>
                <a:gd name="T0" fmla="*/ 266 w 266"/>
                <a:gd name="T1" fmla="*/ 0 h 26"/>
                <a:gd name="T2" fmla="*/ 266 w 266"/>
                <a:gd name="T3" fmla="*/ 0 h 26"/>
                <a:gd name="T4" fmla="*/ 0 w 266"/>
                <a:gd name="T5" fmla="*/ 0 h 26"/>
                <a:gd name="T6" fmla="*/ 0 w 266"/>
                <a:gd name="T7" fmla="*/ 26 h 26"/>
                <a:gd name="T8" fmla="*/ 266 w 266"/>
                <a:gd name="T9" fmla="*/ 26 h 26"/>
                <a:gd name="T10" fmla="*/ 266 w 266"/>
                <a:gd name="T11" fmla="*/ 0 h 26"/>
              </a:gdLst>
              <a:ahLst/>
              <a:cxnLst>
                <a:cxn ang="0">
                  <a:pos x="T0" y="T1"/>
                </a:cxn>
                <a:cxn ang="0">
                  <a:pos x="T2" y="T3"/>
                </a:cxn>
                <a:cxn ang="0">
                  <a:pos x="T4" y="T5"/>
                </a:cxn>
                <a:cxn ang="0">
                  <a:pos x="T6" y="T7"/>
                </a:cxn>
                <a:cxn ang="0">
                  <a:pos x="T8" y="T9"/>
                </a:cxn>
                <a:cxn ang="0">
                  <a:pos x="T10" y="T11"/>
                </a:cxn>
              </a:cxnLst>
              <a:rect l="0" t="0" r="r" b="b"/>
              <a:pathLst>
                <a:path w="266" h="26">
                  <a:moveTo>
                    <a:pt x="266" y="0"/>
                  </a:moveTo>
                  <a:lnTo>
                    <a:pt x="266" y="0"/>
                  </a:lnTo>
                  <a:lnTo>
                    <a:pt x="0" y="0"/>
                  </a:lnTo>
                  <a:lnTo>
                    <a:pt x="0" y="26"/>
                  </a:lnTo>
                  <a:lnTo>
                    <a:pt x="266" y="26"/>
                  </a:lnTo>
                  <a:lnTo>
                    <a:pt x="26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Right Bracket 164">
            <a:extLst>
              <a:ext uri="{FF2B5EF4-FFF2-40B4-BE49-F238E27FC236}">
                <a16:creationId xmlns:a16="http://schemas.microsoft.com/office/drawing/2014/main" id="{89236C1F-4C49-4095-84C5-701AE353CBD9}"/>
              </a:ext>
            </a:extLst>
          </p:cNvPr>
          <p:cNvSpPr/>
          <p:nvPr/>
        </p:nvSpPr>
        <p:spPr>
          <a:xfrm>
            <a:off x="5877309" y="3837141"/>
            <a:ext cx="104971" cy="1534741"/>
          </a:xfrm>
          <a:prstGeom prst="rightBracket">
            <a:avLst>
              <a:gd name="adj" fmla="val 0"/>
            </a:avLst>
          </a:prstGeom>
          <a:noFill/>
          <a:ln w="12700">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7" name="Connector: Elbow 16">
            <a:extLst>
              <a:ext uri="{FF2B5EF4-FFF2-40B4-BE49-F238E27FC236}">
                <a16:creationId xmlns:a16="http://schemas.microsoft.com/office/drawing/2014/main" id="{83B76D60-7C03-4A86-8AAD-49274C49D108}"/>
              </a:ext>
            </a:extLst>
          </p:cNvPr>
          <p:cNvCxnSpPr>
            <a:cxnSpLocks/>
          </p:cNvCxnSpPr>
          <p:nvPr/>
        </p:nvCxnSpPr>
        <p:spPr>
          <a:xfrm rot="10800000" flipH="1">
            <a:off x="5985370" y="4323257"/>
            <a:ext cx="2593230" cy="314560"/>
          </a:xfrm>
          <a:prstGeom prst="bentConnector5">
            <a:avLst>
              <a:gd name="adj1" fmla="val 84515"/>
              <a:gd name="adj2" fmla="val 99668"/>
              <a:gd name="adj3" fmla="val 8446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4" name="Freeform: Shape 183">
            <a:extLst>
              <a:ext uri="{FF2B5EF4-FFF2-40B4-BE49-F238E27FC236}">
                <a16:creationId xmlns:a16="http://schemas.microsoft.com/office/drawing/2014/main" id="{4F485C99-2D0D-40B3-A5B0-849E60008C06}"/>
              </a:ext>
            </a:extLst>
          </p:cNvPr>
          <p:cNvSpPr>
            <a:spLocks/>
          </p:cNvSpPr>
          <p:nvPr/>
        </p:nvSpPr>
        <p:spPr bwMode="auto">
          <a:xfrm>
            <a:off x="6959893" y="3548924"/>
            <a:ext cx="263526" cy="393700"/>
          </a:xfrm>
          <a:custGeom>
            <a:avLst/>
            <a:gdLst>
              <a:gd name="connsiteX0" fmla="*/ 0 w 263525"/>
              <a:gd name="connsiteY0" fmla="*/ 368300 h 393700"/>
              <a:gd name="connsiteX1" fmla="*/ 263525 w 263525"/>
              <a:gd name="connsiteY1" fmla="*/ 368300 h 393700"/>
              <a:gd name="connsiteX2" fmla="*/ 263525 w 263525"/>
              <a:gd name="connsiteY2" fmla="*/ 393700 h 393700"/>
              <a:gd name="connsiteX3" fmla="*/ 0 w 263525"/>
              <a:gd name="connsiteY3" fmla="*/ 393700 h 393700"/>
              <a:gd name="connsiteX4" fmla="*/ 115979 w 263525"/>
              <a:gd name="connsiteY4" fmla="*/ 0 h 393700"/>
              <a:gd name="connsiteX5" fmla="*/ 147545 w 263525"/>
              <a:gd name="connsiteY5" fmla="*/ 0 h 393700"/>
              <a:gd name="connsiteX6" fmla="*/ 233362 w 263525"/>
              <a:gd name="connsiteY6" fmla="*/ 341313 h 393700"/>
              <a:gd name="connsiteX7" fmla="*/ 30162 w 263525"/>
              <a:gd name="connsiteY7" fmla="*/ 341313 h 393700"/>
              <a:gd name="connsiteX8" fmla="*/ 49890 w 263525"/>
              <a:gd name="connsiteY8" fmla="*/ 262624 h 393700"/>
              <a:gd name="connsiteX9" fmla="*/ 187987 w 263525"/>
              <a:gd name="connsiteY9" fmla="*/ 262624 h 393700"/>
              <a:gd name="connsiteX10" fmla="*/ 181082 w 263525"/>
              <a:gd name="connsiteY10" fmla="*/ 236067 h 393700"/>
              <a:gd name="connsiteX11" fmla="*/ 56795 w 263525"/>
              <a:gd name="connsiteY11" fmla="*/ 236067 h 393700"/>
              <a:gd name="connsiteX12" fmla="*/ 69618 w 263525"/>
              <a:gd name="connsiteY12" fmla="*/ 183935 h 393700"/>
              <a:gd name="connsiteX13" fmla="*/ 168259 w 263525"/>
              <a:gd name="connsiteY13" fmla="*/ 183935 h 393700"/>
              <a:gd name="connsiteX14" fmla="*/ 161354 w 263525"/>
              <a:gd name="connsiteY14" fmla="*/ 157378 h 393700"/>
              <a:gd name="connsiteX15" fmla="*/ 76523 w 263525"/>
              <a:gd name="connsiteY15" fmla="*/ 157378 h 39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3525" h="393700">
                <a:moveTo>
                  <a:pt x="0" y="368300"/>
                </a:moveTo>
                <a:lnTo>
                  <a:pt x="263525" y="368300"/>
                </a:lnTo>
                <a:lnTo>
                  <a:pt x="263525" y="393700"/>
                </a:lnTo>
                <a:lnTo>
                  <a:pt x="0" y="393700"/>
                </a:lnTo>
                <a:close/>
                <a:moveTo>
                  <a:pt x="115979" y="0"/>
                </a:moveTo>
                <a:lnTo>
                  <a:pt x="147545" y="0"/>
                </a:lnTo>
                <a:lnTo>
                  <a:pt x="233362" y="341313"/>
                </a:lnTo>
                <a:lnTo>
                  <a:pt x="30162" y="341313"/>
                </a:lnTo>
                <a:lnTo>
                  <a:pt x="49890" y="262624"/>
                </a:lnTo>
                <a:lnTo>
                  <a:pt x="187987" y="262624"/>
                </a:lnTo>
                <a:lnTo>
                  <a:pt x="181082" y="236067"/>
                </a:lnTo>
                <a:lnTo>
                  <a:pt x="56795" y="236067"/>
                </a:lnTo>
                <a:lnTo>
                  <a:pt x="69618" y="183935"/>
                </a:lnTo>
                <a:lnTo>
                  <a:pt x="168259" y="183935"/>
                </a:lnTo>
                <a:lnTo>
                  <a:pt x="161354" y="157378"/>
                </a:lnTo>
                <a:lnTo>
                  <a:pt x="76523" y="157378"/>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85" name="Group 74">
            <a:extLst>
              <a:ext uri="{FF2B5EF4-FFF2-40B4-BE49-F238E27FC236}">
                <a16:creationId xmlns:a16="http://schemas.microsoft.com/office/drawing/2014/main" id="{ACD7DA0F-ECA5-4789-A030-6A2EC2647CA9}"/>
              </a:ext>
            </a:extLst>
          </p:cNvPr>
          <p:cNvGrpSpPr>
            <a:grpSpLocks noChangeAspect="1"/>
          </p:cNvGrpSpPr>
          <p:nvPr/>
        </p:nvGrpSpPr>
        <p:grpSpPr bwMode="auto">
          <a:xfrm>
            <a:off x="6933758" y="2770843"/>
            <a:ext cx="315915" cy="366716"/>
            <a:chOff x="5917" y="1456"/>
            <a:chExt cx="199" cy="231"/>
          </a:xfrm>
        </p:grpSpPr>
        <p:sp>
          <p:nvSpPr>
            <p:cNvPr id="186" name="Freeform 75">
              <a:extLst>
                <a:ext uri="{FF2B5EF4-FFF2-40B4-BE49-F238E27FC236}">
                  <a16:creationId xmlns:a16="http://schemas.microsoft.com/office/drawing/2014/main" id="{EAC9A270-13E0-4E2B-B0B5-850940A1387F}"/>
                </a:ext>
              </a:extLst>
            </p:cNvPr>
            <p:cNvSpPr>
              <a:spLocks noEditPoints="1"/>
            </p:cNvSpPr>
            <p:nvPr/>
          </p:nvSpPr>
          <p:spPr bwMode="auto">
            <a:xfrm>
              <a:off x="5967" y="1654"/>
              <a:ext cx="49" cy="33"/>
            </a:xfrm>
            <a:custGeom>
              <a:avLst/>
              <a:gdLst>
                <a:gd name="T0" fmla="*/ 0 w 80"/>
                <a:gd name="T1" fmla="*/ 40 h 53"/>
                <a:gd name="T2" fmla="*/ 0 w 80"/>
                <a:gd name="T3" fmla="*/ 40 h 53"/>
                <a:gd name="T4" fmla="*/ 4 w 80"/>
                <a:gd name="T5" fmla="*/ 49 h 53"/>
                <a:gd name="T6" fmla="*/ 13 w 80"/>
                <a:gd name="T7" fmla="*/ 53 h 53"/>
                <a:gd name="T8" fmla="*/ 66 w 80"/>
                <a:gd name="T9" fmla="*/ 53 h 53"/>
                <a:gd name="T10" fmla="*/ 76 w 80"/>
                <a:gd name="T11" fmla="*/ 49 h 53"/>
                <a:gd name="T12" fmla="*/ 80 w 80"/>
                <a:gd name="T13" fmla="*/ 40 h 53"/>
                <a:gd name="T14" fmla="*/ 80 w 80"/>
                <a:gd name="T15" fmla="*/ 40 h 53"/>
                <a:gd name="T16" fmla="*/ 80 w 80"/>
                <a:gd name="T17" fmla="*/ 40 h 53"/>
                <a:gd name="T18" fmla="*/ 80 w 80"/>
                <a:gd name="T19" fmla="*/ 0 h 53"/>
                <a:gd name="T20" fmla="*/ 0 w 80"/>
                <a:gd name="T21" fmla="*/ 0 h 53"/>
                <a:gd name="T22" fmla="*/ 0 w 80"/>
                <a:gd name="T23"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53">
                  <a:moveTo>
                    <a:pt x="0" y="40"/>
                  </a:moveTo>
                  <a:lnTo>
                    <a:pt x="0" y="40"/>
                  </a:lnTo>
                  <a:cubicBezTo>
                    <a:pt x="0" y="43"/>
                    <a:pt x="1" y="46"/>
                    <a:pt x="4" y="49"/>
                  </a:cubicBezTo>
                  <a:cubicBezTo>
                    <a:pt x="6" y="52"/>
                    <a:pt x="10" y="53"/>
                    <a:pt x="13" y="53"/>
                  </a:cubicBezTo>
                  <a:lnTo>
                    <a:pt x="66" y="53"/>
                  </a:lnTo>
                  <a:cubicBezTo>
                    <a:pt x="70" y="53"/>
                    <a:pt x="73" y="52"/>
                    <a:pt x="76" y="49"/>
                  </a:cubicBezTo>
                  <a:cubicBezTo>
                    <a:pt x="78" y="46"/>
                    <a:pt x="80" y="43"/>
                    <a:pt x="80" y="40"/>
                  </a:cubicBezTo>
                  <a:moveTo>
                    <a:pt x="80" y="40"/>
                  </a:moveTo>
                  <a:lnTo>
                    <a:pt x="80" y="40"/>
                  </a:lnTo>
                  <a:lnTo>
                    <a:pt x="80" y="0"/>
                  </a:lnTo>
                  <a:lnTo>
                    <a:pt x="0" y="0"/>
                  </a:lnTo>
                  <a:lnTo>
                    <a:pt x="0" y="40"/>
                  </a:lnTo>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76">
              <a:extLst>
                <a:ext uri="{FF2B5EF4-FFF2-40B4-BE49-F238E27FC236}">
                  <a16:creationId xmlns:a16="http://schemas.microsoft.com/office/drawing/2014/main" id="{80A7F136-C847-46C8-8368-CA3C72BFDDF9}"/>
                </a:ext>
              </a:extLst>
            </p:cNvPr>
            <p:cNvSpPr>
              <a:spLocks/>
            </p:cNvSpPr>
            <p:nvPr/>
          </p:nvSpPr>
          <p:spPr bwMode="auto">
            <a:xfrm>
              <a:off x="6032" y="1456"/>
              <a:ext cx="84" cy="115"/>
            </a:xfrm>
            <a:custGeom>
              <a:avLst/>
              <a:gdLst>
                <a:gd name="T0" fmla="*/ 0 w 134"/>
                <a:gd name="T1" fmla="*/ 186 h 186"/>
                <a:gd name="T2" fmla="*/ 0 w 134"/>
                <a:gd name="T3" fmla="*/ 186 h 186"/>
                <a:gd name="T4" fmla="*/ 134 w 134"/>
                <a:gd name="T5" fmla="*/ 186 h 186"/>
                <a:gd name="T6" fmla="*/ 134 w 134"/>
                <a:gd name="T7" fmla="*/ 0 h 186"/>
                <a:gd name="T8" fmla="*/ 0 w 134"/>
                <a:gd name="T9" fmla="*/ 0 h 186"/>
                <a:gd name="T10" fmla="*/ 0 w 134"/>
                <a:gd name="T11" fmla="*/ 186 h 186"/>
              </a:gdLst>
              <a:ahLst/>
              <a:cxnLst>
                <a:cxn ang="0">
                  <a:pos x="T0" y="T1"/>
                </a:cxn>
                <a:cxn ang="0">
                  <a:pos x="T2" y="T3"/>
                </a:cxn>
                <a:cxn ang="0">
                  <a:pos x="T4" y="T5"/>
                </a:cxn>
                <a:cxn ang="0">
                  <a:pos x="T6" y="T7"/>
                </a:cxn>
                <a:cxn ang="0">
                  <a:pos x="T8" y="T9"/>
                </a:cxn>
                <a:cxn ang="0">
                  <a:pos x="T10" y="T11"/>
                </a:cxn>
              </a:cxnLst>
              <a:rect l="0" t="0" r="r" b="b"/>
              <a:pathLst>
                <a:path w="134" h="186">
                  <a:moveTo>
                    <a:pt x="0" y="186"/>
                  </a:moveTo>
                  <a:lnTo>
                    <a:pt x="0" y="186"/>
                  </a:lnTo>
                  <a:lnTo>
                    <a:pt x="134" y="186"/>
                  </a:lnTo>
                  <a:lnTo>
                    <a:pt x="134" y="0"/>
                  </a:lnTo>
                  <a:lnTo>
                    <a:pt x="0" y="0"/>
                  </a:lnTo>
                  <a:lnTo>
                    <a:pt x="0" y="186"/>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77">
              <a:extLst>
                <a:ext uri="{FF2B5EF4-FFF2-40B4-BE49-F238E27FC236}">
                  <a16:creationId xmlns:a16="http://schemas.microsoft.com/office/drawing/2014/main" id="{80A9B890-C588-466E-80B4-343C8612C5EC}"/>
                </a:ext>
              </a:extLst>
            </p:cNvPr>
            <p:cNvSpPr>
              <a:spLocks/>
            </p:cNvSpPr>
            <p:nvPr/>
          </p:nvSpPr>
          <p:spPr bwMode="auto">
            <a:xfrm>
              <a:off x="6051" y="1472"/>
              <a:ext cx="33" cy="17"/>
            </a:xfrm>
            <a:custGeom>
              <a:avLst/>
              <a:gdLst>
                <a:gd name="T0" fmla="*/ 0 w 53"/>
                <a:gd name="T1" fmla="*/ 0 h 27"/>
                <a:gd name="T2" fmla="*/ 0 w 53"/>
                <a:gd name="T3" fmla="*/ 0 h 27"/>
                <a:gd name="T4" fmla="*/ 53 w 53"/>
                <a:gd name="T5" fmla="*/ 0 h 27"/>
                <a:gd name="T6" fmla="*/ 53 w 53"/>
                <a:gd name="T7" fmla="*/ 27 h 27"/>
                <a:gd name="T8" fmla="*/ 0 w 53"/>
                <a:gd name="T9" fmla="*/ 27 h 27"/>
                <a:gd name="T10" fmla="*/ 0 w 53"/>
                <a:gd name="T11" fmla="*/ 0 h 27"/>
              </a:gdLst>
              <a:ahLst/>
              <a:cxnLst>
                <a:cxn ang="0">
                  <a:pos x="T0" y="T1"/>
                </a:cxn>
                <a:cxn ang="0">
                  <a:pos x="T2" y="T3"/>
                </a:cxn>
                <a:cxn ang="0">
                  <a:pos x="T4" y="T5"/>
                </a:cxn>
                <a:cxn ang="0">
                  <a:pos x="T6" y="T7"/>
                </a:cxn>
                <a:cxn ang="0">
                  <a:pos x="T8" y="T9"/>
                </a:cxn>
                <a:cxn ang="0">
                  <a:pos x="T10" y="T11"/>
                </a:cxn>
              </a:cxnLst>
              <a:rect l="0" t="0" r="r" b="b"/>
              <a:pathLst>
                <a:path w="53" h="27">
                  <a:moveTo>
                    <a:pt x="0" y="0"/>
                  </a:moveTo>
                  <a:lnTo>
                    <a:pt x="0" y="0"/>
                  </a:lnTo>
                  <a:lnTo>
                    <a:pt x="53" y="0"/>
                  </a:lnTo>
                  <a:lnTo>
                    <a:pt x="53" y="27"/>
                  </a:lnTo>
                  <a:lnTo>
                    <a:pt x="0" y="27"/>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Freeform 78">
              <a:extLst>
                <a:ext uri="{FF2B5EF4-FFF2-40B4-BE49-F238E27FC236}">
                  <a16:creationId xmlns:a16="http://schemas.microsoft.com/office/drawing/2014/main" id="{71FA6DBC-0864-4653-8FC7-E973CADA7156}"/>
                </a:ext>
              </a:extLst>
            </p:cNvPr>
            <p:cNvSpPr>
              <a:spLocks/>
            </p:cNvSpPr>
            <p:nvPr/>
          </p:nvSpPr>
          <p:spPr bwMode="auto">
            <a:xfrm>
              <a:off x="6051" y="1505"/>
              <a:ext cx="33" cy="16"/>
            </a:xfrm>
            <a:custGeom>
              <a:avLst/>
              <a:gdLst>
                <a:gd name="T0" fmla="*/ 0 w 53"/>
                <a:gd name="T1" fmla="*/ 0 h 26"/>
                <a:gd name="T2" fmla="*/ 0 w 53"/>
                <a:gd name="T3" fmla="*/ 0 h 26"/>
                <a:gd name="T4" fmla="*/ 53 w 53"/>
                <a:gd name="T5" fmla="*/ 0 h 26"/>
                <a:gd name="T6" fmla="*/ 53 w 53"/>
                <a:gd name="T7" fmla="*/ 26 h 26"/>
                <a:gd name="T8" fmla="*/ 0 w 53"/>
                <a:gd name="T9" fmla="*/ 26 h 26"/>
                <a:gd name="T10" fmla="*/ 0 w 53"/>
                <a:gd name="T11" fmla="*/ 0 h 26"/>
              </a:gdLst>
              <a:ahLst/>
              <a:cxnLst>
                <a:cxn ang="0">
                  <a:pos x="T0" y="T1"/>
                </a:cxn>
                <a:cxn ang="0">
                  <a:pos x="T2" y="T3"/>
                </a:cxn>
                <a:cxn ang="0">
                  <a:pos x="T4" y="T5"/>
                </a:cxn>
                <a:cxn ang="0">
                  <a:pos x="T6" y="T7"/>
                </a:cxn>
                <a:cxn ang="0">
                  <a:pos x="T8" y="T9"/>
                </a:cxn>
                <a:cxn ang="0">
                  <a:pos x="T10" y="T11"/>
                </a:cxn>
              </a:cxnLst>
              <a:rect l="0" t="0" r="r" b="b"/>
              <a:pathLst>
                <a:path w="53" h="26">
                  <a:moveTo>
                    <a:pt x="0" y="0"/>
                  </a:moveTo>
                  <a:lnTo>
                    <a:pt x="0" y="0"/>
                  </a:lnTo>
                  <a:lnTo>
                    <a:pt x="53" y="0"/>
                  </a:lnTo>
                  <a:lnTo>
                    <a:pt x="53" y="26"/>
                  </a:lnTo>
                  <a:lnTo>
                    <a:pt x="0" y="26"/>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Freeform 79">
              <a:extLst>
                <a:ext uri="{FF2B5EF4-FFF2-40B4-BE49-F238E27FC236}">
                  <a16:creationId xmlns:a16="http://schemas.microsoft.com/office/drawing/2014/main" id="{5FB210BE-6901-40BC-ACAC-2B31C8C10A14}"/>
                </a:ext>
              </a:extLst>
            </p:cNvPr>
            <p:cNvSpPr>
              <a:spLocks/>
            </p:cNvSpPr>
            <p:nvPr/>
          </p:nvSpPr>
          <p:spPr bwMode="auto">
            <a:xfrm>
              <a:off x="6051" y="1538"/>
              <a:ext cx="50" cy="17"/>
            </a:xfrm>
            <a:custGeom>
              <a:avLst/>
              <a:gdLst>
                <a:gd name="T0" fmla="*/ 80 w 80"/>
                <a:gd name="T1" fmla="*/ 27 h 27"/>
                <a:gd name="T2" fmla="*/ 80 w 80"/>
                <a:gd name="T3" fmla="*/ 27 h 27"/>
                <a:gd name="T4" fmla="*/ 0 w 80"/>
                <a:gd name="T5" fmla="*/ 27 h 27"/>
                <a:gd name="T6" fmla="*/ 0 w 80"/>
                <a:gd name="T7" fmla="*/ 0 h 27"/>
                <a:gd name="T8" fmla="*/ 80 w 80"/>
                <a:gd name="T9" fmla="*/ 0 h 27"/>
                <a:gd name="T10" fmla="*/ 8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80" y="27"/>
                  </a:moveTo>
                  <a:lnTo>
                    <a:pt x="80" y="27"/>
                  </a:lnTo>
                  <a:lnTo>
                    <a:pt x="0" y="27"/>
                  </a:lnTo>
                  <a:lnTo>
                    <a:pt x="0" y="0"/>
                  </a:lnTo>
                  <a:lnTo>
                    <a:pt x="80" y="0"/>
                  </a:lnTo>
                  <a:lnTo>
                    <a:pt x="80" y="27"/>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Freeform 80">
              <a:extLst>
                <a:ext uri="{FF2B5EF4-FFF2-40B4-BE49-F238E27FC236}">
                  <a16:creationId xmlns:a16="http://schemas.microsoft.com/office/drawing/2014/main" id="{E569028C-AE65-47E0-84AE-74DABFFC1FCF}"/>
                </a:ext>
              </a:extLst>
            </p:cNvPr>
            <p:cNvSpPr>
              <a:spLocks/>
            </p:cNvSpPr>
            <p:nvPr/>
          </p:nvSpPr>
          <p:spPr bwMode="auto">
            <a:xfrm>
              <a:off x="5917" y="1456"/>
              <a:ext cx="121" cy="182"/>
            </a:xfrm>
            <a:custGeom>
              <a:avLst/>
              <a:gdLst>
                <a:gd name="T0" fmla="*/ 160 w 195"/>
                <a:gd name="T1" fmla="*/ 293 h 293"/>
                <a:gd name="T2" fmla="*/ 160 w 195"/>
                <a:gd name="T3" fmla="*/ 293 h 293"/>
                <a:gd name="T4" fmla="*/ 171 w 195"/>
                <a:gd name="T5" fmla="*/ 250 h 293"/>
                <a:gd name="T6" fmla="*/ 195 w 195"/>
                <a:gd name="T7" fmla="*/ 213 h 293"/>
                <a:gd name="T8" fmla="*/ 160 w 195"/>
                <a:gd name="T9" fmla="*/ 213 h 293"/>
                <a:gd name="T10" fmla="*/ 160 w 195"/>
                <a:gd name="T11" fmla="*/ 7 h 293"/>
                <a:gd name="T12" fmla="*/ 140 w 195"/>
                <a:gd name="T13" fmla="*/ 1 h 293"/>
                <a:gd name="T14" fmla="*/ 120 w 195"/>
                <a:gd name="T15" fmla="*/ 0 h 293"/>
                <a:gd name="T16" fmla="*/ 73 w 195"/>
                <a:gd name="T17" fmla="*/ 9 h 293"/>
                <a:gd name="T18" fmla="*/ 35 w 195"/>
                <a:gd name="T19" fmla="*/ 35 h 293"/>
                <a:gd name="T20" fmla="*/ 9 w 195"/>
                <a:gd name="T21" fmla="*/ 73 h 293"/>
                <a:gd name="T22" fmla="*/ 0 w 195"/>
                <a:gd name="T23" fmla="*/ 120 h 293"/>
                <a:gd name="T24" fmla="*/ 9 w 195"/>
                <a:gd name="T25" fmla="*/ 165 h 293"/>
                <a:gd name="T26" fmla="*/ 36 w 195"/>
                <a:gd name="T27" fmla="*/ 203 h 293"/>
                <a:gd name="T28" fmla="*/ 66 w 195"/>
                <a:gd name="T29" fmla="*/ 244 h 293"/>
                <a:gd name="T30" fmla="*/ 79 w 195"/>
                <a:gd name="T31" fmla="*/ 293 h 293"/>
                <a:gd name="T32" fmla="*/ 160 w 195"/>
                <a:gd name="T33"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293">
                  <a:moveTo>
                    <a:pt x="160" y="293"/>
                  </a:moveTo>
                  <a:lnTo>
                    <a:pt x="160" y="293"/>
                  </a:lnTo>
                  <a:cubicBezTo>
                    <a:pt x="162" y="278"/>
                    <a:pt x="165" y="264"/>
                    <a:pt x="171" y="250"/>
                  </a:cubicBezTo>
                  <a:cubicBezTo>
                    <a:pt x="177" y="237"/>
                    <a:pt x="185" y="224"/>
                    <a:pt x="195" y="213"/>
                  </a:cubicBezTo>
                  <a:lnTo>
                    <a:pt x="160" y="213"/>
                  </a:lnTo>
                  <a:lnTo>
                    <a:pt x="160" y="7"/>
                  </a:lnTo>
                  <a:cubicBezTo>
                    <a:pt x="153" y="4"/>
                    <a:pt x="147" y="2"/>
                    <a:pt x="140" y="1"/>
                  </a:cubicBezTo>
                  <a:cubicBezTo>
                    <a:pt x="133" y="0"/>
                    <a:pt x="127" y="0"/>
                    <a:pt x="120" y="0"/>
                  </a:cubicBezTo>
                  <a:cubicBezTo>
                    <a:pt x="103" y="0"/>
                    <a:pt x="88" y="3"/>
                    <a:pt x="73" y="9"/>
                  </a:cubicBezTo>
                  <a:cubicBezTo>
                    <a:pt x="59" y="15"/>
                    <a:pt x="46" y="24"/>
                    <a:pt x="35" y="35"/>
                  </a:cubicBezTo>
                  <a:cubicBezTo>
                    <a:pt x="24" y="46"/>
                    <a:pt x="16" y="58"/>
                    <a:pt x="9" y="73"/>
                  </a:cubicBezTo>
                  <a:cubicBezTo>
                    <a:pt x="3" y="87"/>
                    <a:pt x="0" y="103"/>
                    <a:pt x="0" y="120"/>
                  </a:cubicBezTo>
                  <a:cubicBezTo>
                    <a:pt x="0" y="136"/>
                    <a:pt x="3" y="151"/>
                    <a:pt x="9" y="165"/>
                  </a:cubicBezTo>
                  <a:cubicBezTo>
                    <a:pt x="15" y="179"/>
                    <a:pt x="24" y="191"/>
                    <a:pt x="36" y="203"/>
                  </a:cubicBezTo>
                  <a:cubicBezTo>
                    <a:pt x="48" y="216"/>
                    <a:pt x="58" y="230"/>
                    <a:pt x="66" y="244"/>
                  </a:cubicBezTo>
                  <a:cubicBezTo>
                    <a:pt x="73" y="259"/>
                    <a:pt x="78" y="275"/>
                    <a:pt x="79" y="293"/>
                  </a:cubicBezTo>
                  <a:lnTo>
                    <a:pt x="160" y="29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28" name="Connector: Elbow 27">
            <a:extLst>
              <a:ext uri="{FF2B5EF4-FFF2-40B4-BE49-F238E27FC236}">
                <a16:creationId xmlns:a16="http://schemas.microsoft.com/office/drawing/2014/main" id="{E874EC07-7154-4C4C-A720-DBDF8546E937}"/>
              </a:ext>
            </a:extLst>
          </p:cNvPr>
          <p:cNvCxnSpPr>
            <a:cxnSpLocks/>
            <a:stCxn id="84" idx="2"/>
          </p:cNvCxnSpPr>
          <p:nvPr/>
        </p:nvCxnSpPr>
        <p:spPr>
          <a:xfrm rot="10800000" flipH="1" flipV="1">
            <a:off x="7884748" y="3470357"/>
            <a:ext cx="291406" cy="888402"/>
          </a:xfrm>
          <a:prstGeom prst="bentConnector4">
            <a:avLst>
              <a:gd name="adj1" fmla="val 99927"/>
              <a:gd name="adj2" fmla="val 92618"/>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A8C8310B-61BE-450B-8FA4-ACA0BA283EA4}"/>
              </a:ext>
            </a:extLst>
          </p:cNvPr>
          <p:cNvCxnSpPr/>
          <p:nvPr/>
        </p:nvCxnSpPr>
        <p:spPr>
          <a:xfrm>
            <a:off x="350716" y="4625822"/>
            <a:ext cx="833255" cy="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7414689C-3365-4AEB-BF7A-C537D0076146}"/>
              </a:ext>
            </a:extLst>
          </p:cNvPr>
          <p:cNvSpPr txBox="1"/>
          <p:nvPr/>
        </p:nvSpPr>
        <p:spPr>
          <a:xfrm>
            <a:off x="435969" y="4668633"/>
            <a:ext cx="974266" cy="415498"/>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0078D4"/>
                </a:solidFill>
                <a:effectLst/>
                <a:uLnTx/>
                <a:uFillTx/>
                <a:latin typeface="+mj-lt"/>
                <a:cs typeface="Segoe UI" panose="020B05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Azure Blob Storage</a:t>
            </a:r>
          </a:p>
        </p:txBody>
      </p:sp>
      <p:grpSp>
        <p:nvGrpSpPr>
          <p:cNvPr id="148" name="Group 92">
            <a:extLst>
              <a:ext uri="{FF2B5EF4-FFF2-40B4-BE49-F238E27FC236}">
                <a16:creationId xmlns:a16="http://schemas.microsoft.com/office/drawing/2014/main" id="{47BE9848-423A-4176-9946-BD4486FA720E}"/>
              </a:ext>
            </a:extLst>
          </p:cNvPr>
          <p:cNvGrpSpPr>
            <a:grpSpLocks noChangeAspect="1"/>
          </p:cNvGrpSpPr>
          <p:nvPr/>
        </p:nvGrpSpPr>
        <p:grpSpPr bwMode="auto">
          <a:xfrm>
            <a:off x="505570" y="3520562"/>
            <a:ext cx="523546" cy="381375"/>
            <a:chOff x="2424" y="1489"/>
            <a:chExt cx="232" cy="169"/>
          </a:xfrm>
        </p:grpSpPr>
        <p:sp>
          <p:nvSpPr>
            <p:cNvPr id="149" name="Freeform 93">
              <a:extLst>
                <a:ext uri="{FF2B5EF4-FFF2-40B4-BE49-F238E27FC236}">
                  <a16:creationId xmlns:a16="http://schemas.microsoft.com/office/drawing/2014/main" id="{CF12CA22-99AB-4B69-A53B-920228F1A6C8}"/>
                </a:ext>
              </a:extLst>
            </p:cNvPr>
            <p:cNvSpPr>
              <a:spLocks noEditPoints="1"/>
            </p:cNvSpPr>
            <p:nvPr/>
          </p:nvSpPr>
          <p:spPr bwMode="auto">
            <a:xfrm>
              <a:off x="2424" y="1489"/>
              <a:ext cx="232" cy="138"/>
            </a:xfrm>
            <a:custGeom>
              <a:avLst/>
              <a:gdLst>
                <a:gd name="T0" fmla="*/ 326 w 374"/>
                <a:gd name="T1" fmla="*/ 92 h 221"/>
                <a:gd name="T2" fmla="*/ 326 w 374"/>
                <a:gd name="T3" fmla="*/ 92 h 221"/>
                <a:gd name="T4" fmla="*/ 307 w 374"/>
                <a:gd name="T5" fmla="*/ 100 h 221"/>
                <a:gd name="T6" fmla="*/ 288 w 374"/>
                <a:gd name="T7" fmla="*/ 92 h 221"/>
                <a:gd name="T8" fmla="*/ 280 w 374"/>
                <a:gd name="T9" fmla="*/ 73 h 221"/>
                <a:gd name="T10" fmla="*/ 288 w 374"/>
                <a:gd name="T11" fmla="*/ 54 h 221"/>
                <a:gd name="T12" fmla="*/ 307 w 374"/>
                <a:gd name="T13" fmla="*/ 46 h 221"/>
                <a:gd name="T14" fmla="*/ 326 w 374"/>
                <a:gd name="T15" fmla="*/ 54 h 221"/>
                <a:gd name="T16" fmla="*/ 334 w 374"/>
                <a:gd name="T17" fmla="*/ 73 h 221"/>
                <a:gd name="T18" fmla="*/ 326 w 374"/>
                <a:gd name="T19" fmla="*/ 92 h 221"/>
                <a:gd name="T20" fmla="*/ 374 w 374"/>
                <a:gd name="T21" fmla="*/ 0 h 221"/>
                <a:gd name="T22" fmla="*/ 374 w 374"/>
                <a:gd name="T23" fmla="*/ 0 h 221"/>
                <a:gd name="T24" fmla="*/ 0 w 374"/>
                <a:gd name="T25" fmla="*/ 0 h 221"/>
                <a:gd name="T26" fmla="*/ 0 w 374"/>
                <a:gd name="T27" fmla="*/ 141 h 221"/>
                <a:gd name="T28" fmla="*/ 94 w 374"/>
                <a:gd name="T29" fmla="*/ 48 h 221"/>
                <a:gd name="T30" fmla="*/ 227 w 374"/>
                <a:gd name="T31" fmla="*/ 181 h 221"/>
                <a:gd name="T32" fmla="*/ 280 w 374"/>
                <a:gd name="T33" fmla="*/ 128 h 221"/>
                <a:gd name="T34" fmla="*/ 374 w 374"/>
                <a:gd name="T35" fmla="*/ 221 h 221"/>
                <a:gd name="T36" fmla="*/ 374 w 374"/>
                <a:gd name="T3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4" h="221">
                  <a:moveTo>
                    <a:pt x="326" y="92"/>
                  </a:moveTo>
                  <a:lnTo>
                    <a:pt x="326" y="92"/>
                  </a:lnTo>
                  <a:cubicBezTo>
                    <a:pt x="320" y="97"/>
                    <a:pt x="314" y="100"/>
                    <a:pt x="307" y="100"/>
                  </a:cubicBezTo>
                  <a:cubicBezTo>
                    <a:pt x="300" y="100"/>
                    <a:pt x="293" y="97"/>
                    <a:pt x="288" y="92"/>
                  </a:cubicBezTo>
                  <a:cubicBezTo>
                    <a:pt x="283" y="86"/>
                    <a:pt x="280" y="80"/>
                    <a:pt x="280" y="73"/>
                  </a:cubicBezTo>
                  <a:cubicBezTo>
                    <a:pt x="280" y="66"/>
                    <a:pt x="283" y="59"/>
                    <a:pt x="288" y="54"/>
                  </a:cubicBezTo>
                  <a:cubicBezTo>
                    <a:pt x="293" y="49"/>
                    <a:pt x="300" y="46"/>
                    <a:pt x="307" y="46"/>
                  </a:cubicBezTo>
                  <a:cubicBezTo>
                    <a:pt x="314" y="46"/>
                    <a:pt x="320" y="49"/>
                    <a:pt x="326" y="54"/>
                  </a:cubicBezTo>
                  <a:cubicBezTo>
                    <a:pt x="331" y="59"/>
                    <a:pt x="334" y="66"/>
                    <a:pt x="334" y="73"/>
                  </a:cubicBezTo>
                  <a:cubicBezTo>
                    <a:pt x="334" y="80"/>
                    <a:pt x="331" y="86"/>
                    <a:pt x="326" y="92"/>
                  </a:cubicBezTo>
                  <a:close/>
                  <a:moveTo>
                    <a:pt x="374" y="0"/>
                  </a:moveTo>
                  <a:lnTo>
                    <a:pt x="374" y="0"/>
                  </a:lnTo>
                  <a:lnTo>
                    <a:pt x="0" y="0"/>
                  </a:lnTo>
                  <a:lnTo>
                    <a:pt x="0" y="141"/>
                  </a:lnTo>
                  <a:lnTo>
                    <a:pt x="94" y="48"/>
                  </a:lnTo>
                  <a:lnTo>
                    <a:pt x="227" y="181"/>
                  </a:lnTo>
                  <a:lnTo>
                    <a:pt x="280" y="128"/>
                  </a:lnTo>
                  <a:lnTo>
                    <a:pt x="374" y="221"/>
                  </a:lnTo>
                  <a:lnTo>
                    <a:pt x="374"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94">
              <a:extLst>
                <a:ext uri="{FF2B5EF4-FFF2-40B4-BE49-F238E27FC236}">
                  <a16:creationId xmlns:a16="http://schemas.microsoft.com/office/drawing/2014/main" id="{6751B3B6-0F07-422F-A0E7-47A363B39A38}"/>
                </a:ext>
              </a:extLst>
            </p:cNvPr>
            <p:cNvSpPr>
              <a:spLocks/>
            </p:cNvSpPr>
            <p:nvPr/>
          </p:nvSpPr>
          <p:spPr bwMode="auto">
            <a:xfrm>
              <a:off x="2424" y="1545"/>
              <a:ext cx="171" cy="113"/>
            </a:xfrm>
            <a:custGeom>
              <a:avLst/>
              <a:gdLst>
                <a:gd name="T0" fmla="*/ 0 w 275"/>
                <a:gd name="T1" fmla="*/ 182 h 182"/>
                <a:gd name="T2" fmla="*/ 0 w 275"/>
                <a:gd name="T3" fmla="*/ 182 h 182"/>
                <a:gd name="T4" fmla="*/ 275 w 275"/>
                <a:gd name="T5" fmla="*/ 182 h 182"/>
                <a:gd name="T6" fmla="*/ 93 w 275"/>
                <a:gd name="T7" fmla="*/ 0 h 182"/>
                <a:gd name="T8" fmla="*/ 0 w 275"/>
                <a:gd name="T9" fmla="*/ 94 h 182"/>
                <a:gd name="T10" fmla="*/ 0 w 275"/>
                <a:gd name="T11" fmla="*/ 182 h 182"/>
              </a:gdLst>
              <a:ahLst/>
              <a:cxnLst>
                <a:cxn ang="0">
                  <a:pos x="T0" y="T1"/>
                </a:cxn>
                <a:cxn ang="0">
                  <a:pos x="T2" y="T3"/>
                </a:cxn>
                <a:cxn ang="0">
                  <a:pos x="T4" y="T5"/>
                </a:cxn>
                <a:cxn ang="0">
                  <a:pos x="T6" y="T7"/>
                </a:cxn>
                <a:cxn ang="0">
                  <a:pos x="T8" y="T9"/>
                </a:cxn>
                <a:cxn ang="0">
                  <a:pos x="T10" y="T11"/>
                </a:cxn>
              </a:cxnLst>
              <a:rect l="0" t="0" r="r" b="b"/>
              <a:pathLst>
                <a:path w="275" h="182">
                  <a:moveTo>
                    <a:pt x="0" y="182"/>
                  </a:moveTo>
                  <a:lnTo>
                    <a:pt x="0" y="182"/>
                  </a:lnTo>
                  <a:lnTo>
                    <a:pt x="275" y="182"/>
                  </a:lnTo>
                  <a:lnTo>
                    <a:pt x="93" y="0"/>
                  </a:lnTo>
                  <a:lnTo>
                    <a:pt x="0" y="94"/>
                  </a:lnTo>
                  <a:lnTo>
                    <a:pt x="0" y="18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Freeform 95">
              <a:extLst>
                <a:ext uri="{FF2B5EF4-FFF2-40B4-BE49-F238E27FC236}">
                  <a16:creationId xmlns:a16="http://schemas.microsoft.com/office/drawing/2014/main" id="{7D7E652C-9C31-466A-8D13-A5E900107305}"/>
                </a:ext>
              </a:extLst>
            </p:cNvPr>
            <p:cNvSpPr>
              <a:spLocks/>
            </p:cNvSpPr>
            <p:nvPr/>
          </p:nvSpPr>
          <p:spPr bwMode="auto">
            <a:xfrm>
              <a:off x="2577" y="1594"/>
              <a:ext cx="79" cy="64"/>
            </a:xfrm>
            <a:custGeom>
              <a:avLst/>
              <a:gdLst>
                <a:gd name="T0" fmla="*/ 127 w 127"/>
                <a:gd name="T1" fmla="*/ 94 h 102"/>
                <a:gd name="T2" fmla="*/ 127 w 127"/>
                <a:gd name="T3" fmla="*/ 94 h 102"/>
                <a:gd name="T4" fmla="*/ 34 w 127"/>
                <a:gd name="T5" fmla="*/ 0 h 102"/>
                <a:gd name="T6" fmla="*/ 0 w 127"/>
                <a:gd name="T7" fmla="*/ 35 h 102"/>
                <a:gd name="T8" fmla="*/ 66 w 127"/>
                <a:gd name="T9" fmla="*/ 102 h 102"/>
                <a:gd name="T10" fmla="*/ 127 w 127"/>
                <a:gd name="T11" fmla="*/ 102 h 102"/>
                <a:gd name="T12" fmla="*/ 127 w 127"/>
                <a:gd name="T13" fmla="*/ 94 h 102"/>
              </a:gdLst>
              <a:ahLst/>
              <a:cxnLst>
                <a:cxn ang="0">
                  <a:pos x="T0" y="T1"/>
                </a:cxn>
                <a:cxn ang="0">
                  <a:pos x="T2" y="T3"/>
                </a:cxn>
                <a:cxn ang="0">
                  <a:pos x="T4" y="T5"/>
                </a:cxn>
                <a:cxn ang="0">
                  <a:pos x="T6" y="T7"/>
                </a:cxn>
                <a:cxn ang="0">
                  <a:pos x="T8" y="T9"/>
                </a:cxn>
                <a:cxn ang="0">
                  <a:pos x="T10" y="T11"/>
                </a:cxn>
                <a:cxn ang="0">
                  <a:pos x="T12" y="T13"/>
                </a:cxn>
              </a:cxnLst>
              <a:rect l="0" t="0" r="r" b="b"/>
              <a:pathLst>
                <a:path w="127" h="102">
                  <a:moveTo>
                    <a:pt x="127" y="94"/>
                  </a:moveTo>
                  <a:lnTo>
                    <a:pt x="127" y="94"/>
                  </a:lnTo>
                  <a:lnTo>
                    <a:pt x="34" y="0"/>
                  </a:lnTo>
                  <a:lnTo>
                    <a:pt x="0" y="35"/>
                  </a:lnTo>
                  <a:lnTo>
                    <a:pt x="66" y="102"/>
                  </a:lnTo>
                  <a:lnTo>
                    <a:pt x="127" y="102"/>
                  </a:lnTo>
                  <a:lnTo>
                    <a:pt x="127" y="94"/>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Freeform 96">
              <a:extLst>
                <a:ext uri="{FF2B5EF4-FFF2-40B4-BE49-F238E27FC236}">
                  <a16:creationId xmlns:a16="http://schemas.microsoft.com/office/drawing/2014/main" id="{8CDD489E-8CB0-475D-98B8-39CDBE2A455D}"/>
                </a:ext>
              </a:extLst>
            </p:cNvPr>
            <p:cNvSpPr>
              <a:spLocks/>
            </p:cNvSpPr>
            <p:nvPr/>
          </p:nvSpPr>
          <p:spPr bwMode="auto">
            <a:xfrm>
              <a:off x="2598" y="1518"/>
              <a:ext cx="33" cy="33"/>
            </a:xfrm>
            <a:custGeom>
              <a:avLst/>
              <a:gdLst>
                <a:gd name="T0" fmla="*/ 27 w 53"/>
                <a:gd name="T1" fmla="*/ 0 h 54"/>
                <a:gd name="T2" fmla="*/ 27 w 53"/>
                <a:gd name="T3" fmla="*/ 0 h 54"/>
                <a:gd name="T4" fmla="*/ 8 w 53"/>
                <a:gd name="T5" fmla="*/ 8 h 54"/>
                <a:gd name="T6" fmla="*/ 0 w 53"/>
                <a:gd name="T7" fmla="*/ 27 h 54"/>
                <a:gd name="T8" fmla="*/ 8 w 53"/>
                <a:gd name="T9" fmla="*/ 46 h 54"/>
                <a:gd name="T10" fmla="*/ 27 w 53"/>
                <a:gd name="T11" fmla="*/ 54 h 54"/>
                <a:gd name="T12" fmla="*/ 46 w 53"/>
                <a:gd name="T13" fmla="*/ 46 h 54"/>
                <a:gd name="T14" fmla="*/ 53 w 53"/>
                <a:gd name="T15" fmla="*/ 27 h 54"/>
                <a:gd name="T16" fmla="*/ 46 w 53"/>
                <a:gd name="T17" fmla="*/ 8 h 54"/>
                <a:gd name="T18" fmla="*/ 27 w 5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7" y="0"/>
                  </a:moveTo>
                  <a:lnTo>
                    <a:pt x="27" y="0"/>
                  </a:lnTo>
                  <a:cubicBezTo>
                    <a:pt x="20" y="0"/>
                    <a:pt x="13" y="3"/>
                    <a:pt x="8" y="8"/>
                  </a:cubicBezTo>
                  <a:cubicBezTo>
                    <a:pt x="3" y="13"/>
                    <a:pt x="0" y="20"/>
                    <a:pt x="0" y="27"/>
                  </a:cubicBezTo>
                  <a:cubicBezTo>
                    <a:pt x="0" y="34"/>
                    <a:pt x="3" y="40"/>
                    <a:pt x="8" y="46"/>
                  </a:cubicBezTo>
                  <a:cubicBezTo>
                    <a:pt x="13" y="51"/>
                    <a:pt x="20" y="54"/>
                    <a:pt x="27" y="54"/>
                  </a:cubicBezTo>
                  <a:cubicBezTo>
                    <a:pt x="34" y="54"/>
                    <a:pt x="40" y="51"/>
                    <a:pt x="46" y="46"/>
                  </a:cubicBezTo>
                  <a:cubicBezTo>
                    <a:pt x="51" y="40"/>
                    <a:pt x="53" y="34"/>
                    <a:pt x="53" y="27"/>
                  </a:cubicBezTo>
                  <a:cubicBezTo>
                    <a:pt x="53" y="20"/>
                    <a:pt x="51" y="13"/>
                    <a:pt x="46" y="8"/>
                  </a:cubicBezTo>
                  <a:cubicBezTo>
                    <a:pt x="40" y="3"/>
                    <a:pt x="34" y="0"/>
                    <a:pt x="27"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8" name="Group 152">
            <a:extLst>
              <a:ext uri="{FF2B5EF4-FFF2-40B4-BE49-F238E27FC236}">
                <a16:creationId xmlns:a16="http://schemas.microsoft.com/office/drawing/2014/main" id="{F021F200-298E-4BFA-BB26-B5C1A3999F9D}"/>
              </a:ext>
            </a:extLst>
          </p:cNvPr>
          <p:cNvGrpSpPr>
            <a:grpSpLocks noChangeAspect="1"/>
          </p:cNvGrpSpPr>
          <p:nvPr/>
        </p:nvGrpSpPr>
        <p:grpSpPr bwMode="auto">
          <a:xfrm>
            <a:off x="4916941" y="2786371"/>
            <a:ext cx="426731" cy="332922"/>
            <a:chOff x="5032" y="2130"/>
            <a:chExt cx="232" cy="181"/>
          </a:xfrm>
        </p:grpSpPr>
        <p:sp>
          <p:nvSpPr>
            <p:cNvPr id="99" name="Freeform 153">
              <a:extLst>
                <a:ext uri="{FF2B5EF4-FFF2-40B4-BE49-F238E27FC236}">
                  <a16:creationId xmlns:a16="http://schemas.microsoft.com/office/drawing/2014/main" id="{CEF88695-DD42-4AD2-923B-D1ABE4BE9F4C}"/>
                </a:ext>
              </a:extLst>
            </p:cNvPr>
            <p:cNvSpPr>
              <a:spLocks/>
            </p:cNvSpPr>
            <p:nvPr/>
          </p:nvSpPr>
          <p:spPr bwMode="auto">
            <a:xfrm>
              <a:off x="5032" y="2162"/>
              <a:ext cx="67" cy="17"/>
            </a:xfrm>
            <a:custGeom>
              <a:avLst/>
              <a:gdLst>
                <a:gd name="T0" fmla="*/ 107 w 107"/>
                <a:gd name="T1" fmla="*/ 0 h 26"/>
                <a:gd name="T2" fmla="*/ 107 w 107"/>
                <a:gd name="T3" fmla="*/ 0 h 26"/>
                <a:gd name="T4" fmla="*/ 0 w 107"/>
                <a:gd name="T5" fmla="*/ 0 h 26"/>
                <a:gd name="T6" fmla="*/ 0 w 107"/>
                <a:gd name="T7" fmla="*/ 26 h 26"/>
                <a:gd name="T8" fmla="*/ 107 w 107"/>
                <a:gd name="T9" fmla="*/ 26 h 26"/>
                <a:gd name="T10" fmla="*/ 107 w 107"/>
                <a:gd name="T11" fmla="*/ 0 h 26"/>
              </a:gdLst>
              <a:ahLst/>
              <a:cxnLst>
                <a:cxn ang="0">
                  <a:pos x="T0" y="T1"/>
                </a:cxn>
                <a:cxn ang="0">
                  <a:pos x="T2" y="T3"/>
                </a:cxn>
                <a:cxn ang="0">
                  <a:pos x="T4" y="T5"/>
                </a:cxn>
                <a:cxn ang="0">
                  <a:pos x="T6" y="T7"/>
                </a:cxn>
                <a:cxn ang="0">
                  <a:pos x="T8" y="T9"/>
                </a:cxn>
                <a:cxn ang="0">
                  <a:pos x="T10" y="T11"/>
                </a:cxn>
              </a:cxnLst>
              <a:rect l="0" t="0" r="r" b="b"/>
              <a:pathLst>
                <a:path w="107" h="26">
                  <a:moveTo>
                    <a:pt x="107" y="0"/>
                  </a:moveTo>
                  <a:lnTo>
                    <a:pt x="107" y="0"/>
                  </a:lnTo>
                  <a:lnTo>
                    <a:pt x="0" y="0"/>
                  </a:lnTo>
                  <a:lnTo>
                    <a:pt x="0" y="26"/>
                  </a:lnTo>
                  <a:lnTo>
                    <a:pt x="107" y="26"/>
                  </a:lnTo>
                  <a:lnTo>
                    <a:pt x="107"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154">
              <a:extLst>
                <a:ext uri="{FF2B5EF4-FFF2-40B4-BE49-F238E27FC236}">
                  <a16:creationId xmlns:a16="http://schemas.microsoft.com/office/drawing/2014/main" id="{2948D686-F778-4B6E-B79E-B4E0ACA9D29D}"/>
                </a:ext>
              </a:extLst>
            </p:cNvPr>
            <p:cNvSpPr>
              <a:spLocks noEditPoints="1"/>
            </p:cNvSpPr>
            <p:nvPr/>
          </p:nvSpPr>
          <p:spPr bwMode="auto">
            <a:xfrm>
              <a:off x="5115" y="2162"/>
              <a:ext cx="149" cy="117"/>
            </a:xfrm>
            <a:custGeom>
              <a:avLst/>
              <a:gdLst>
                <a:gd name="T0" fmla="*/ 27 w 240"/>
                <a:gd name="T1" fmla="*/ 133 h 187"/>
                <a:gd name="T2" fmla="*/ 27 w 240"/>
                <a:gd name="T3" fmla="*/ 133 h 187"/>
                <a:gd name="T4" fmla="*/ 214 w 240"/>
                <a:gd name="T5" fmla="*/ 133 h 187"/>
                <a:gd name="T6" fmla="*/ 214 w 240"/>
                <a:gd name="T7" fmla="*/ 160 h 187"/>
                <a:gd name="T8" fmla="*/ 27 w 240"/>
                <a:gd name="T9" fmla="*/ 160 h 187"/>
                <a:gd name="T10" fmla="*/ 27 w 240"/>
                <a:gd name="T11" fmla="*/ 133 h 187"/>
                <a:gd name="T12" fmla="*/ 27 w 240"/>
                <a:gd name="T13" fmla="*/ 80 h 187"/>
                <a:gd name="T14" fmla="*/ 27 w 240"/>
                <a:gd name="T15" fmla="*/ 80 h 187"/>
                <a:gd name="T16" fmla="*/ 214 w 240"/>
                <a:gd name="T17" fmla="*/ 80 h 187"/>
                <a:gd name="T18" fmla="*/ 214 w 240"/>
                <a:gd name="T19" fmla="*/ 107 h 187"/>
                <a:gd name="T20" fmla="*/ 27 w 240"/>
                <a:gd name="T21" fmla="*/ 107 h 187"/>
                <a:gd name="T22" fmla="*/ 27 w 240"/>
                <a:gd name="T23" fmla="*/ 80 h 187"/>
                <a:gd name="T24" fmla="*/ 27 w 240"/>
                <a:gd name="T25" fmla="*/ 27 h 187"/>
                <a:gd name="T26" fmla="*/ 27 w 240"/>
                <a:gd name="T27" fmla="*/ 27 h 187"/>
                <a:gd name="T28" fmla="*/ 214 w 240"/>
                <a:gd name="T29" fmla="*/ 27 h 187"/>
                <a:gd name="T30" fmla="*/ 214 w 240"/>
                <a:gd name="T31" fmla="*/ 53 h 187"/>
                <a:gd name="T32" fmla="*/ 27 w 240"/>
                <a:gd name="T33" fmla="*/ 53 h 187"/>
                <a:gd name="T34" fmla="*/ 27 w 240"/>
                <a:gd name="T35" fmla="*/ 27 h 187"/>
                <a:gd name="T36" fmla="*/ 107 w 240"/>
                <a:gd name="T37" fmla="*/ 187 h 187"/>
                <a:gd name="T38" fmla="*/ 107 w 240"/>
                <a:gd name="T39" fmla="*/ 187 h 187"/>
                <a:gd name="T40" fmla="*/ 240 w 240"/>
                <a:gd name="T41" fmla="*/ 187 h 187"/>
                <a:gd name="T42" fmla="*/ 240 w 240"/>
                <a:gd name="T43" fmla="*/ 0 h 187"/>
                <a:gd name="T44" fmla="*/ 0 w 240"/>
                <a:gd name="T45" fmla="*/ 0 h 187"/>
                <a:gd name="T46" fmla="*/ 0 w 240"/>
                <a:gd name="T47" fmla="*/ 187 h 187"/>
                <a:gd name="T48" fmla="*/ 107 w 240"/>
                <a:gd name="T49" fmla="*/ 187 h 187"/>
                <a:gd name="T50" fmla="*/ 107 w 240"/>
                <a:gd name="T5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0" h="187">
                  <a:moveTo>
                    <a:pt x="27" y="133"/>
                  </a:moveTo>
                  <a:lnTo>
                    <a:pt x="27" y="133"/>
                  </a:lnTo>
                  <a:lnTo>
                    <a:pt x="214" y="133"/>
                  </a:lnTo>
                  <a:lnTo>
                    <a:pt x="214" y="160"/>
                  </a:lnTo>
                  <a:lnTo>
                    <a:pt x="27" y="160"/>
                  </a:lnTo>
                  <a:lnTo>
                    <a:pt x="27" y="133"/>
                  </a:lnTo>
                  <a:close/>
                  <a:moveTo>
                    <a:pt x="27" y="80"/>
                  </a:moveTo>
                  <a:lnTo>
                    <a:pt x="27" y="80"/>
                  </a:lnTo>
                  <a:lnTo>
                    <a:pt x="214" y="80"/>
                  </a:lnTo>
                  <a:lnTo>
                    <a:pt x="214" y="107"/>
                  </a:lnTo>
                  <a:lnTo>
                    <a:pt x="27" y="107"/>
                  </a:lnTo>
                  <a:lnTo>
                    <a:pt x="27" y="80"/>
                  </a:lnTo>
                  <a:close/>
                  <a:moveTo>
                    <a:pt x="27" y="27"/>
                  </a:moveTo>
                  <a:lnTo>
                    <a:pt x="27" y="27"/>
                  </a:lnTo>
                  <a:lnTo>
                    <a:pt x="214" y="27"/>
                  </a:lnTo>
                  <a:lnTo>
                    <a:pt x="214" y="53"/>
                  </a:lnTo>
                  <a:lnTo>
                    <a:pt x="27" y="53"/>
                  </a:lnTo>
                  <a:lnTo>
                    <a:pt x="27" y="27"/>
                  </a:lnTo>
                  <a:close/>
                  <a:moveTo>
                    <a:pt x="107" y="187"/>
                  </a:moveTo>
                  <a:lnTo>
                    <a:pt x="107" y="187"/>
                  </a:lnTo>
                  <a:lnTo>
                    <a:pt x="240" y="187"/>
                  </a:lnTo>
                  <a:lnTo>
                    <a:pt x="240" y="0"/>
                  </a:lnTo>
                  <a:lnTo>
                    <a:pt x="0" y="0"/>
                  </a:lnTo>
                  <a:lnTo>
                    <a:pt x="0" y="187"/>
                  </a:lnTo>
                  <a:lnTo>
                    <a:pt x="107" y="187"/>
                  </a:lnTo>
                  <a:lnTo>
                    <a:pt x="107" y="187"/>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155">
              <a:extLst>
                <a:ext uri="{FF2B5EF4-FFF2-40B4-BE49-F238E27FC236}">
                  <a16:creationId xmlns:a16="http://schemas.microsoft.com/office/drawing/2014/main" id="{6CFC6583-F7FD-4FA8-A0EE-C829D9A8EF6E}"/>
                </a:ext>
              </a:extLst>
            </p:cNvPr>
            <p:cNvSpPr>
              <a:spLocks/>
            </p:cNvSpPr>
            <p:nvPr/>
          </p:nvSpPr>
          <p:spPr bwMode="auto">
            <a:xfrm>
              <a:off x="5032" y="2195"/>
              <a:ext cx="149" cy="116"/>
            </a:xfrm>
            <a:custGeom>
              <a:avLst/>
              <a:gdLst>
                <a:gd name="T0" fmla="*/ 240 w 240"/>
                <a:gd name="T1" fmla="*/ 161 h 187"/>
                <a:gd name="T2" fmla="*/ 240 w 240"/>
                <a:gd name="T3" fmla="*/ 161 h 187"/>
                <a:gd name="T4" fmla="*/ 27 w 240"/>
                <a:gd name="T5" fmla="*/ 161 h 187"/>
                <a:gd name="T6" fmla="*/ 27 w 240"/>
                <a:gd name="T7" fmla="*/ 134 h 187"/>
                <a:gd name="T8" fmla="*/ 107 w 240"/>
                <a:gd name="T9" fmla="*/ 134 h 187"/>
                <a:gd name="T10" fmla="*/ 107 w 240"/>
                <a:gd name="T11" fmla="*/ 107 h 187"/>
                <a:gd name="T12" fmla="*/ 27 w 240"/>
                <a:gd name="T13" fmla="*/ 107 h 187"/>
                <a:gd name="T14" fmla="*/ 27 w 240"/>
                <a:gd name="T15" fmla="*/ 81 h 187"/>
                <a:gd name="T16" fmla="*/ 107 w 240"/>
                <a:gd name="T17" fmla="*/ 81 h 187"/>
                <a:gd name="T18" fmla="*/ 107 w 240"/>
                <a:gd name="T19" fmla="*/ 54 h 187"/>
                <a:gd name="T20" fmla="*/ 27 w 240"/>
                <a:gd name="T21" fmla="*/ 54 h 187"/>
                <a:gd name="T22" fmla="*/ 27 w 240"/>
                <a:gd name="T23" fmla="*/ 27 h 187"/>
                <a:gd name="T24" fmla="*/ 107 w 240"/>
                <a:gd name="T25" fmla="*/ 27 h 187"/>
                <a:gd name="T26" fmla="*/ 107 w 240"/>
                <a:gd name="T27" fmla="*/ 0 h 187"/>
                <a:gd name="T28" fmla="*/ 0 w 240"/>
                <a:gd name="T29" fmla="*/ 0 h 187"/>
                <a:gd name="T30" fmla="*/ 0 w 240"/>
                <a:gd name="T31" fmla="*/ 187 h 187"/>
                <a:gd name="T32" fmla="*/ 240 w 240"/>
                <a:gd name="T33" fmla="*/ 187 h 187"/>
                <a:gd name="T34" fmla="*/ 240 w 240"/>
                <a:gd name="T35" fmla="*/ 16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187">
                  <a:moveTo>
                    <a:pt x="240" y="161"/>
                  </a:moveTo>
                  <a:lnTo>
                    <a:pt x="240" y="161"/>
                  </a:lnTo>
                  <a:lnTo>
                    <a:pt x="27" y="161"/>
                  </a:lnTo>
                  <a:lnTo>
                    <a:pt x="27" y="134"/>
                  </a:lnTo>
                  <a:lnTo>
                    <a:pt x="107" y="134"/>
                  </a:lnTo>
                  <a:lnTo>
                    <a:pt x="107" y="107"/>
                  </a:lnTo>
                  <a:lnTo>
                    <a:pt x="27" y="107"/>
                  </a:lnTo>
                  <a:lnTo>
                    <a:pt x="27" y="81"/>
                  </a:lnTo>
                  <a:lnTo>
                    <a:pt x="107" y="81"/>
                  </a:lnTo>
                  <a:lnTo>
                    <a:pt x="107" y="54"/>
                  </a:lnTo>
                  <a:lnTo>
                    <a:pt x="27" y="54"/>
                  </a:lnTo>
                  <a:lnTo>
                    <a:pt x="27" y="27"/>
                  </a:lnTo>
                  <a:lnTo>
                    <a:pt x="107" y="27"/>
                  </a:lnTo>
                  <a:lnTo>
                    <a:pt x="107" y="0"/>
                  </a:lnTo>
                  <a:lnTo>
                    <a:pt x="0" y="0"/>
                  </a:lnTo>
                  <a:lnTo>
                    <a:pt x="0" y="187"/>
                  </a:lnTo>
                  <a:lnTo>
                    <a:pt x="240" y="187"/>
                  </a:lnTo>
                  <a:lnTo>
                    <a:pt x="240" y="161"/>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56">
              <a:extLst>
                <a:ext uri="{FF2B5EF4-FFF2-40B4-BE49-F238E27FC236}">
                  <a16:creationId xmlns:a16="http://schemas.microsoft.com/office/drawing/2014/main" id="{002D4362-9109-4B76-90BB-6F6A677FA6B6}"/>
                </a:ext>
              </a:extLst>
            </p:cNvPr>
            <p:cNvSpPr>
              <a:spLocks/>
            </p:cNvSpPr>
            <p:nvPr/>
          </p:nvSpPr>
          <p:spPr bwMode="auto">
            <a:xfrm>
              <a:off x="5115" y="2130"/>
              <a:ext cx="149" cy="16"/>
            </a:xfrm>
            <a:custGeom>
              <a:avLst/>
              <a:gdLst>
                <a:gd name="T0" fmla="*/ 240 w 240"/>
                <a:gd name="T1" fmla="*/ 0 h 26"/>
                <a:gd name="T2" fmla="*/ 240 w 240"/>
                <a:gd name="T3" fmla="*/ 0 h 26"/>
                <a:gd name="T4" fmla="*/ 0 w 240"/>
                <a:gd name="T5" fmla="*/ 0 h 26"/>
                <a:gd name="T6" fmla="*/ 0 w 240"/>
                <a:gd name="T7" fmla="*/ 26 h 26"/>
                <a:gd name="T8" fmla="*/ 240 w 240"/>
                <a:gd name="T9" fmla="*/ 26 h 26"/>
                <a:gd name="T10" fmla="*/ 240 w 240"/>
                <a:gd name="T11" fmla="*/ 0 h 26"/>
              </a:gdLst>
              <a:ahLst/>
              <a:cxnLst>
                <a:cxn ang="0">
                  <a:pos x="T0" y="T1"/>
                </a:cxn>
                <a:cxn ang="0">
                  <a:pos x="T2" y="T3"/>
                </a:cxn>
                <a:cxn ang="0">
                  <a:pos x="T4" y="T5"/>
                </a:cxn>
                <a:cxn ang="0">
                  <a:pos x="T6" y="T7"/>
                </a:cxn>
                <a:cxn ang="0">
                  <a:pos x="T8" y="T9"/>
                </a:cxn>
                <a:cxn ang="0">
                  <a:pos x="T10" y="T11"/>
                </a:cxn>
              </a:cxnLst>
              <a:rect l="0" t="0" r="r" b="b"/>
              <a:pathLst>
                <a:path w="240" h="26">
                  <a:moveTo>
                    <a:pt x="240" y="0"/>
                  </a:moveTo>
                  <a:lnTo>
                    <a:pt x="240" y="0"/>
                  </a:lnTo>
                  <a:lnTo>
                    <a:pt x="0" y="0"/>
                  </a:lnTo>
                  <a:lnTo>
                    <a:pt x="0" y="26"/>
                  </a:lnTo>
                  <a:lnTo>
                    <a:pt x="240" y="26"/>
                  </a:lnTo>
                  <a:lnTo>
                    <a:pt x="240"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57">
              <a:extLst>
                <a:ext uri="{FF2B5EF4-FFF2-40B4-BE49-F238E27FC236}">
                  <a16:creationId xmlns:a16="http://schemas.microsoft.com/office/drawing/2014/main" id="{C1266D1D-73C5-4025-B1F6-0011202A9965}"/>
                </a:ext>
              </a:extLst>
            </p:cNvPr>
            <p:cNvSpPr>
              <a:spLocks/>
            </p:cNvSpPr>
            <p:nvPr/>
          </p:nvSpPr>
          <p:spPr bwMode="auto">
            <a:xfrm>
              <a:off x="5131" y="2212"/>
              <a:ext cx="117" cy="17"/>
            </a:xfrm>
            <a:custGeom>
              <a:avLst/>
              <a:gdLst>
                <a:gd name="T0" fmla="*/ 187 w 187"/>
                <a:gd name="T1" fmla="*/ 0 h 27"/>
                <a:gd name="T2" fmla="*/ 187 w 187"/>
                <a:gd name="T3" fmla="*/ 0 h 27"/>
                <a:gd name="T4" fmla="*/ 0 w 187"/>
                <a:gd name="T5" fmla="*/ 0 h 27"/>
                <a:gd name="T6" fmla="*/ 0 w 187"/>
                <a:gd name="T7" fmla="*/ 27 h 27"/>
                <a:gd name="T8" fmla="*/ 187 w 187"/>
                <a:gd name="T9" fmla="*/ 27 h 27"/>
                <a:gd name="T10" fmla="*/ 187 w 187"/>
                <a:gd name="T11" fmla="*/ 0 h 27"/>
              </a:gdLst>
              <a:ahLst/>
              <a:cxnLst>
                <a:cxn ang="0">
                  <a:pos x="T0" y="T1"/>
                </a:cxn>
                <a:cxn ang="0">
                  <a:pos x="T2" y="T3"/>
                </a:cxn>
                <a:cxn ang="0">
                  <a:pos x="T4" y="T5"/>
                </a:cxn>
                <a:cxn ang="0">
                  <a:pos x="T6" y="T7"/>
                </a:cxn>
                <a:cxn ang="0">
                  <a:pos x="T8" y="T9"/>
                </a:cxn>
                <a:cxn ang="0">
                  <a:pos x="T10" y="T11"/>
                </a:cxn>
              </a:cxnLst>
              <a:rect l="0" t="0" r="r" b="b"/>
              <a:pathLst>
                <a:path w="187" h="27">
                  <a:moveTo>
                    <a:pt x="187" y="0"/>
                  </a:moveTo>
                  <a:lnTo>
                    <a:pt x="187" y="0"/>
                  </a:lnTo>
                  <a:lnTo>
                    <a:pt x="0" y="0"/>
                  </a:lnTo>
                  <a:lnTo>
                    <a:pt x="0" y="27"/>
                  </a:lnTo>
                  <a:lnTo>
                    <a:pt x="187" y="27"/>
                  </a:lnTo>
                  <a:lnTo>
                    <a:pt x="187"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158">
              <a:extLst>
                <a:ext uri="{FF2B5EF4-FFF2-40B4-BE49-F238E27FC236}">
                  <a16:creationId xmlns:a16="http://schemas.microsoft.com/office/drawing/2014/main" id="{CC41EC93-DF16-4205-B69C-665BC3F4E26A}"/>
                </a:ext>
              </a:extLst>
            </p:cNvPr>
            <p:cNvSpPr>
              <a:spLocks/>
            </p:cNvSpPr>
            <p:nvPr/>
          </p:nvSpPr>
          <p:spPr bwMode="auto">
            <a:xfrm>
              <a:off x="5049" y="2212"/>
              <a:ext cx="50" cy="17"/>
            </a:xfrm>
            <a:custGeom>
              <a:avLst/>
              <a:gdLst>
                <a:gd name="T0" fmla="*/ 0 w 80"/>
                <a:gd name="T1" fmla="*/ 27 h 27"/>
                <a:gd name="T2" fmla="*/ 0 w 80"/>
                <a:gd name="T3" fmla="*/ 27 h 27"/>
                <a:gd name="T4" fmla="*/ 80 w 80"/>
                <a:gd name="T5" fmla="*/ 27 h 27"/>
                <a:gd name="T6" fmla="*/ 80 w 80"/>
                <a:gd name="T7" fmla="*/ 0 h 27"/>
                <a:gd name="T8" fmla="*/ 0 w 80"/>
                <a:gd name="T9" fmla="*/ 0 h 27"/>
                <a:gd name="T10" fmla="*/ 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0" y="27"/>
                  </a:moveTo>
                  <a:lnTo>
                    <a:pt x="0" y="27"/>
                  </a:lnTo>
                  <a:lnTo>
                    <a:pt x="80" y="27"/>
                  </a:lnTo>
                  <a:lnTo>
                    <a:pt x="80" y="0"/>
                  </a:lnTo>
                  <a:lnTo>
                    <a:pt x="0" y="0"/>
                  </a:lnTo>
                  <a:lnTo>
                    <a:pt x="0" y="27"/>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06" name="Freeform 220">
            <a:extLst>
              <a:ext uri="{FF2B5EF4-FFF2-40B4-BE49-F238E27FC236}">
                <a16:creationId xmlns:a16="http://schemas.microsoft.com/office/drawing/2014/main" id="{7F3C0C30-2DD6-4F21-A8B1-16FAA550460E}"/>
              </a:ext>
            </a:extLst>
          </p:cNvPr>
          <p:cNvSpPr/>
          <p:nvPr/>
        </p:nvSpPr>
        <p:spPr bwMode="auto">
          <a:xfrm>
            <a:off x="10400358" y="4708904"/>
            <a:ext cx="298162" cy="29816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reeform 163">
            <a:extLst>
              <a:ext uri="{FF2B5EF4-FFF2-40B4-BE49-F238E27FC236}">
                <a16:creationId xmlns:a16="http://schemas.microsoft.com/office/drawing/2014/main" id="{DF723443-3228-4099-AE0F-FF2949DC1D5E}"/>
              </a:ext>
            </a:extLst>
          </p:cNvPr>
          <p:cNvSpPr/>
          <p:nvPr/>
        </p:nvSpPr>
        <p:spPr bwMode="auto">
          <a:xfrm>
            <a:off x="277557" y="4764555"/>
            <a:ext cx="281084" cy="242996"/>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 Placeholder 4">
            <a:extLst>
              <a:ext uri="{FF2B5EF4-FFF2-40B4-BE49-F238E27FC236}">
                <a16:creationId xmlns:a16="http://schemas.microsoft.com/office/drawing/2014/main" id="{3A8B42BF-2718-4E4A-8F3D-399C6040D3D8}"/>
              </a:ext>
            </a:extLst>
          </p:cNvPr>
          <p:cNvSpPr txBox="1">
            <a:spLocks/>
          </p:cNvSpPr>
          <p:nvPr/>
        </p:nvSpPr>
        <p:spPr>
          <a:xfrm>
            <a:off x="232503" y="5516967"/>
            <a:ext cx="11841284" cy="1298817"/>
          </a:xfrm>
          <a:prstGeom prst="rect">
            <a:avLst/>
          </a:prstGeom>
        </p:spPr>
        <p:txBody>
          <a:bodyPr wrap="square">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1400" b="1">
                <a:solidFill>
                  <a:srgbClr val="505050"/>
                </a:solidFill>
                <a:latin typeface="Segoe UI"/>
              </a:rPr>
              <a:t>Example Scenario: Legal organizations are challenged in finding accurate, related content in their documents</a:t>
            </a:r>
          </a:p>
          <a:p>
            <a:pPr>
              <a:defRPr/>
            </a:pPr>
            <a:r>
              <a:rPr lang="en-US" sz="1400">
                <a:solidFill>
                  <a:srgbClr val="505050"/>
                </a:solidFill>
                <a:latin typeface="Segoe UI"/>
              </a:rPr>
              <a:t>A contract management provider has issues with accurately parsing contracts into clauses &amp; extracting key metadata within scanned legacy docs</a:t>
            </a:r>
          </a:p>
          <a:p>
            <a:pPr>
              <a:defRPr/>
            </a:pPr>
            <a:r>
              <a:rPr lang="en-US" sz="1400">
                <a:solidFill>
                  <a:srgbClr val="505050"/>
                </a:solidFill>
                <a:latin typeface="Segoe UI"/>
              </a:rPr>
              <a:t>There are challenges searching documents as legal language has specific words and meanings &amp; finding similar words/phrases is difficult</a:t>
            </a:r>
          </a:p>
          <a:p>
            <a:pPr>
              <a:defRPr/>
            </a:pPr>
            <a:r>
              <a:rPr lang="en-US" sz="1400">
                <a:solidFill>
                  <a:srgbClr val="505050"/>
                </a:solidFill>
                <a:latin typeface="Segoe UI"/>
              </a:rPr>
              <a:t>Knowledge Mining with custom skills increased the quality of their offering &amp; saved their customers significant time reviewing and managing lengthy contracts manually; reduced risk by identifying risky language, important phrases, and finding contract obligations that are coming due. </a:t>
            </a:r>
          </a:p>
        </p:txBody>
      </p:sp>
      <p:sp>
        <p:nvSpPr>
          <p:cNvPr id="110" name="Title 1">
            <a:extLst>
              <a:ext uri="{FF2B5EF4-FFF2-40B4-BE49-F238E27FC236}">
                <a16:creationId xmlns:a16="http://schemas.microsoft.com/office/drawing/2014/main" id="{431BC550-6A35-4006-9D37-FDE4F50A8389}"/>
              </a:ext>
            </a:extLst>
          </p:cNvPr>
          <p:cNvSpPr txBox="1">
            <a:spLocks/>
          </p:cNvSpPr>
          <p:nvPr/>
        </p:nvSpPr>
        <p:spPr>
          <a:xfrm>
            <a:off x="201405" y="576070"/>
            <a:ext cx="11655840" cy="1196047"/>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Contract Management &amp; Custom Alerts</a:t>
            </a:r>
          </a:p>
        </p:txBody>
      </p:sp>
    </p:spTree>
    <p:extLst>
      <p:ext uri="{BB962C8B-B14F-4D97-AF65-F5344CB8AC3E}">
        <p14:creationId xmlns:p14="http://schemas.microsoft.com/office/powerpoint/2010/main" val="923759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fade">
                                      <p:cBhvr>
                                        <p:cTn id="7" dur="500"/>
                                        <p:tgtEl>
                                          <p:spTgt spid="9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1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C67AE9-1733-4285-B569-33A68F7FB594}"/>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Customers &amp; Case Studies</a:t>
            </a:r>
          </a:p>
        </p:txBody>
      </p:sp>
    </p:spTree>
    <p:extLst>
      <p:ext uri="{BB962C8B-B14F-4D97-AF65-F5344CB8AC3E}">
        <p14:creationId xmlns:p14="http://schemas.microsoft.com/office/powerpoint/2010/main" val="325387021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3BF66-1E46-40CE-A887-CCFF23D98849}"/>
              </a:ext>
            </a:extLst>
          </p:cNvPr>
          <p:cNvSpPr>
            <a:spLocks noGrp="1"/>
          </p:cNvSpPr>
          <p:nvPr>
            <p:ph type="title"/>
          </p:nvPr>
        </p:nvSpPr>
        <p:spPr>
          <a:xfrm>
            <a:off x="201405" y="569634"/>
            <a:ext cx="11655840" cy="1202484"/>
          </a:xfrm>
        </p:spPr>
        <p:txBody>
          <a:bodyPr/>
          <a:lstStyle/>
          <a:p>
            <a:r>
              <a:rPr lang="en-US" b="1">
                <a:solidFill>
                  <a:srgbClr val="505050"/>
                </a:solidFill>
              </a:rPr>
              <a:t>Top Consumers (NDA)</a:t>
            </a:r>
          </a:p>
        </p:txBody>
      </p:sp>
      <p:pic>
        <p:nvPicPr>
          <p:cNvPr id="10" name="Graphic 9">
            <a:extLst>
              <a:ext uri="{FF2B5EF4-FFF2-40B4-BE49-F238E27FC236}">
                <a16:creationId xmlns:a16="http://schemas.microsoft.com/office/drawing/2014/main" id="{D8A46FBE-E998-4F53-AC50-FD6F4606B0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48708" y="1655990"/>
            <a:ext cx="2402638" cy="676402"/>
          </a:xfrm>
          <a:prstGeom prst="rect">
            <a:avLst/>
          </a:prstGeom>
        </p:spPr>
      </p:pic>
      <p:pic>
        <p:nvPicPr>
          <p:cNvPr id="16" name="Picture 15">
            <a:extLst>
              <a:ext uri="{FF2B5EF4-FFF2-40B4-BE49-F238E27FC236}">
                <a16:creationId xmlns:a16="http://schemas.microsoft.com/office/drawing/2014/main" id="{B2AD4A99-D1C4-4373-8F9F-27F421BA3672}"/>
              </a:ext>
            </a:extLst>
          </p:cNvPr>
          <p:cNvPicPr>
            <a:picLocks noChangeAspect="1"/>
          </p:cNvPicPr>
          <p:nvPr/>
        </p:nvPicPr>
        <p:blipFill>
          <a:blip r:embed="rId5"/>
          <a:stretch>
            <a:fillRect/>
          </a:stretch>
        </p:blipFill>
        <p:spPr>
          <a:xfrm>
            <a:off x="623296" y="1583914"/>
            <a:ext cx="3267075" cy="828675"/>
          </a:xfrm>
          <a:prstGeom prst="rect">
            <a:avLst/>
          </a:prstGeom>
        </p:spPr>
      </p:pic>
      <p:pic>
        <p:nvPicPr>
          <p:cNvPr id="19" name="Picture 18">
            <a:extLst>
              <a:ext uri="{FF2B5EF4-FFF2-40B4-BE49-F238E27FC236}">
                <a16:creationId xmlns:a16="http://schemas.microsoft.com/office/drawing/2014/main" id="{2C60DBA7-B232-4424-8A1C-45C2D7085489}"/>
              </a:ext>
            </a:extLst>
          </p:cNvPr>
          <p:cNvPicPr>
            <a:picLocks noChangeAspect="1"/>
          </p:cNvPicPr>
          <p:nvPr/>
        </p:nvPicPr>
        <p:blipFill>
          <a:blip r:embed="rId6"/>
          <a:stretch>
            <a:fillRect/>
          </a:stretch>
        </p:blipFill>
        <p:spPr>
          <a:xfrm>
            <a:off x="3562870" y="4044793"/>
            <a:ext cx="1971675" cy="352425"/>
          </a:xfrm>
          <a:prstGeom prst="rect">
            <a:avLst/>
          </a:prstGeom>
        </p:spPr>
      </p:pic>
      <p:pic>
        <p:nvPicPr>
          <p:cNvPr id="20" name="Picture 19">
            <a:extLst>
              <a:ext uri="{FF2B5EF4-FFF2-40B4-BE49-F238E27FC236}">
                <a16:creationId xmlns:a16="http://schemas.microsoft.com/office/drawing/2014/main" id="{98B885CC-F5FB-4EE0-8F39-256C3FA1F8BA}"/>
              </a:ext>
            </a:extLst>
          </p:cNvPr>
          <p:cNvPicPr>
            <a:picLocks noChangeAspect="1"/>
          </p:cNvPicPr>
          <p:nvPr/>
        </p:nvPicPr>
        <p:blipFill>
          <a:blip r:embed="rId7"/>
          <a:stretch>
            <a:fillRect/>
          </a:stretch>
        </p:blipFill>
        <p:spPr>
          <a:xfrm>
            <a:off x="7330588" y="4514681"/>
            <a:ext cx="3998249" cy="573334"/>
          </a:xfrm>
          <a:prstGeom prst="rect">
            <a:avLst/>
          </a:prstGeom>
        </p:spPr>
      </p:pic>
      <p:pic>
        <p:nvPicPr>
          <p:cNvPr id="22" name="Picture 21">
            <a:extLst>
              <a:ext uri="{FF2B5EF4-FFF2-40B4-BE49-F238E27FC236}">
                <a16:creationId xmlns:a16="http://schemas.microsoft.com/office/drawing/2014/main" id="{10279133-D02E-4B45-BED0-CD18414EF586}"/>
              </a:ext>
            </a:extLst>
          </p:cNvPr>
          <p:cNvPicPr>
            <a:picLocks noChangeAspect="1"/>
          </p:cNvPicPr>
          <p:nvPr/>
        </p:nvPicPr>
        <p:blipFill>
          <a:blip r:embed="rId8"/>
          <a:stretch>
            <a:fillRect/>
          </a:stretch>
        </p:blipFill>
        <p:spPr>
          <a:xfrm>
            <a:off x="835525" y="2297223"/>
            <a:ext cx="2523605" cy="1535193"/>
          </a:xfrm>
          <a:prstGeom prst="rect">
            <a:avLst/>
          </a:prstGeom>
        </p:spPr>
      </p:pic>
      <p:pic>
        <p:nvPicPr>
          <p:cNvPr id="24" name="Picture 23">
            <a:extLst>
              <a:ext uri="{FF2B5EF4-FFF2-40B4-BE49-F238E27FC236}">
                <a16:creationId xmlns:a16="http://schemas.microsoft.com/office/drawing/2014/main" id="{16FC9BFC-4874-4880-B37E-F941CB44FAC9}"/>
              </a:ext>
            </a:extLst>
          </p:cNvPr>
          <p:cNvPicPr>
            <a:picLocks noChangeAspect="1"/>
          </p:cNvPicPr>
          <p:nvPr/>
        </p:nvPicPr>
        <p:blipFill>
          <a:blip r:embed="rId9"/>
          <a:stretch>
            <a:fillRect/>
          </a:stretch>
        </p:blipFill>
        <p:spPr>
          <a:xfrm>
            <a:off x="9320681" y="3018171"/>
            <a:ext cx="2368716" cy="1379047"/>
          </a:xfrm>
          <a:prstGeom prst="rect">
            <a:avLst/>
          </a:prstGeom>
        </p:spPr>
      </p:pic>
      <p:pic>
        <p:nvPicPr>
          <p:cNvPr id="26" name="Picture 25">
            <a:extLst>
              <a:ext uri="{FF2B5EF4-FFF2-40B4-BE49-F238E27FC236}">
                <a16:creationId xmlns:a16="http://schemas.microsoft.com/office/drawing/2014/main" id="{F0D61B1E-1860-46E2-AFE1-FBB45F149673}"/>
              </a:ext>
            </a:extLst>
          </p:cNvPr>
          <p:cNvPicPr>
            <a:picLocks noChangeAspect="1"/>
          </p:cNvPicPr>
          <p:nvPr/>
        </p:nvPicPr>
        <p:blipFill>
          <a:blip r:embed="rId10"/>
          <a:stretch>
            <a:fillRect/>
          </a:stretch>
        </p:blipFill>
        <p:spPr>
          <a:xfrm>
            <a:off x="5750027" y="4514681"/>
            <a:ext cx="1047750" cy="1047750"/>
          </a:xfrm>
          <a:prstGeom prst="rect">
            <a:avLst/>
          </a:prstGeom>
        </p:spPr>
      </p:pic>
      <p:pic>
        <p:nvPicPr>
          <p:cNvPr id="27" name="Graphic 26">
            <a:extLst>
              <a:ext uri="{FF2B5EF4-FFF2-40B4-BE49-F238E27FC236}">
                <a16:creationId xmlns:a16="http://schemas.microsoft.com/office/drawing/2014/main" id="{BBC442AF-C209-4DDE-A1C9-3C6FF257BD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8516" y="5653114"/>
            <a:ext cx="3091560" cy="635252"/>
          </a:xfrm>
          <a:prstGeom prst="rect">
            <a:avLst/>
          </a:prstGeom>
        </p:spPr>
      </p:pic>
      <p:pic>
        <p:nvPicPr>
          <p:cNvPr id="28" name="Graphic 27">
            <a:extLst>
              <a:ext uri="{FF2B5EF4-FFF2-40B4-BE49-F238E27FC236}">
                <a16:creationId xmlns:a16="http://schemas.microsoft.com/office/drawing/2014/main" id="{7BC185EB-B9DC-482B-A6CC-239C89CFEE9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29325" y="2949374"/>
            <a:ext cx="3210936" cy="730285"/>
          </a:xfrm>
          <a:prstGeom prst="rect">
            <a:avLst/>
          </a:prstGeom>
        </p:spPr>
      </p:pic>
      <p:pic>
        <p:nvPicPr>
          <p:cNvPr id="13" name="Picture 4" descr="Image result for deloitte and touche">
            <a:extLst>
              <a:ext uri="{FF2B5EF4-FFF2-40B4-BE49-F238E27FC236}">
                <a16:creationId xmlns:a16="http://schemas.microsoft.com/office/drawing/2014/main" id="{B6A6BB0B-19C3-455E-A29A-96158577707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70076" y="2996286"/>
            <a:ext cx="1957265" cy="36510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Image result for exxon mobil">
            <a:extLst>
              <a:ext uri="{FF2B5EF4-FFF2-40B4-BE49-F238E27FC236}">
                <a16:creationId xmlns:a16="http://schemas.microsoft.com/office/drawing/2014/main" id="{B04FA25E-254C-4F1C-A65F-AAA8189434A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02603" y="4210020"/>
            <a:ext cx="2170226" cy="4323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Image result for liberty mutual">
            <a:extLst>
              <a:ext uri="{FF2B5EF4-FFF2-40B4-BE49-F238E27FC236}">
                <a16:creationId xmlns:a16="http://schemas.microsoft.com/office/drawing/2014/main" id="{ACD35D95-5FFE-4F0C-B65F-54D581D8B00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09995" y="1614865"/>
            <a:ext cx="2810616" cy="7148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6" descr="Image result for walmart">
            <a:extLst>
              <a:ext uri="{FF2B5EF4-FFF2-40B4-BE49-F238E27FC236}">
                <a16:creationId xmlns:a16="http://schemas.microsoft.com/office/drawing/2014/main" id="{E3839238-061C-41B6-BD4C-E27E4CA9964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926596" y="5534236"/>
            <a:ext cx="3148816" cy="91588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8" descr="Image result for thomson corporation">
            <a:extLst>
              <a:ext uri="{FF2B5EF4-FFF2-40B4-BE49-F238E27FC236}">
                <a16:creationId xmlns:a16="http://schemas.microsoft.com/office/drawing/2014/main" id="{F03E3184-7C48-40E3-BAA9-4DE2F3BC8974}"/>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2145"/>
          <a:stretch/>
        </p:blipFill>
        <p:spPr bwMode="auto">
          <a:xfrm>
            <a:off x="9735340" y="5254796"/>
            <a:ext cx="1339935" cy="117720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Image result for johnson controls">
            <a:extLst>
              <a:ext uri="{FF2B5EF4-FFF2-40B4-BE49-F238E27FC236}">
                <a16:creationId xmlns:a16="http://schemas.microsoft.com/office/drawing/2014/main" id="{9B610F10-7939-4D82-BD7F-12949046273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572650" y="4953209"/>
            <a:ext cx="1847413" cy="8483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79761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EF25B-8F33-4CB2-87BF-DD4CDD8FC209}"/>
              </a:ext>
            </a:extLst>
          </p:cNvPr>
          <p:cNvSpPr>
            <a:spLocks noGrp="1"/>
          </p:cNvSpPr>
          <p:nvPr>
            <p:ph type="body" sz="quarter" idx="10"/>
          </p:nvPr>
        </p:nvSpPr>
        <p:spPr>
          <a:xfrm>
            <a:off x="3762869" y="679377"/>
            <a:ext cx="8267092" cy="4743543"/>
          </a:xfrm>
        </p:spPr>
        <p:txBody>
          <a:bodyPr wrap="square" anchor="t">
            <a:spAutoFit/>
          </a:bodyPr>
          <a:lstStyle/>
          <a:p>
            <a:r>
              <a:rPr lang="en-US" b="1" u="sng"/>
              <a:t>Detail of execution: </a:t>
            </a:r>
            <a:r>
              <a:rPr lang="en-US"/>
              <a:t>Every month, the company serves more than 5 million users and handles millions of searches by consumers looking for everything from hybrids to trucks. Our mobile apps have been downloaded more than 2 million times. These users want information faster than ever; they demand a real-time experience. Azure search was used to ingest catalogue data from </a:t>
            </a:r>
            <a:r>
              <a:rPr lang="en-US" err="1"/>
              <a:t>AzureSQL</a:t>
            </a:r>
            <a:r>
              <a:rPr lang="en-US"/>
              <a:t> and Blob services to create an index that was searchable via Cloud Services/App service.</a:t>
            </a:r>
          </a:p>
          <a:p>
            <a:r>
              <a:rPr lang="en-US" b="1" u="sng"/>
              <a:t>Customer quote </a:t>
            </a:r>
            <a:r>
              <a:rPr lang="en-US"/>
              <a:t>“We wanted our IT team fully focused on building websites and apps that help consumers buy cars with confidence, not running a datacenter. Azure takes care of that for us, like a utility we know can keep pace with our explosive growth.” </a:t>
            </a:r>
            <a:endParaRPr lang="en-US">
              <a:cs typeface="Segoe UI"/>
            </a:endParaRPr>
          </a:p>
          <a:p>
            <a:r>
              <a:rPr lang="en-US"/>
              <a:t>Allen Wales: Vice President of Technology, autoTRADER.ca</a:t>
            </a:r>
            <a:endParaRPr lang="en-US">
              <a:cs typeface="Segoe UI"/>
            </a:endParaRPr>
          </a:p>
          <a:p>
            <a:r>
              <a:rPr lang="en-US" b="1"/>
              <a:t>ACR for Search: </a:t>
            </a:r>
            <a:r>
              <a:rPr lang="en-US"/>
              <a:t>$14K / month </a:t>
            </a:r>
            <a:endParaRPr lang="en-US">
              <a:cs typeface="Segoe UI"/>
            </a:endParaRPr>
          </a:p>
          <a:p>
            <a:r>
              <a:rPr lang="en-US" b="1"/>
              <a:t>Total ACR: </a:t>
            </a:r>
            <a:r>
              <a:rPr lang="en-US"/>
              <a:t>$19k/month</a:t>
            </a:r>
            <a:endParaRPr lang="en-US">
              <a:cs typeface="Segoe UI"/>
            </a:endParaRPr>
          </a:p>
        </p:txBody>
      </p:sp>
      <p:pic>
        <p:nvPicPr>
          <p:cNvPr id="1026" name="Picture 2" descr="Image result for autotrader logo">
            <a:extLst>
              <a:ext uri="{FF2B5EF4-FFF2-40B4-BE49-F238E27FC236}">
                <a16:creationId xmlns:a16="http://schemas.microsoft.com/office/drawing/2014/main" id="{0FB70DFA-F1C3-4ADB-BA7B-BC1FD49E0F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981" y="679377"/>
            <a:ext cx="2676525" cy="170497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22E6D419-7B70-48D1-93DC-1B533BE6FA4E}"/>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spTree>
    <p:extLst>
      <p:ext uri="{BB962C8B-B14F-4D97-AF65-F5344CB8AC3E}">
        <p14:creationId xmlns:p14="http://schemas.microsoft.com/office/powerpoint/2010/main" val="8458235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EF25B-8F33-4CB2-87BF-DD4CDD8FC209}"/>
              </a:ext>
            </a:extLst>
          </p:cNvPr>
          <p:cNvSpPr>
            <a:spLocks noGrp="1"/>
          </p:cNvSpPr>
          <p:nvPr>
            <p:ph type="body" sz="quarter" idx="10"/>
          </p:nvPr>
        </p:nvSpPr>
        <p:spPr>
          <a:xfrm>
            <a:off x="4020338" y="610705"/>
            <a:ext cx="7271926" cy="5654561"/>
          </a:xfrm>
        </p:spPr>
        <p:txBody>
          <a:bodyPr/>
          <a:lstStyle/>
          <a:p>
            <a:r>
              <a:rPr lang="en-US" b="1" u="sng"/>
              <a:t>Detail of execution: </a:t>
            </a:r>
            <a:r>
              <a:rPr lang="en-US">
                <a:latin typeface="SegoeUI"/>
              </a:rPr>
              <a:t>Azure Search ingested data in the form of PDFs in Azure blob storage.  They used key phrase extraction and named entity recognition, language detection, and automatic translation cognitive services to enrich their data and created a custom GDPR risk model with their own data.  They then connected it to Azure web apps to create a searchable experience for 2M users to manage over 5M contracts.</a:t>
            </a:r>
          </a:p>
          <a:p>
            <a:r>
              <a:rPr lang="en-US" b="1" u="sng"/>
              <a:t>Customer quote </a:t>
            </a:r>
            <a:r>
              <a:rPr lang="en-US" b="1"/>
              <a:t> “</a:t>
            </a:r>
            <a:r>
              <a:rPr lang="en-US"/>
              <a:t>For the first time in history, contracts are being digitized, allowing enterprises to fully reimagine contract management. AI is key to understanding the terabytes of unstructured data in contracts.  Understanding that can transform the foundation of commerce.” Monish </a:t>
            </a:r>
            <a:r>
              <a:rPr lang="en-US" err="1"/>
              <a:t>Darda</a:t>
            </a:r>
            <a:r>
              <a:rPr lang="en-US"/>
              <a:t>, CTO</a:t>
            </a:r>
          </a:p>
          <a:p>
            <a:r>
              <a:rPr lang="en-US"/>
              <a:t>Benefits: would have taken months/year to set up manually, need dedicated head count to create</a:t>
            </a:r>
          </a:p>
          <a:p>
            <a:r>
              <a:rPr lang="en-US" b="1"/>
              <a:t>ACR: </a:t>
            </a:r>
            <a:r>
              <a:rPr lang="en-US"/>
              <a:t>TBD</a:t>
            </a:r>
            <a:endParaRPr lang="en-US" b="1">
              <a:highlight>
                <a:srgbClr val="FFFF00"/>
              </a:highlight>
            </a:endParaRPr>
          </a:p>
        </p:txBody>
      </p:sp>
      <p:pic>
        <p:nvPicPr>
          <p:cNvPr id="4098" name="Picture 2" descr="Image result for icertis logo">
            <a:extLst>
              <a:ext uri="{FF2B5EF4-FFF2-40B4-BE49-F238E27FC236}">
                <a16:creationId xmlns:a16="http://schemas.microsoft.com/office/drawing/2014/main" id="{9C0B7BC1-0A44-417C-A533-91D95EE87AD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589" t="11194" b="30701"/>
          <a:stretch/>
        </p:blipFill>
        <p:spPr bwMode="auto">
          <a:xfrm>
            <a:off x="392965" y="0"/>
            <a:ext cx="3373588" cy="164743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810AF852-AE1E-4489-B5DE-6089923AF572}"/>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spTree>
    <p:extLst>
      <p:ext uri="{BB962C8B-B14F-4D97-AF65-F5344CB8AC3E}">
        <p14:creationId xmlns:p14="http://schemas.microsoft.com/office/powerpoint/2010/main" val="10162274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32" name="Rectangle 8">
            <a:extLst>
              <a:ext uri="{FF2B5EF4-FFF2-40B4-BE49-F238E27FC236}">
                <a16:creationId xmlns:a16="http://schemas.microsoft.com/office/drawing/2014/main" id="{EA67B5B4-3A24-436E-B663-1B2EBFF8A0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13">
            <a:extLst>
              <a:ext uri="{FF2B5EF4-FFF2-40B4-BE49-F238E27FC236}">
                <a16:creationId xmlns:a16="http://schemas.microsoft.com/office/drawing/2014/main" id="{987FDF89-C993-41F4-A1B8-DBAFF16008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rgbClr val="0000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11">
            <a:extLst>
              <a:ext uri="{FF2B5EF4-FFF2-40B4-BE49-F238E27FC236}">
                <a16:creationId xmlns:a16="http://schemas.microsoft.com/office/drawing/2014/main" id="{64E585EA-75FD-4025-8270-F66A58A15C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rgbClr val="0000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555E8B4A-360D-4E1D-9A09-72B14C7673BD}"/>
              </a:ext>
            </a:extLst>
          </p:cNvPr>
          <p:cNvSpPr txBox="1">
            <a:spLocks/>
          </p:cNvSpPr>
          <p:nvPr/>
        </p:nvSpPr>
        <p:spPr>
          <a:xfrm>
            <a:off x="833002" y="365125"/>
            <a:ext cx="10520702" cy="1325563"/>
          </a:xfrm>
          <a:prstGeom prst="rect">
            <a:avLst/>
          </a:prstGeom>
        </p:spPr>
        <p:txBody>
          <a:bodyPr vert="horz" lIns="91440" tIns="45720" rIns="91440" bIns="45720" rtlCol="0" anchor="ctr">
            <a:norm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defTabSz="914400" fontAlgn="auto">
              <a:spcAft>
                <a:spcPts val="600"/>
              </a:spcAft>
              <a:buClrTx/>
              <a:buSzTx/>
              <a:tabLst/>
              <a:defRPr/>
            </a:pPr>
            <a:r>
              <a:rPr kumimoji="0" lang="en-US" sz="4400" b="1" i="0" u="none" strike="noStrike" kern="1200" cap="none" spc="-100" normalizeH="0" baseline="0" noProof="0">
                <a:ln w="3175">
                  <a:noFill/>
                </a:ln>
                <a:solidFill>
                  <a:srgbClr val="FFFFFF"/>
                </a:solidFill>
                <a:effectLst/>
                <a:uLnTx/>
                <a:uFillTx/>
                <a:latin typeface="+mj-lt"/>
                <a:ea typeface="+mj-ea"/>
                <a:cs typeface="+mj-cs"/>
              </a:rPr>
              <a:t>Knowledge Mining Seller Execution Guide</a:t>
            </a:r>
          </a:p>
        </p:txBody>
      </p:sp>
      <p:sp>
        <p:nvSpPr>
          <p:cNvPr id="3" name="Text Placeholder 2"/>
          <p:cNvSpPr>
            <a:spLocks noGrp="1"/>
          </p:cNvSpPr>
          <p:nvPr>
            <p:ph type="body" sz="quarter" idx="10"/>
          </p:nvPr>
        </p:nvSpPr>
        <p:spPr>
          <a:xfrm>
            <a:off x="838201" y="2022601"/>
            <a:ext cx="10515598" cy="4154361"/>
          </a:xfrm>
        </p:spPr>
        <p:txBody>
          <a:bodyPr vert="horz" lIns="91440" tIns="45720" rIns="91440" bIns="45720" rtlCol="0">
            <a:normAutofit/>
          </a:bodyPr>
          <a:lstStyle/>
          <a:p>
            <a:pPr>
              <a:spcBef>
                <a:spcPts val="600"/>
              </a:spcBef>
              <a:spcAft>
                <a:spcPts val="1200"/>
              </a:spcAft>
            </a:pPr>
            <a:r>
              <a:rPr lang="en-US">
                <a:solidFill>
                  <a:srgbClr val="FFFFFF"/>
                </a:solidFill>
                <a:latin typeface="+mj-lt"/>
              </a:rPr>
              <a:t>Why Knowledge Mining </a:t>
            </a:r>
          </a:p>
          <a:p>
            <a:pPr>
              <a:spcBef>
                <a:spcPts val="600"/>
              </a:spcBef>
              <a:spcAft>
                <a:spcPts val="1200"/>
              </a:spcAft>
            </a:pPr>
            <a:r>
              <a:rPr lang="en-US">
                <a:solidFill>
                  <a:srgbClr val="FFFFFF"/>
                </a:solidFill>
                <a:latin typeface="+mj-lt"/>
              </a:rPr>
              <a:t>Knowledge Mining Opportunity with Azure Search &amp; Cognitive Services</a:t>
            </a:r>
          </a:p>
          <a:p>
            <a:pPr>
              <a:spcBef>
                <a:spcPts val="600"/>
              </a:spcBef>
              <a:spcAft>
                <a:spcPts val="1200"/>
              </a:spcAft>
            </a:pPr>
            <a:r>
              <a:rPr lang="en-US">
                <a:solidFill>
                  <a:srgbClr val="FFFFFF"/>
                </a:solidFill>
                <a:latin typeface="+mj-lt"/>
              </a:rPr>
              <a:t>What Accounts </a:t>
            </a:r>
            <a:r>
              <a:rPr lang="en-US">
                <a:solidFill>
                  <a:srgbClr val="FFFFFF"/>
                </a:solidFill>
                <a:latin typeface="+mj-lt"/>
                <a:cs typeface="Segoe UI Light" panose="020B0502040204020203" pitchFamily="34" charset="0"/>
              </a:rPr>
              <a:t>should</a:t>
            </a:r>
            <a:r>
              <a:rPr lang="en-US">
                <a:solidFill>
                  <a:srgbClr val="FFFFFF"/>
                </a:solidFill>
                <a:latin typeface="+mj-lt"/>
              </a:rPr>
              <a:t> I target and how do I identify those accounts</a:t>
            </a:r>
          </a:p>
          <a:p>
            <a:pPr>
              <a:spcBef>
                <a:spcPts val="600"/>
              </a:spcBef>
              <a:spcAft>
                <a:spcPts val="1200"/>
              </a:spcAft>
            </a:pPr>
            <a:r>
              <a:rPr lang="en-US">
                <a:solidFill>
                  <a:srgbClr val="FFFFFF"/>
                </a:solidFill>
                <a:latin typeface="+mj-lt"/>
              </a:rPr>
              <a:t>Sales Engagement Process &amp; ECIF Guidance</a:t>
            </a:r>
          </a:p>
          <a:p>
            <a:pPr>
              <a:spcBef>
                <a:spcPts val="600"/>
              </a:spcBef>
              <a:spcAft>
                <a:spcPts val="1200"/>
              </a:spcAft>
            </a:pPr>
            <a:r>
              <a:rPr lang="en-US">
                <a:solidFill>
                  <a:srgbClr val="FFFFFF"/>
                </a:solidFill>
                <a:latin typeface="+mj-lt"/>
              </a:rPr>
              <a:t>Who are our Partners &amp; Partner engagement guidance</a:t>
            </a:r>
          </a:p>
          <a:p>
            <a:pPr>
              <a:spcBef>
                <a:spcPts val="600"/>
              </a:spcBef>
              <a:spcAft>
                <a:spcPts val="1200"/>
              </a:spcAft>
            </a:pPr>
            <a:r>
              <a:rPr lang="en-US">
                <a:solidFill>
                  <a:srgbClr val="FFFFFF"/>
                </a:solidFill>
                <a:latin typeface="+mj-lt"/>
              </a:rPr>
              <a:t>Execution Resources and Call to Action</a:t>
            </a:r>
          </a:p>
        </p:txBody>
      </p:sp>
    </p:spTree>
    <p:extLst>
      <p:ext uri="{BB962C8B-B14F-4D97-AF65-F5344CB8AC3E}">
        <p14:creationId xmlns:p14="http://schemas.microsoft.com/office/powerpoint/2010/main" val="3416359653"/>
      </p:ext>
    </p:extLst>
  </p:cSld>
  <p:clrMapOvr>
    <a:overrideClrMapping bg1="dk1" tx1="lt1" bg2="dk2" tx2="lt2" accent1="accent1" accent2="accent2" accent3="accent3" accent4="accent4" accent5="accent5" accent6="accent6" hlink="hlink" folHlink="folHlink"/>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EF25B-8F33-4CB2-87BF-DD4CDD8FC209}"/>
              </a:ext>
            </a:extLst>
          </p:cNvPr>
          <p:cNvSpPr>
            <a:spLocks noGrp="1"/>
          </p:cNvSpPr>
          <p:nvPr>
            <p:ph type="body" sz="quarter" idx="10"/>
          </p:nvPr>
        </p:nvSpPr>
        <p:spPr>
          <a:xfrm>
            <a:off x="5010307" y="577895"/>
            <a:ext cx="6655672" cy="3641703"/>
          </a:xfrm>
        </p:spPr>
        <p:txBody>
          <a:bodyPr vert="horz" wrap="square" lIns="0" tIns="0" rIns="0" bIns="0" rtlCol="0" anchor="t">
            <a:spAutoFit/>
          </a:bodyPr>
          <a:lstStyle/>
          <a:p>
            <a:r>
              <a:rPr lang="en-US" b="1" u="sng"/>
              <a:t>Detail of execution:</a:t>
            </a:r>
            <a:r>
              <a:rPr lang="en-US"/>
              <a:t> Walmart started an initiative called Post Payment Audit, where their auditors needed to search through the three years worth of emails from customers, which was a painstakingly slow process.  As a solution, </a:t>
            </a:r>
            <a:r>
              <a:rPr lang="en-US">
                <a:latin typeface="SegoeUI"/>
              </a:rPr>
              <a:t>Azure Search ingested data in the form of 2.1 TB of emails from Azure Blob storage over 36 months for their auditors to search over for audit purposes. </a:t>
            </a:r>
            <a:endParaRPr lang="en-US"/>
          </a:p>
          <a:p>
            <a:endParaRPr lang="en-US">
              <a:cs typeface="Segoe UI"/>
            </a:endParaRPr>
          </a:p>
          <a:p>
            <a:r>
              <a:rPr lang="en-US" b="1"/>
              <a:t>ACR for Search</a:t>
            </a:r>
            <a:r>
              <a:rPr lang="en-US"/>
              <a:t>: $74K / month </a:t>
            </a:r>
          </a:p>
          <a:p>
            <a:r>
              <a:rPr lang="en-US" b="1"/>
              <a:t>Total solution: </a:t>
            </a:r>
            <a:r>
              <a:rPr lang="en-US"/>
              <a:t>$100k/month</a:t>
            </a:r>
            <a:endParaRPr lang="en-US" b="1"/>
          </a:p>
        </p:txBody>
      </p:sp>
      <p:pic>
        <p:nvPicPr>
          <p:cNvPr id="1028" name="Picture 4" descr="Image result for walmart logo">
            <a:extLst>
              <a:ext uri="{FF2B5EF4-FFF2-40B4-BE49-F238E27FC236}">
                <a16:creationId xmlns:a16="http://schemas.microsoft.com/office/drawing/2014/main" id="{E6EB59CF-9F8F-4059-AA5C-F179D41157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725" y="499755"/>
            <a:ext cx="4097432" cy="1019805"/>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CF3498E6-F501-4853-834E-24C8C86613A5}"/>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spTree>
    <p:extLst>
      <p:ext uri="{BB962C8B-B14F-4D97-AF65-F5344CB8AC3E}">
        <p14:creationId xmlns:p14="http://schemas.microsoft.com/office/powerpoint/2010/main" val="327055908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EF25B-8F33-4CB2-87BF-DD4CDD8FC209}"/>
              </a:ext>
            </a:extLst>
          </p:cNvPr>
          <p:cNvSpPr>
            <a:spLocks noGrp="1"/>
          </p:cNvSpPr>
          <p:nvPr>
            <p:ph type="body" sz="quarter" idx="10"/>
          </p:nvPr>
        </p:nvSpPr>
        <p:spPr>
          <a:xfrm>
            <a:off x="3762869" y="679377"/>
            <a:ext cx="8267092" cy="4743543"/>
          </a:xfrm>
        </p:spPr>
        <p:txBody>
          <a:bodyPr/>
          <a:lstStyle/>
          <a:p>
            <a:r>
              <a:rPr lang="en-US" b="1" u="sng"/>
              <a:t>Detail of execution: </a:t>
            </a:r>
            <a:r>
              <a:rPr lang="en-US"/>
              <a:t>During the NBA regular season, 30 teams play 82 games. Each game generates terabytes of content. This much information makes it difficult to manage and curate and get insights delivered consistently across all our internal and external channels.</a:t>
            </a:r>
          </a:p>
          <a:p>
            <a:r>
              <a:rPr lang="en-US"/>
              <a:t>With the help of Azure Search and Cognitive Services, photos and other types of content can be automatically tagged and related quickly with increased accuracy.</a:t>
            </a:r>
          </a:p>
          <a:p>
            <a:r>
              <a:rPr lang="en-US"/>
              <a:t>For the full story please see this </a:t>
            </a:r>
            <a:r>
              <a:rPr lang="en-US">
                <a:hlinkClick r:id="rId3"/>
              </a:rPr>
              <a:t>video </a:t>
            </a:r>
            <a:endParaRPr lang="en-US"/>
          </a:p>
          <a:p>
            <a:r>
              <a:rPr lang="en-US" b="1" u="sng"/>
              <a:t>Customer quote </a:t>
            </a:r>
            <a:r>
              <a:rPr lang="en-US"/>
              <a:t>“As we get more insight from our data, I see a future where we can not only further automate our business, but use the system to connect our channels and drive personalized, value-based engagement with our fans across the world.” </a:t>
            </a:r>
          </a:p>
          <a:p>
            <a:r>
              <a:rPr lang="en-US" b="1"/>
              <a:t>ACR for Search: </a:t>
            </a:r>
            <a:r>
              <a:rPr lang="en-US"/>
              <a:t>$6K/month </a:t>
            </a:r>
            <a:r>
              <a:rPr lang="en-US" b="1"/>
              <a:t>Cognitive Services</a:t>
            </a:r>
            <a:r>
              <a:rPr lang="en-US"/>
              <a:t>: $6K/month</a:t>
            </a:r>
          </a:p>
          <a:p>
            <a:r>
              <a:rPr lang="en-US" b="1"/>
              <a:t>Total AI ACR: </a:t>
            </a:r>
            <a:r>
              <a:rPr lang="en-US"/>
              <a:t>$30K YTD </a:t>
            </a:r>
          </a:p>
        </p:txBody>
      </p:sp>
      <p:sp>
        <p:nvSpPr>
          <p:cNvPr id="4" name="Title 1">
            <a:extLst>
              <a:ext uri="{FF2B5EF4-FFF2-40B4-BE49-F238E27FC236}">
                <a16:creationId xmlns:a16="http://schemas.microsoft.com/office/drawing/2014/main" id="{22E6D419-7B70-48D1-93DC-1B533BE6FA4E}"/>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pic>
        <p:nvPicPr>
          <p:cNvPr id="5" name="Picture 4" descr="NBA Transparent Background | PNG Mart">
            <a:extLst>
              <a:ext uri="{FF2B5EF4-FFF2-40B4-BE49-F238E27FC236}">
                <a16:creationId xmlns:a16="http://schemas.microsoft.com/office/drawing/2014/main" id="{B49F1821-B933-4AAC-8E42-0EB21FBD95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736" y="679377"/>
            <a:ext cx="2357840" cy="1310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01538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EF25B-8F33-4CB2-87BF-DD4CDD8FC209}"/>
              </a:ext>
            </a:extLst>
          </p:cNvPr>
          <p:cNvSpPr>
            <a:spLocks noGrp="1"/>
          </p:cNvSpPr>
          <p:nvPr>
            <p:ph type="body" sz="quarter" idx="10"/>
          </p:nvPr>
        </p:nvSpPr>
        <p:spPr>
          <a:xfrm>
            <a:off x="3762869" y="679377"/>
            <a:ext cx="8267092" cy="4743543"/>
          </a:xfrm>
        </p:spPr>
        <p:txBody>
          <a:bodyPr/>
          <a:lstStyle/>
          <a:p>
            <a:r>
              <a:rPr lang="en-US" b="1" u="sng"/>
              <a:t>Detail of execution: </a:t>
            </a:r>
            <a:r>
              <a:rPr lang="en-US"/>
              <a:t>With the hundreds of digital marketing and cloud technologies available today, it can be challenging to choose the right cloud infrastructure and marketing tools that deliver great results. </a:t>
            </a:r>
          </a:p>
          <a:p>
            <a:r>
              <a:rPr lang="en-US"/>
              <a:t>The combination of the Sitecore Experience Cloud and Microsoft Azure outperform and provides industry-leading content management systems, digital marketing and commerce  platforms. </a:t>
            </a:r>
          </a:p>
          <a:p>
            <a:r>
              <a:rPr lang="en-US"/>
              <a:t>Sitecore </a:t>
            </a:r>
            <a:r>
              <a:rPr lang="en-US" err="1"/>
              <a:t>CortexTM</a:t>
            </a:r>
            <a:r>
              <a:rPr lang="en-US"/>
              <a:t>, Sitecore’s native machine learning tool, is constantly learning from data to Sitecore Cortex with existing Sitecore digital marketing capabilities means companies can show more relevant content, align visitor desires with their experience and predictive outcomes, match your message to your segment with segmentation recommendations, enhance search and SEO capabilities with content tagging, and always be learning from customer data </a:t>
            </a:r>
          </a:p>
          <a:p>
            <a:r>
              <a:rPr lang="en-US"/>
              <a:t>For the full story please see this </a:t>
            </a:r>
            <a:r>
              <a:rPr lang="en-US">
                <a:hlinkClick r:id="rId3"/>
              </a:rPr>
              <a:t>video </a:t>
            </a:r>
            <a:endParaRPr lang="en-US"/>
          </a:p>
          <a:p>
            <a:r>
              <a:rPr lang="en-US" b="1"/>
              <a:t>ACR for Search: </a:t>
            </a:r>
            <a:r>
              <a:rPr lang="en-US"/>
              <a:t>$100K / month </a:t>
            </a:r>
          </a:p>
          <a:p>
            <a:r>
              <a:rPr lang="en-US" b="1"/>
              <a:t>Total AI ACR: </a:t>
            </a:r>
            <a:r>
              <a:rPr lang="en-US"/>
              <a:t>$490K YTD</a:t>
            </a:r>
          </a:p>
        </p:txBody>
      </p:sp>
      <p:sp>
        <p:nvSpPr>
          <p:cNvPr id="4" name="Title 1">
            <a:extLst>
              <a:ext uri="{FF2B5EF4-FFF2-40B4-BE49-F238E27FC236}">
                <a16:creationId xmlns:a16="http://schemas.microsoft.com/office/drawing/2014/main" id="{22E6D419-7B70-48D1-93DC-1B533BE6FA4E}"/>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pic>
        <p:nvPicPr>
          <p:cNvPr id="6" name="Picture 2" descr="Sitecore CMS Development Solutions &amp; Services, Developers ...">
            <a:extLst>
              <a:ext uri="{FF2B5EF4-FFF2-40B4-BE49-F238E27FC236}">
                <a16:creationId xmlns:a16="http://schemas.microsoft.com/office/drawing/2014/main" id="{A62A24FA-1A7B-4F4A-A672-35A7C1B526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039" y="240224"/>
            <a:ext cx="3517099" cy="1978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78219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EF25B-8F33-4CB2-87BF-DD4CDD8FC209}"/>
              </a:ext>
            </a:extLst>
          </p:cNvPr>
          <p:cNvSpPr>
            <a:spLocks noGrp="1"/>
          </p:cNvSpPr>
          <p:nvPr>
            <p:ph type="body" sz="quarter" idx="10"/>
          </p:nvPr>
        </p:nvSpPr>
        <p:spPr>
          <a:xfrm>
            <a:off x="3869199" y="679377"/>
            <a:ext cx="8160762" cy="4743543"/>
          </a:xfrm>
        </p:spPr>
        <p:txBody>
          <a:bodyPr/>
          <a:lstStyle/>
          <a:p>
            <a:r>
              <a:rPr lang="en-US" b="1" u="sng"/>
              <a:t>Detail of execution: </a:t>
            </a:r>
            <a:r>
              <a:rPr lang="en-US"/>
              <a:t>The major challenge Wolters Kluwer faced is that SEC filings come in different flavors and formats.  For example searching for “Microsoft” can yield a huge number of results.  Knowledge Mining allows Wolters Kluwer to ingest files of different types (XML, PDFs, images) automatically to provide insight into both the structured &amp; unstructured data. </a:t>
            </a:r>
          </a:p>
          <a:p>
            <a:r>
              <a:rPr lang="en-US"/>
              <a:t>Wolters Kluwer is also leveraging the power of the Azure Search engine.  For example, an attorney may want to search for words that are close to each other such as “risk and fraud” being mentioned within 10 words of each other. </a:t>
            </a:r>
          </a:p>
          <a:p>
            <a:r>
              <a:rPr lang="en-US"/>
              <a:t>Another key use is identifying entities of importance (people, places, orgs).  Specific tags for key-phrases are automatically extracted using built-in cognitive skills so attorneys can narrow down the results. We are also integrating custom ML models to provide functions such as extracting features from letters. Once this information was extracted, it is then used by the attorney to improve the ways in which they create their filings.</a:t>
            </a:r>
          </a:p>
          <a:p>
            <a:r>
              <a:rPr lang="en-US"/>
              <a:t>Demo can be found at </a:t>
            </a:r>
            <a:r>
              <a:rPr lang="en-US" u="sng">
                <a:hlinkClick r:id="rId3"/>
              </a:rPr>
              <a:t>http://wolterskluwereap.azurewebsites.net/</a:t>
            </a:r>
            <a:r>
              <a:rPr lang="en-US" u="sng"/>
              <a:t> </a:t>
            </a:r>
            <a:endParaRPr lang="en-US"/>
          </a:p>
          <a:p>
            <a:r>
              <a:rPr lang="en-US" b="1"/>
              <a:t>ACR for Search: </a:t>
            </a:r>
            <a:r>
              <a:rPr lang="en-US"/>
              <a:t>$30K / month </a:t>
            </a:r>
          </a:p>
          <a:p>
            <a:r>
              <a:rPr lang="en-US" b="1"/>
              <a:t>Total AI ACR: </a:t>
            </a:r>
            <a:r>
              <a:rPr lang="en-US"/>
              <a:t>$167K YTD</a:t>
            </a:r>
          </a:p>
        </p:txBody>
      </p:sp>
      <p:sp>
        <p:nvSpPr>
          <p:cNvPr id="4" name="Title 1">
            <a:extLst>
              <a:ext uri="{FF2B5EF4-FFF2-40B4-BE49-F238E27FC236}">
                <a16:creationId xmlns:a16="http://schemas.microsoft.com/office/drawing/2014/main" id="{22E6D419-7B70-48D1-93DC-1B533BE6FA4E}"/>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pic>
        <p:nvPicPr>
          <p:cNvPr id="5" name="Picture 2" descr="Image result for wolters kluwer">
            <a:extLst>
              <a:ext uri="{FF2B5EF4-FFF2-40B4-BE49-F238E27FC236}">
                <a16:creationId xmlns:a16="http://schemas.microsoft.com/office/drawing/2014/main" id="{142E65E2-BA32-4CF5-9146-9160FA88DC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040" y="528992"/>
            <a:ext cx="3707158" cy="7839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59029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489C875-7C70-4DBB-ABC5-F007CE7695BB}"/>
              </a:ext>
            </a:extLst>
          </p:cNvPr>
          <p:cNvPicPr>
            <a:picLocks noChangeAspect="1"/>
          </p:cNvPicPr>
          <p:nvPr/>
        </p:nvPicPr>
        <p:blipFill rotWithShape="1">
          <a:blip r:embed="rId2"/>
          <a:srcRect t="51000"/>
          <a:stretch/>
        </p:blipFill>
        <p:spPr>
          <a:xfrm>
            <a:off x="3175552" y="4084689"/>
            <a:ext cx="7265505" cy="2574323"/>
          </a:xfrm>
          <a:prstGeom prst="rect">
            <a:avLst/>
          </a:prstGeom>
        </p:spPr>
      </p:pic>
      <p:pic>
        <p:nvPicPr>
          <p:cNvPr id="6" name="Picture 5">
            <a:extLst>
              <a:ext uri="{FF2B5EF4-FFF2-40B4-BE49-F238E27FC236}">
                <a16:creationId xmlns:a16="http://schemas.microsoft.com/office/drawing/2014/main" id="{6D4BDD59-02B8-4B50-AEBB-269F8693DB06}"/>
              </a:ext>
            </a:extLst>
          </p:cNvPr>
          <p:cNvPicPr>
            <a:picLocks noChangeAspect="1"/>
          </p:cNvPicPr>
          <p:nvPr/>
        </p:nvPicPr>
        <p:blipFill rotWithShape="1">
          <a:blip r:embed="rId2"/>
          <a:srcRect b="51000"/>
          <a:stretch/>
        </p:blipFill>
        <p:spPr>
          <a:xfrm>
            <a:off x="290945" y="1691370"/>
            <a:ext cx="6517360" cy="2309240"/>
          </a:xfrm>
          <a:prstGeom prst="rect">
            <a:avLst/>
          </a:prstGeom>
        </p:spPr>
      </p:pic>
      <p:sp>
        <p:nvSpPr>
          <p:cNvPr id="20" name="Title 1">
            <a:extLst>
              <a:ext uri="{FF2B5EF4-FFF2-40B4-BE49-F238E27FC236}">
                <a16:creationId xmlns:a16="http://schemas.microsoft.com/office/drawing/2014/main" id="{70CD788A-181C-4413-89DA-25602E0553ED}"/>
              </a:ext>
            </a:extLst>
          </p:cNvPr>
          <p:cNvSpPr txBox="1">
            <a:spLocks/>
          </p:cNvSpPr>
          <p:nvPr/>
        </p:nvSpPr>
        <p:spPr>
          <a:xfrm>
            <a:off x="201405" y="569634"/>
            <a:ext cx="11655840" cy="1202484"/>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a:ea typeface="+mn-ea"/>
                <a:cs typeface="Segoe UI" pitchFamily="34" charset="0"/>
              </a:rPr>
              <a:t>More Customer Stories</a:t>
            </a:r>
          </a:p>
        </p:txBody>
      </p:sp>
      <p:sp>
        <p:nvSpPr>
          <p:cNvPr id="22" name="Rectangle 21">
            <a:extLst>
              <a:ext uri="{FF2B5EF4-FFF2-40B4-BE49-F238E27FC236}">
                <a16:creationId xmlns:a16="http://schemas.microsoft.com/office/drawing/2014/main" id="{02A371E5-3984-4A4A-B021-F7596576EF54}"/>
              </a:ext>
            </a:extLst>
          </p:cNvPr>
          <p:cNvSpPr/>
          <p:nvPr/>
        </p:nvSpPr>
        <p:spPr>
          <a:xfrm>
            <a:off x="290944" y="6345712"/>
            <a:ext cx="2058716" cy="36394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a:ea typeface="+mn-ea"/>
                <a:cs typeface="+mn-cs"/>
                <a:hlinkClick r:id="rId3"/>
              </a:rPr>
              <a:t>Search Stories</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478304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C67AE9-1733-4285-B569-33A68F7FB594}"/>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Account Targeting</a:t>
            </a:r>
          </a:p>
        </p:txBody>
      </p:sp>
    </p:spTree>
    <p:extLst>
      <p:ext uri="{BB962C8B-B14F-4D97-AF65-F5344CB8AC3E}">
        <p14:creationId xmlns:p14="http://schemas.microsoft.com/office/powerpoint/2010/main" val="6071105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034E3F-E91B-4495-A2EF-F36EBB6FC608}"/>
              </a:ext>
            </a:extLst>
          </p:cNvPr>
          <p:cNvSpPr>
            <a:spLocks noGrp="1"/>
          </p:cNvSpPr>
          <p:nvPr>
            <p:ph type="body" sz="quarter" idx="10"/>
          </p:nvPr>
        </p:nvSpPr>
        <p:spPr>
          <a:xfrm>
            <a:off x="0" y="1699927"/>
            <a:ext cx="5640333" cy="2939266"/>
          </a:xfrm>
        </p:spPr>
        <p:txBody>
          <a:bodyPr/>
          <a:lstStyle/>
          <a:p>
            <a:pPr marL="336145" lvl="1" indent="0">
              <a:spcBef>
                <a:spcPts val="600"/>
              </a:spcBef>
              <a:buNone/>
            </a:pPr>
            <a:r>
              <a:rPr lang="en-US" sz="1600">
                <a:solidFill>
                  <a:srgbClr val="0078D7"/>
                </a:solidFill>
                <a:latin typeface="Segoe UI Semibold" charset="0"/>
                <a:ea typeface="Segoe UI Semibold" charset="0"/>
                <a:cs typeface="Segoe UI Semibold" charset="0"/>
              </a:rPr>
              <a:t>Top Targeting Scenarios</a:t>
            </a:r>
          </a:p>
          <a:p>
            <a:pPr lvl="1">
              <a:spcBef>
                <a:spcPts val="600"/>
              </a:spcBef>
            </a:pPr>
            <a:r>
              <a:rPr lang="en-US" sz="1600">
                <a:solidFill>
                  <a:srgbClr val="505050"/>
                </a:solidFill>
                <a:latin typeface="+mj-lt"/>
                <a:ea typeface="Segoe UI Semibold" charset="0"/>
                <a:cs typeface="Segoe UI Semibold" charset="0"/>
              </a:rPr>
              <a:t>Customers using App Services &amp; no Azure Search</a:t>
            </a:r>
          </a:p>
          <a:p>
            <a:pPr lvl="1">
              <a:spcBef>
                <a:spcPts val="600"/>
              </a:spcBef>
            </a:pPr>
            <a:r>
              <a:rPr lang="en-US" sz="1600">
                <a:solidFill>
                  <a:srgbClr val="505050"/>
                </a:solidFill>
                <a:latin typeface="+mj-lt"/>
                <a:ea typeface="Segoe UI Semibold" charset="0"/>
                <a:cs typeface="Segoe UI Semibold" charset="0"/>
              </a:rPr>
              <a:t>Current Azure Search or Cognitive Services Customers to add additional Search scenarios</a:t>
            </a:r>
          </a:p>
          <a:p>
            <a:pPr lvl="1">
              <a:spcBef>
                <a:spcPts val="600"/>
              </a:spcBef>
            </a:pPr>
            <a:r>
              <a:rPr lang="en-US" sz="1600">
                <a:solidFill>
                  <a:srgbClr val="505050"/>
                </a:solidFill>
                <a:latin typeface="+mj-lt"/>
                <a:ea typeface="Segoe UI Semibold" charset="0"/>
                <a:cs typeface="Segoe UI Semibold" charset="0"/>
              </a:rPr>
              <a:t>Customers with (Cosmos DB, Azure Data Lake, or Azure Blob Storage) and no Azure Search</a:t>
            </a:r>
          </a:p>
          <a:p>
            <a:pPr marL="336145" lvl="1" indent="0">
              <a:spcBef>
                <a:spcPts val="600"/>
              </a:spcBef>
              <a:buNone/>
            </a:pPr>
            <a:endParaRPr lang="en-US" sz="1600">
              <a:solidFill>
                <a:srgbClr val="0078D7"/>
              </a:solidFill>
              <a:latin typeface="Segoe UI Semibold" charset="0"/>
              <a:ea typeface="Segoe UI Semibold" charset="0"/>
              <a:cs typeface="Segoe UI Semibold" charset="0"/>
            </a:endParaRPr>
          </a:p>
          <a:p>
            <a:pPr marL="336145" lvl="1" indent="0">
              <a:spcBef>
                <a:spcPts val="600"/>
              </a:spcBef>
              <a:buNone/>
            </a:pPr>
            <a:r>
              <a:rPr lang="en-US" sz="1600">
                <a:solidFill>
                  <a:srgbClr val="0078D7"/>
                </a:solidFill>
                <a:latin typeface="Segoe UI Semibold" charset="0"/>
                <a:ea typeface="Segoe UI Semibold" charset="0"/>
                <a:cs typeface="Segoe UI Semibold" charset="0"/>
              </a:rPr>
              <a:t>Targeting Resources</a:t>
            </a:r>
          </a:p>
          <a:p>
            <a:pPr lvl="1">
              <a:spcBef>
                <a:spcPts val="600"/>
              </a:spcBef>
            </a:pPr>
            <a:r>
              <a:rPr lang="en-US" sz="1600">
                <a:latin typeface="Segoe UI Semilight" charset="0"/>
                <a:cs typeface="Segoe UI Semilight" charset="0"/>
                <a:hlinkClick r:id="rId3"/>
              </a:rPr>
              <a:t>Account Grid with AI Targeting</a:t>
            </a:r>
            <a:r>
              <a:rPr lang="en-US" sz="1600">
                <a:latin typeface="Segoe UI Semilight" charset="0"/>
                <a:cs typeface="Segoe UI Semilight" charset="0"/>
              </a:rPr>
              <a:t> </a:t>
            </a:r>
          </a:p>
          <a:p>
            <a:pPr lvl="1">
              <a:spcBef>
                <a:spcPts val="600"/>
              </a:spcBef>
            </a:pPr>
            <a:r>
              <a:rPr lang="en-US" sz="1600" err="1">
                <a:latin typeface="Segoe UI Semilight" charset="0"/>
                <a:cs typeface="Segoe UI Semilight" charset="0"/>
                <a:hlinkClick r:id="rId4"/>
              </a:rPr>
              <a:t>MegaMap</a:t>
            </a:r>
            <a:r>
              <a:rPr lang="en-US" sz="1600">
                <a:latin typeface="Segoe UI Semilight" charset="0"/>
                <a:cs typeface="Segoe UI Semilight" charset="0"/>
                <a:hlinkClick r:id="rId4"/>
              </a:rPr>
              <a:t> for AI</a:t>
            </a:r>
            <a:endParaRPr lang="en-US" sz="1600">
              <a:latin typeface="Segoe UI Semilight" charset="0"/>
              <a:cs typeface="Segoe UI Semilight" charset="0"/>
            </a:endParaRPr>
          </a:p>
        </p:txBody>
      </p:sp>
      <p:sp>
        <p:nvSpPr>
          <p:cNvPr id="3" name="Title 2">
            <a:extLst>
              <a:ext uri="{FF2B5EF4-FFF2-40B4-BE49-F238E27FC236}">
                <a16:creationId xmlns:a16="http://schemas.microsoft.com/office/drawing/2014/main" id="{F2EEB5CD-50E6-487F-BBF7-A83170A60906}"/>
              </a:ext>
            </a:extLst>
          </p:cNvPr>
          <p:cNvSpPr>
            <a:spLocks noGrp="1"/>
          </p:cNvSpPr>
          <p:nvPr>
            <p:ph type="title"/>
          </p:nvPr>
        </p:nvSpPr>
        <p:spPr>
          <a:xfrm>
            <a:off x="231360" y="569634"/>
            <a:ext cx="11655840" cy="1105126"/>
          </a:xfrm>
        </p:spPr>
        <p:txBody>
          <a:bodyPr/>
          <a:lstStyle/>
          <a:p>
            <a:r>
              <a:rPr lang="en-US" sz="4400" b="1">
                <a:solidFill>
                  <a:schemeClr val="tx1"/>
                </a:solidFill>
              </a:rPr>
              <a:t>Research and Targeting</a:t>
            </a:r>
          </a:p>
        </p:txBody>
      </p:sp>
      <p:sp>
        <p:nvSpPr>
          <p:cNvPr id="6" name="Rectangle 5">
            <a:extLst>
              <a:ext uri="{FF2B5EF4-FFF2-40B4-BE49-F238E27FC236}">
                <a16:creationId xmlns:a16="http://schemas.microsoft.com/office/drawing/2014/main" id="{3E2B1880-FE14-4A01-9161-FE2E5690ECDD}"/>
              </a:ext>
            </a:extLst>
          </p:cNvPr>
          <p:cNvSpPr/>
          <p:nvPr/>
        </p:nvSpPr>
        <p:spPr>
          <a:xfrm>
            <a:off x="7543077" y="1699927"/>
            <a:ext cx="251908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Five key target personas</a:t>
            </a:r>
          </a:p>
        </p:txBody>
      </p:sp>
      <p:grpSp>
        <p:nvGrpSpPr>
          <p:cNvPr id="7" name="Group 6">
            <a:extLst>
              <a:ext uri="{FF2B5EF4-FFF2-40B4-BE49-F238E27FC236}">
                <a16:creationId xmlns:a16="http://schemas.microsoft.com/office/drawing/2014/main" id="{966986C6-C168-4CB1-B5E9-75EC6F5C8F41}"/>
              </a:ext>
            </a:extLst>
          </p:cNvPr>
          <p:cNvGrpSpPr/>
          <p:nvPr/>
        </p:nvGrpSpPr>
        <p:grpSpPr>
          <a:xfrm>
            <a:off x="5961626" y="2187927"/>
            <a:ext cx="485756" cy="542738"/>
            <a:chOff x="709535" y="3658062"/>
            <a:chExt cx="1430415" cy="1598221"/>
          </a:xfrm>
        </p:grpSpPr>
        <p:sp>
          <p:nvSpPr>
            <p:cNvPr id="8" name="Freeform 5">
              <a:extLst>
                <a:ext uri="{FF2B5EF4-FFF2-40B4-BE49-F238E27FC236}">
                  <a16:creationId xmlns:a16="http://schemas.microsoft.com/office/drawing/2014/main" id="{4A6326CC-D657-4E54-B69A-DB9903D8A5DF}"/>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Trapezoid 22">
              <a:extLst>
                <a:ext uri="{FF2B5EF4-FFF2-40B4-BE49-F238E27FC236}">
                  <a16:creationId xmlns:a16="http://schemas.microsoft.com/office/drawing/2014/main" id="{583C3FF7-A3BD-4D85-B938-42ECD43A4192}"/>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0" name="Trapezoid 9">
              <a:extLst>
                <a:ext uri="{FF2B5EF4-FFF2-40B4-BE49-F238E27FC236}">
                  <a16:creationId xmlns:a16="http://schemas.microsoft.com/office/drawing/2014/main" id="{91D5CB77-3E9E-4D30-92E7-902504316FB3}"/>
                </a:ext>
              </a:extLst>
            </p:cNvPr>
            <p:cNvSpPr/>
            <p:nvPr/>
          </p:nvSpPr>
          <p:spPr bwMode="auto">
            <a:xfrm>
              <a:off x="1304538" y="4754251"/>
              <a:ext cx="240408" cy="498694"/>
            </a:xfrm>
            <a:prstGeom prst="trapezoid">
              <a:avLst>
                <a:gd name="adj" fmla="val 31603"/>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966986C6-C168-4CB1-B5E9-75EC6F5C8F41}"/>
              </a:ext>
            </a:extLst>
          </p:cNvPr>
          <p:cNvGrpSpPr/>
          <p:nvPr/>
        </p:nvGrpSpPr>
        <p:grpSpPr>
          <a:xfrm>
            <a:off x="5961626" y="3080979"/>
            <a:ext cx="485756" cy="542738"/>
            <a:chOff x="709535" y="3658062"/>
            <a:chExt cx="1430415" cy="1598221"/>
          </a:xfrm>
        </p:grpSpPr>
        <p:sp>
          <p:nvSpPr>
            <p:cNvPr id="12" name="Freeform 5">
              <a:extLst>
                <a:ext uri="{FF2B5EF4-FFF2-40B4-BE49-F238E27FC236}">
                  <a16:creationId xmlns:a16="http://schemas.microsoft.com/office/drawing/2014/main" id="{4A6326CC-D657-4E54-B69A-DB9903D8A5DF}"/>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Trapezoid 22">
              <a:extLst>
                <a:ext uri="{FF2B5EF4-FFF2-40B4-BE49-F238E27FC236}">
                  <a16:creationId xmlns:a16="http://schemas.microsoft.com/office/drawing/2014/main" id="{583C3FF7-A3BD-4D85-B938-42ECD43A4192}"/>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4" name="Trapezoid 13">
              <a:extLst>
                <a:ext uri="{FF2B5EF4-FFF2-40B4-BE49-F238E27FC236}">
                  <a16:creationId xmlns:a16="http://schemas.microsoft.com/office/drawing/2014/main" id="{91D5CB77-3E9E-4D30-92E7-902504316FB3}"/>
                </a:ext>
              </a:extLst>
            </p:cNvPr>
            <p:cNvSpPr/>
            <p:nvPr/>
          </p:nvSpPr>
          <p:spPr bwMode="auto">
            <a:xfrm>
              <a:off x="1304538" y="4754251"/>
              <a:ext cx="240408" cy="498694"/>
            </a:xfrm>
            <a:prstGeom prst="trapezoid">
              <a:avLst>
                <a:gd name="adj" fmla="val 31603"/>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grpSp>
      <p:grpSp>
        <p:nvGrpSpPr>
          <p:cNvPr id="15" name="Group 14"/>
          <p:cNvGrpSpPr/>
          <p:nvPr/>
        </p:nvGrpSpPr>
        <p:grpSpPr>
          <a:xfrm>
            <a:off x="5950523" y="4830702"/>
            <a:ext cx="460736" cy="514785"/>
            <a:chOff x="7740581" y="2070100"/>
            <a:chExt cx="932470" cy="1041856"/>
          </a:xfrm>
        </p:grpSpPr>
        <p:sp>
          <p:nvSpPr>
            <p:cNvPr id="16" name="Freeform 5">
              <a:extLst>
                <a:ext uri="{FF2B5EF4-FFF2-40B4-BE49-F238E27FC236}">
                  <a16:creationId xmlns:a16="http://schemas.microsoft.com/office/drawing/2014/main" id="{4A6326CC-D657-4E54-B69A-DB9903D8A5DF}"/>
                </a:ext>
              </a:extLst>
            </p:cNvPr>
            <p:cNvSpPr>
              <a:spLocks noEditPoints="1"/>
            </p:cNvSpPr>
            <p:nvPr/>
          </p:nvSpPr>
          <p:spPr bwMode="auto">
            <a:xfrm>
              <a:off x="7740581" y="2070100"/>
              <a:ext cx="932470" cy="10418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 name="Rounded Rectangle 16"/>
            <p:cNvSpPr/>
            <p:nvPr/>
          </p:nvSpPr>
          <p:spPr bwMode="auto">
            <a:xfrm>
              <a:off x="8018955" y="2287264"/>
              <a:ext cx="165391" cy="115513"/>
            </a:xfrm>
            <a:prstGeom prst="roundRect">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8" name="Rounded Rectangle 17"/>
            <p:cNvSpPr/>
            <p:nvPr/>
          </p:nvSpPr>
          <p:spPr bwMode="auto">
            <a:xfrm>
              <a:off x="8235162" y="2287264"/>
              <a:ext cx="165391" cy="115513"/>
            </a:xfrm>
            <a:prstGeom prst="roundRect">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9" name="Freeform 18"/>
            <p:cNvSpPr/>
            <p:nvPr/>
          </p:nvSpPr>
          <p:spPr bwMode="auto">
            <a:xfrm>
              <a:off x="7939710" y="2266667"/>
              <a:ext cx="540773" cy="18357"/>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cxnSp>
          <p:nvCxnSpPr>
            <p:cNvPr id="20" name="Straight Connector 19"/>
            <p:cNvCxnSpPr/>
            <p:nvPr/>
          </p:nvCxnSpPr>
          <p:spPr>
            <a:xfrm>
              <a:off x="8351646" y="2875453"/>
              <a:ext cx="0" cy="6350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96096" y="2875453"/>
              <a:ext cx="0" cy="6350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437371" y="2859578"/>
              <a:ext cx="0" cy="79375"/>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Pentagon 22"/>
            <p:cNvSpPr/>
            <p:nvPr/>
          </p:nvSpPr>
          <p:spPr bwMode="auto">
            <a:xfrm rot="5400000">
              <a:off x="8325886" y="2937607"/>
              <a:ext cx="144750" cy="137230"/>
            </a:xfrm>
            <a:prstGeom prst="homePlate">
              <a:avLst>
                <a:gd name="adj" fmla="val 19862"/>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grpSp>
      <p:grpSp>
        <p:nvGrpSpPr>
          <p:cNvPr id="24" name="Group 23"/>
          <p:cNvGrpSpPr/>
          <p:nvPr/>
        </p:nvGrpSpPr>
        <p:grpSpPr>
          <a:xfrm>
            <a:off x="5961626" y="3969817"/>
            <a:ext cx="460736" cy="514785"/>
            <a:chOff x="4120031" y="1997978"/>
            <a:chExt cx="1061570" cy="1186100"/>
          </a:xfrm>
        </p:grpSpPr>
        <p:sp>
          <p:nvSpPr>
            <p:cNvPr id="25" name="Freeform 5">
              <a:extLst>
                <a:ext uri="{FF2B5EF4-FFF2-40B4-BE49-F238E27FC236}">
                  <a16:creationId xmlns:a16="http://schemas.microsoft.com/office/drawing/2014/main" id="{4A6326CC-D657-4E54-B69A-DB9903D8A5DF}"/>
                </a:ext>
              </a:extLst>
            </p:cNvPr>
            <p:cNvSpPr>
              <a:spLocks noEditPoints="1"/>
            </p:cNvSpPr>
            <p:nvPr/>
          </p:nvSpPr>
          <p:spPr bwMode="auto">
            <a:xfrm>
              <a:off x="4120031" y="1997978"/>
              <a:ext cx="1061570" cy="118610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 name="Trapezoid 22">
              <a:extLst>
                <a:ext uri="{FF2B5EF4-FFF2-40B4-BE49-F238E27FC236}">
                  <a16:creationId xmlns:a16="http://schemas.microsoft.com/office/drawing/2014/main" id="{583C3FF7-A3BD-4D85-B938-42ECD43A4192}"/>
                </a:ext>
              </a:extLst>
            </p:cNvPr>
            <p:cNvSpPr/>
            <p:nvPr/>
          </p:nvSpPr>
          <p:spPr bwMode="auto">
            <a:xfrm rot="10800000">
              <a:off x="4559487" y="2666820"/>
              <a:ext cx="182658" cy="143682"/>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7" name="Trapezoid 26">
              <a:extLst>
                <a:ext uri="{FF2B5EF4-FFF2-40B4-BE49-F238E27FC236}">
                  <a16:creationId xmlns:a16="http://schemas.microsoft.com/office/drawing/2014/main" id="{91D5CB77-3E9E-4D30-92E7-902504316FB3}"/>
                </a:ext>
              </a:extLst>
            </p:cNvPr>
            <p:cNvSpPr/>
            <p:nvPr/>
          </p:nvSpPr>
          <p:spPr bwMode="auto">
            <a:xfrm>
              <a:off x="4561608" y="2811501"/>
              <a:ext cx="178417" cy="370100"/>
            </a:xfrm>
            <a:prstGeom prst="trapezoid">
              <a:avLst>
                <a:gd name="adj" fmla="val 31603"/>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8" name="Rounded Rectangle 27"/>
            <p:cNvSpPr/>
            <p:nvPr/>
          </p:nvSpPr>
          <p:spPr bwMode="auto">
            <a:xfrm>
              <a:off x="4436945" y="2245208"/>
              <a:ext cx="188290" cy="131506"/>
            </a:xfrm>
            <a:prstGeom prst="roundRect">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29" name="Rounded Rectangle 28"/>
            <p:cNvSpPr/>
            <p:nvPr/>
          </p:nvSpPr>
          <p:spPr bwMode="auto">
            <a:xfrm>
              <a:off x="4683086" y="2245208"/>
              <a:ext cx="188290" cy="131506"/>
            </a:xfrm>
            <a:prstGeom prst="roundRect">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30" name="Freeform 29"/>
            <p:cNvSpPr/>
            <p:nvPr/>
          </p:nvSpPr>
          <p:spPr bwMode="auto">
            <a:xfrm>
              <a:off x="4346729" y="2221759"/>
              <a:ext cx="615643" cy="20899"/>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grpSp>
        <p:nvGrpSpPr>
          <p:cNvPr id="31" name="Group 30"/>
          <p:cNvGrpSpPr/>
          <p:nvPr/>
        </p:nvGrpSpPr>
        <p:grpSpPr>
          <a:xfrm>
            <a:off x="5961626" y="5691108"/>
            <a:ext cx="460736" cy="514785"/>
            <a:chOff x="7740581" y="2070100"/>
            <a:chExt cx="932470" cy="1041856"/>
          </a:xfrm>
        </p:grpSpPr>
        <p:sp>
          <p:nvSpPr>
            <p:cNvPr id="32" name="Freeform 5">
              <a:extLst>
                <a:ext uri="{FF2B5EF4-FFF2-40B4-BE49-F238E27FC236}">
                  <a16:creationId xmlns:a16="http://schemas.microsoft.com/office/drawing/2014/main" id="{4A6326CC-D657-4E54-B69A-DB9903D8A5DF}"/>
                </a:ext>
              </a:extLst>
            </p:cNvPr>
            <p:cNvSpPr>
              <a:spLocks noEditPoints="1"/>
            </p:cNvSpPr>
            <p:nvPr/>
          </p:nvSpPr>
          <p:spPr bwMode="auto">
            <a:xfrm>
              <a:off x="7740581" y="2070100"/>
              <a:ext cx="932470" cy="10418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cxnSp>
          <p:nvCxnSpPr>
            <p:cNvPr id="36" name="Straight Connector 35"/>
            <p:cNvCxnSpPr/>
            <p:nvPr/>
          </p:nvCxnSpPr>
          <p:spPr>
            <a:xfrm>
              <a:off x="8351646" y="2875453"/>
              <a:ext cx="0" cy="6350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8396096" y="2875453"/>
              <a:ext cx="0" cy="6350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8437371" y="2859578"/>
              <a:ext cx="0" cy="79375"/>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Pentagon 38"/>
            <p:cNvSpPr/>
            <p:nvPr/>
          </p:nvSpPr>
          <p:spPr bwMode="auto">
            <a:xfrm rot="5400000">
              <a:off x="8325886" y="2937607"/>
              <a:ext cx="144750" cy="137230"/>
            </a:xfrm>
            <a:prstGeom prst="homePlate">
              <a:avLst>
                <a:gd name="adj" fmla="val 19862"/>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grpSp>
      <p:sp>
        <p:nvSpPr>
          <p:cNvPr id="41" name="Freeform: Shape 101"/>
          <p:cNvSpPr/>
          <p:nvPr/>
        </p:nvSpPr>
        <p:spPr>
          <a:xfrm>
            <a:off x="8720961" y="2332921"/>
            <a:ext cx="163319" cy="322109"/>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3E2B1880-FE14-4A01-9161-FE2E5690ECDD}"/>
              </a:ext>
            </a:extLst>
          </p:cNvPr>
          <p:cNvSpPr/>
          <p:nvPr/>
        </p:nvSpPr>
        <p:spPr>
          <a:xfrm>
            <a:off x="6648469" y="2355477"/>
            <a:ext cx="50366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CDO</a:t>
            </a:r>
          </a:p>
        </p:txBody>
      </p:sp>
      <p:sp>
        <p:nvSpPr>
          <p:cNvPr id="43" name="Rectangle 42">
            <a:extLst>
              <a:ext uri="{FF2B5EF4-FFF2-40B4-BE49-F238E27FC236}">
                <a16:creationId xmlns:a16="http://schemas.microsoft.com/office/drawing/2014/main" id="{3E2B1880-FE14-4A01-9161-FE2E5690ECDD}"/>
              </a:ext>
            </a:extLst>
          </p:cNvPr>
          <p:cNvSpPr/>
          <p:nvPr/>
        </p:nvSpPr>
        <p:spPr>
          <a:xfrm>
            <a:off x="6648469" y="3235222"/>
            <a:ext cx="1618969"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CTO / VP Engineering</a:t>
            </a:r>
          </a:p>
        </p:txBody>
      </p:sp>
      <p:sp>
        <p:nvSpPr>
          <p:cNvPr id="45" name="Rectangle 44">
            <a:extLst>
              <a:ext uri="{FF2B5EF4-FFF2-40B4-BE49-F238E27FC236}">
                <a16:creationId xmlns:a16="http://schemas.microsoft.com/office/drawing/2014/main" id="{3E2B1880-FE14-4A01-9161-FE2E5690ECDD}"/>
              </a:ext>
            </a:extLst>
          </p:cNvPr>
          <p:cNvSpPr/>
          <p:nvPr/>
        </p:nvSpPr>
        <p:spPr>
          <a:xfrm>
            <a:off x="6648469" y="4115838"/>
            <a:ext cx="1158459"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VP of Analytics</a:t>
            </a:r>
          </a:p>
        </p:txBody>
      </p:sp>
      <p:sp>
        <p:nvSpPr>
          <p:cNvPr id="46" name="Rectangle 45">
            <a:extLst>
              <a:ext uri="{FF2B5EF4-FFF2-40B4-BE49-F238E27FC236}">
                <a16:creationId xmlns:a16="http://schemas.microsoft.com/office/drawing/2014/main" id="{3E2B1880-FE14-4A01-9161-FE2E5690ECDD}"/>
              </a:ext>
            </a:extLst>
          </p:cNvPr>
          <p:cNvSpPr/>
          <p:nvPr/>
        </p:nvSpPr>
        <p:spPr>
          <a:xfrm>
            <a:off x="6649408" y="4947765"/>
            <a:ext cx="111755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Data Architect</a:t>
            </a:r>
          </a:p>
        </p:txBody>
      </p:sp>
      <p:sp>
        <p:nvSpPr>
          <p:cNvPr id="47" name="Rectangle 46">
            <a:extLst>
              <a:ext uri="{FF2B5EF4-FFF2-40B4-BE49-F238E27FC236}">
                <a16:creationId xmlns:a16="http://schemas.microsoft.com/office/drawing/2014/main" id="{3E2B1880-FE14-4A01-9161-FE2E5690ECDD}"/>
              </a:ext>
            </a:extLst>
          </p:cNvPr>
          <p:cNvSpPr/>
          <p:nvPr/>
        </p:nvSpPr>
        <p:spPr>
          <a:xfrm>
            <a:off x="6648469" y="5780667"/>
            <a:ext cx="8602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Developer</a:t>
            </a:r>
          </a:p>
        </p:txBody>
      </p:sp>
      <p:cxnSp>
        <p:nvCxnSpPr>
          <p:cNvPr id="48" name="Straight Connector 47"/>
          <p:cNvCxnSpPr/>
          <p:nvPr/>
        </p:nvCxnSpPr>
        <p:spPr>
          <a:xfrm>
            <a:off x="5785233" y="2906731"/>
            <a:ext cx="5532581"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785232" y="3834986"/>
            <a:ext cx="5532581"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785232" y="4680114"/>
            <a:ext cx="5532581"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769069" y="5543714"/>
            <a:ext cx="5532581"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Freeform: Shape 101"/>
          <p:cNvSpPr/>
          <p:nvPr/>
        </p:nvSpPr>
        <p:spPr>
          <a:xfrm>
            <a:off x="8720960" y="3215697"/>
            <a:ext cx="163319" cy="322109"/>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Shape 101"/>
          <p:cNvSpPr/>
          <p:nvPr/>
        </p:nvSpPr>
        <p:spPr>
          <a:xfrm>
            <a:off x="8720959" y="4087589"/>
            <a:ext cx="163319" cy="322109"/>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101"/>
          <p:cNvSpPr/>
          <p:nvPr/>
        </p:nvSpPr>
        <p:spPr>
          <a:xfrm>
            <a:off x="8720958" y="4941122"/>
            <a:ext cx="163319" cy="322109"/>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101"/>
          <p:cNvSpPr/>
          <p:nvPr/>
        </p:nvSpPr>
        <p:spPr>
          <a:xfrm>
            <a:off x="8720957" y="5750114"/>
            <a:ext cx="163319" cy="322109"/>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3E2B1880-FE14-4A01-9161-FE2E5690ECDD}"/>
              </a:ext>
            </a:extLst>
          </p:cNvPr>
          <p:cNvSpPr/>
          <p:nvPr/>
        </p:nvSpPr>
        <p:spPr>
          <a:xfrm>
            <a:off x="9343116" y="2355477"/>
            <a:ext cx="182986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Defines big data strategy</a:t>
            </a:r>
          </a:p>
        </p:txBody>
      </p:sp>
      <p:sp>
        <p:nvSpPr>
          <p:cNvPr id="57" name="Rectangle 56">
            <a:extLst>
              <a:ext uri="{FF2B5EF4-FFF2-40B4-BE49-F238E27FC236}">
                <a16:creationId xmlns:a16="http://schemas.microsoft.com/office/drawing/2014/main" id="{3E2B1880-FE14-4A01-9161-FE2E5690ECDD}"/>
              </a:ext>
            </a:extLst>
          </p:cNvPr>
          <p:cNvSpPr/>
          <p:nvPr/>
        </p:nvSpPr>
        <p:spPr>
          <a:xfrm>
            <a:off x="9343116" y="3235222"/>
            <a:ext cx="2055243"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Oversees tech. development</a:t>
            </a:r>
          </a:p>
        </p:txBody>
      </p:sp>
      <p:sp>
        <p:nvSpPr>
          <p:cNvPr id="58" name="Rectangle 57">
            <a:extLst>
              <a:ext uri="{FF2B5EF4-FFF2-40B4-BE49-F238E27FC236}">
                <a16:creationId xmlns:a16="http://schemas.microsoft.com/office/drawing/2014/main" id="{3E2B1880-FE14-4A01-9161-FE2E5690ECDD}"/>
              </a:ext>
            </a:extLst>
          </p:cNvPr>
          <p:cNvSpPr/>
          <p:nvPr/>
        </p:nvSpPr>
        <p:spPr>
          <a:xfrm>
            <a:off x="9343116" y="3989647"/>
            <a:ext cx="2362625" cy="46166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Oversee delivery of data science and analytics</a:t>
            </a:r>
          </a:p>
        </p:txBody>
      </p:sp>
      <p:sp>
        <p:nvSpPr>
          <p:cNvPr id="59" name="Rectangle 58">
            <a:extLst>
              <a:ext uri="{FF2B5EF4-FFF2-40B4-BE49-F238E27FC236}">
                <a16:creationId xmlns:a16="http://schemas.microsoft.com/office/drawing/2014/main" id="{3E2B1880-FE14-4A01-9161-FE2E5690ECDD}"/>
              </a:ext>
            </a:extLst>
          </p:cNvPr>
          <p:cNvSpPr/>
          <p:nvPr/>
        </p:nvSpPr>
        <p:spPr>
          <a:xfrm>
            <a:off x="9344056" y="4855405"/>
            <a:ext cx="2054304" cy="46166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Data exploration and analysis at scale</a:t>
            </a:r>
          </a:p>
        </p:txBody>
      </p:sp>
      <p:sp>
        <p:nvSpPr>
          <p:cNvPr id="60" name="Rectangle 59">
            <a:extLst>
              <a:ext uri="{FF2B5EF4-FFF2-40B4-BE49-F238E27FC236}">
                <a16:creationId xmlns:a16="http://schemas.microsoft.com/office/drawing/2014/main" id="{3E2B1880-FE14-4A01-9161-FE2E5690ECDD}"/>
              </a:ext>
            </a:extLst>
          </p:cNvPr>
          <p:cNvSpPr/>
          <p:nvPr/>
        </p:nvSpPr>
        <p:spPr>
          <a:xfrm>
            <a:off x="9343116" y="5780667"/>
            <a:ext cx="212795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charset="0"/>
                <a:ea typeface="Segoe UI Semilight" charset="0"/>
                <a:cs typeface="Segoe UI Semilight" charset="0"/>
              </a:rPr>
              <a:t>Data prep and infrastructure</a:t>
            </a:r>
          </a:p>
        </p:txBody>
      </p:sp>
      <p:cxnSp>
        <p:nvCxnSpPr>
          <p:cNvPr id="62" name="Straight Connector 61"/>
          <p:cNvCxnSpPr/>
          <p:nvPr/>
        </p:nvCxnSpPr>
        <p:spPr>
          <a:xfrm>
            <a:off x="6296388" y="3508961"/>
            <a:ext cx="0" cy="31376"/>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318351" y="3508961"/>
            <a:ext cx="0" cy="31376"/>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338745" y="3501117"/>
            <a:ext cx="0" cy="39219"/>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Pentagon 64"/>
          <p:cNvSpPr/>
          <p:nvPr/>
        </p:nvSpPr>
        <p:spPr bwMode="auto">
          <a:xfrm rot="5400000">
            <a:off x="6283660" y="3539672"/>
            <a:ext cx="71522" cy="67806"/>
          </a:xfrm>
          <a:prstGeom prst="homePlate">
            <a:avLst>
              <a:gd name="adj" fmla="val 19862"/>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51D9EF39-56AD-461E-A555-EA72CCC0D26B}"/>
              </a:ext>
            </a:extLst>
          </p:cNvPr>
          <p:cNvSpPr/>
          <p:nvPr/>
        </p:nvSpPr>
        <p:spPr>
          <a:xfrm>
            <a:off x="8760174" y="6542706"/>
            <a:ext cx="3355406" cy="246221"/>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a:ln>
                  <a:noFill/>
                </a:ln>
                <a:solidFill>
                  <a:srgbClr val="FFFFFF">
                    <a:lumMod val="65000"/>
                  </a:srgbClr>
                </a:solidFill>
                <a:effectLst/>
                <a:uLnTx/>
                <a:uFillTx/>
                <a:latin typeface="Segoe UI"/>
                <a:ea typeface="+mn-ea"/>
                <a:cs typeface="+mn-cs"/>
              </a:rPr>
              <a:t>Microsoft Confidential – For Internal Use Only</a:t>
            </a:r>
          </a:p>
        </p:txBody>
      </p:sp>
      <p:sp>
        <p:nvSpPr>
          <p:cNvPr id="70" name="Text Placeholder 1">
            <a:extLst>
              <a:ext uri="{FF2B5EF4-FFF2-40B4-BE49-F238E27FC236}">
                <a16:creationId xmlns:a16="http://schemas.microsoft.com/office/drawing/2014/main" id="{6C1717E9-881F-4173-A4A9-20BB72EC0EB0}"/>
              </a:ext>
            </a:extLst>
          </p:cNvPr>
          <p:cNvSpPr txBox="1">
            <a:spLocks/>
          </p:cNvSpPr>
          <p:nvPr/>
        </p:nvSpPr>
        <p:spPr>
          <a:xfrm>
            <a:off x="-1" y="4890889"/>
            <a:ext cx="5240897" cy="1600438"/>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1" indent="0" algn="l" defTabSz="914367" rtl="0" eaLnBrk="1" fontAlgn="auto" latinLnBrk="0" hangingPunct="1">
              <a:lnSpc>
                <a:spcPct val="90000"/>
              </a:lnSpc>
              <a:spcBef>
                <a:spcPts val="6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Find out the role of your customer contact: </a:t>
            </a:r>
          </a:p>
          <a:p>
            <a:pPr marL="572691" marR="0" lvl="1" indent="-236546" algn="l" defTabSz="914367" rtl="0" eaLnBrk="1" fontAlgn="auto" latinLnBrk="0" hangingPunct="1">
              <a:lnSpc>
                <a:spcPct val="90000"/>
              </a:lnSpc>
              <a:spcBef>
                <a:spcPts val="600"/>
              </a:spcBef>
              <a:spcAft>
                <a:spcPts val="0"/>
              </a:spcAft>
              <a:buClrTx/>
              <a:buSzPct val="90000"/>
              <a:buFont typeface="Arial" pitchFamily="34" charset="0"/>
              <a:buChar char="•"/>
              <a:tabLst/>
              <a:defRPr/>
            </a:pPr>
            <a:r>
              <a:rPr kumimoji="0" lang="en-US" sz="1600" b="0" i="0" u="none" strike="noStrike" kern="1200" cap="none" spc="0" normalizeH="0" baseline="0" noProof="0">
                <a:ln>
                  <a:noFill/>
                </a:ln>
                <a:solidFill>
                  <a:srgbClr val="505050"/>
                </a:solidFill>
                <a:effectLst/>
                <a:uLnTx/>
                <a:uFillTx/>
                <a:latin typeface="+mj-lt"/>
                <a:ea typeface="Segoe UI Semilight" charset="0"/>
                <a:cs typeface="Segoe UI Semilight" charset="0"/>
              </a:rPr>
              <a:t>Leverage LinkedIn Sales Navigator</a:t>
            </a:r>
          </a:p>
          <a:p>
            <a:pPr marL="572691" marR="0" lvl="1" indent="-236546" algn="l" defTabSz="914367" rtl="0" eaLnBrk="1" fontAlgn="auto" latinLnBrk="0" hangingPunct="1">
              <a:lnSpc>
                <a:spcPct val="90000"/>
              </a:lnSpc>
              <a:spcBef>
                <a:spcPts val="600"/>
              </a:spcBef>
              <a:spcAft>
                <a:spcPts val="0"/>
              </a:spcAft>
              <a:buClrTx/>
              <a:buSzPct val="90000"/>
              <a:buFont typeface="Arial" pitchFamily="34" charset="0"/>
              <a:buChar char="•"/>
              <a:tabLst/>
              <a:defRPr/>
            </a:pPr>
            <a:r>
              <a:rPr kumimoji="0" lang="en-US" sz="1600" b="0" i="0" u="none" strike="noStrike" kern="1200" cap="none" spc="0" normalizeH="0" baseline="0" noProof="0">
                <a:ln>
                  <a:noFill/>
                </a:ln>
                <a:solidFill>
                  <a:srgbClr val="505050"/>
                </a:solidFill>
                <a:effectLst/>
                <a:uLnTx/>
                <a:uFillTx/>
                <a:latin typeface="+mj-lt"/>
                <a:ea typeface="Segoe UI Semilight" charset="0"/>
                <a:cs typeface="Segoe UI Semilight" charset="0"/>
              </a:rPr>
              <a:t>Identify your connection to your customer</a:t>
            </a:r>
          </a:p>
          <a:p>
            <a:pPr marL="572691" marR="0" lvl="1" indent="-236546" algn="l" defTabSz="914367" rtl="0" eaLnBrk="1" fontAlgn="auto" latinLnBrk="0" hangingPunct="1">
              <a:lnSpc>
                <a:spcPct val="90000"/>
              </a:lnSpc>
              <a:spcBef>
                <a:spcPts val="600"/>
              </a:spcBef>
              <a:spcAft>
                <a:spcPts val="0"/>
              </a:spcAft>
              <a:buClrTx/>
              <a:buSzPct val="90000"/>
              <a:buFont typeface="Arial" pitchFamily="34" charset="0"/>
              <a:buChar char="•"/>
              <a:tabLst/>
              <a:defRPr/>
            </a:pPr>
            <a:r>
              <a:rPr kumimoji="0" lang="en-US" sz="1600" b="0" i="0" u="none" strike="noStrike" kern="1200" cap="none" spc="0" normalizeH="0" baseline="0" noProof="0">
                <a:ln>
                  <a:noFill/>
                </a:ln>
                <a:solidFill>
                  <a:srgbClr val="505050"/>
                </a:solidFill>
                <a:effectLst/>
                <a:uLnTx/>
                <a:uFillTx/>
                <a:latin typeface="+mj-lt"/>
                <a:ea typeface="Segoe UI Semilight" charset="0"/>
                <a:cs typeface="Segoe UI Semilight" charset="0"/>
              </a:rPr>
              <a:t>Review customer title and map to target personas </a:t>
            </a:r>
            <a:endParaRPr kumimoji="0" lang="en-US" sz="1600" b="0" i="0" u="none" strike="noStrike" kern="1200" cap="none" spc="0" normalizeH="0" baseline="0" noProof="0">
              <a:ln>
                <a:noFill/>
              </a:ln>
              <a:solidFill>
                <a:srgbClr val="505050"/>
              </a:solidFill>
              <a:effectLst/>
              <a:uLnTx/>
              <a:uFillTx/>
              <a:latin typeface="+mj-lt"/>
            </a:endParaRPr>
          </a:p>
          <a:p>
            <a:pPr marL="0" marR="0" lvl="0" indent="0" algn="l" defTabSz="914367" rtl="0" eaLnBrk="1" fontAlgn="auto" latinLnBrk="0" hangingPunct="1">
              <a:lnSpc>
                <a:spcPct val="90000"/>
              </a:lnSpc>
              <a:spcBef>
                <a:spcPts val="600"/>
              </a:spcBef>
              <a:spcAft>
                <a:spcPts val="0"/>
              </a:spcAft>
              <a:buClrTx/>
              <a:buSzPct val="90000"/>
              <a:buFont typeface="Arial" pitchFamily="34" charset="0"/>
              <a:buNone/>
              <a:tabLst/>
              <a:defRPr/>
            </a:pPr>
            <a:endParaRPr kumimoji="0" lang="en-US" sz="1600" b="0" i="0" u="none" strike="noStrike" kern="1200" cap="none" spc="0" normalizeH="0" baseline="0" noProof="0">
              <a:ln>
                <a:noFill/>
              </a:ln>
              <a:solidFill>
                <a:srgbClr val="002050"/>
              </a:solidFill>
              <a:effectLst/>
              <a:uLnTx/>
              <a:uFillTx/>
              <a:latin typeface="Segoe UI Light"/>
              <a:ea typeface="+mn-ea"/>
              <a:cs typeface="+mn-cs"/>
            </a:endParaRPr>
          </a:p>
        </p:txBody>
      </p:sp>
    </p:spTree>
    <p:extLst>
      <p:ext uri="{BB962C8B-B14F-4D97-AF65-F5344CB8AC3E}">
        <p14:creationId xmlns:p14="http://schemas.microsoft.com/office/powerpoint/2010/main" val="40997213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F04924-D1DA-44BC-9F55-A5A95DDC31BC}"/>
              </a:ext>
            </a:extLst>
          </p:cNvPr>
          <p:cNvSpPr txBox="1"/>
          <p:nvPr/>
        </p:nvSpPr>
        <p:spPr>
          <a:xfrm>
            <a:off x="1022168" y="1560115"/>
            <a:ext cx="1828800" cy="3139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evelopers</a:t>
            </a:r>
          </a:p>
        </p:txBody>
      </p:sp>
      <p:sp>
        <p:nvSpPr>
          <p:cNvPr id="33" name="TextBox 32">
            <a:extLst>
              <a:ext uri="{FF2B5EF4-FFF2-40B4-BE49-F238E27FC236}">
                <a16:creationId xmlns:a16="http://schemas.microsoft.com/office/drawing/2014/main" id="{2B42880C-683F-4D4E-8385-C30C6E6FF65A}"/>
              </a:ext>
            </a:extLst>
          </p:cNvPr>
          <p:cNvSpPr txBox="1"/>
          <p:nvPr/>
        </p:nvSpPr>
        <p:spPr>
          <a:xfrm>
            <a:off x="8425759" y="1581476"/>
            <a:ext cx="1828800" cy="3139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BDMs</a:t>
            </a:r>
          </a:p>
        </p:txBody>
      </p:sp>
      <p:sp>
        <p:nvSpPr>
          <p:cNvPr id="34" name="TextBox 33">
            <a:extLst>
              <a:ext uri="{FF2B5EF4-FFF2-40B4-BE49-F238E27FC236}">
                <a16:creationId xmlns:a16="http://schemas.microsoft.com/office/drawing/2014/main" id="{A7F513B3-A26F-451E-B1A5-969CB9812454}"/>
              </a:ext>
            </a:extLst>
          </p:cNvPr>
          <p:cNvSpPr txBox="1"/>
          <p:nvPr/>
        </p:nvSpPr>
        <p:spPr>
          <a:xfrm>
            <a:off x="4793939" y="1575184"/>
            <a:ext cx="2294201" cy="3139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600">
                <a:solidFill>
                  <a:srgbClr val="0078D4"/>
                </a:solidFill>
                <a:latin typeface="Segoe UI Semibold"/>
              </a:rPr>
              <a:t>Solution</a:t>
            </a:r>
            <a:r>
              <a:rPr kumimoji="0" lang="en-US" sz="1600" b="0" i="0" u="none" strike="noStrike" kern="1200" cap="none" spc="0" normalizeH="0" baseline="0" noProof="0">
                <a:ln>
                  <a:noFill/>
                </a:ln>
                <a:solidFill>
                  <a:srgbClr val="0078D4"/>
                </a:solidFill>
                <a:effectLst/>
                <a:uLnTx/>
                <a:uFillTx/>
                <a:latin typeface="Segoe UI Semibold"/>
                <a:ea typeface="+mn-ea"/>
                <a:cs typeface="+mn-cs"/>
              </a:rPr>
              <a:t> </a:t>
            </a:r>
            <a:r>
              <a:rPr lang="en-US" sz="1600">
                <a:solidFill>
                  <a:srgbClr val="0078D4"/>
                </a:solidFill>
                <a:latin typeface="Segoe UI Semibold"/>
              </a:rPr>
              <a:t>A</a:t>
            </a:r>
            <a:r>
              <a:rPr kumimoji="0" lang="en-US" sz="1600" b="0" i="0" u="none" strike="noStrike" kern="1200" cap="none" spc="0" normalizeH="0" baseline="0" noProof="0" err="1">
                <a:ln>
                  <a:noFill/>
                </a:ln>
                <a:solidFill>
                  <a:srgbClr val="0078D4"/>
                </a:solidFill>
                <a:effectLst/>
                <a:uLnTx/>
                <a:uFillTx/>
                <a:latin typeface="Segoe UI Semibold"/>
                <a:ea typeface="+mn-ea"/>
                <a:cs typeface="+mn-cs"/>
              </a:rPr>
              <a:t>rchitects</a:t>
            </a:r>
            <a:r>
              <a:rPr kumimoji="0" lang="en-US" sz="1600" b="0" i="0" u="none" strike="noStrike" kern="1200" cap="none" spc="0" normalizeH="0" baseline="0" noProof="0">
                <a:ln>
                  <a:noFill/>
                </a:ln>
                <a:solidFill>
                  <a:srgbClr val="0078D4"/>
                </a:solidFill>
                <a:effectLst/>
                <a:uLnTx/>
                <a:uFillTx/>
                <a:latin typeface="Segoe UI Semibold"/>
                <a:ea typeface="+mn-ea"/>
                <a:cs typeface="+mn-cs"/>
              </a:rPr>
              <a:t>  </a:t>
            </a:r>
          </a:p>
        </p:txBody>
      </p:sp>
      <p:grpSp>
        <p:nvGrpSpPr>
          <p:cNvPr id="36" name="Group 35">
            <a:extLst>
              <a:ext uri="{FF2B5EF4-FFF2-40B4-BE49-F238E27FC236}">
                <a16:creationId xmlns:a16="http://schemas.microsoft.com/office/drawing/2014/main" id="{87D69E47-B0EE-49D3-9D1C-CE4D9CC46288}"/>
              </a:ext>
            </a:extLst>
          </p:cNvPr>
          <p:cNvGrpSpPr>
            <a:grpSpLocks noChangeAspect="1"/>
          </p:cNvGrpSpPr>
          <p:nvPr/>
        </p:nvGrpSpPr>
        <p:grpSpPr>
          <a:xfrm>
            <a:off x="591078" y="1519484"/>
            <a:ext cx="373143" cy="386467"/>
            <a:chOff x="3807371" y="2914650"/>
            <a:chExt cx="637629" cy="660397"/>
          </a:xfrm>
          <a:solidFill>
            <a:schemeClr val="accent1"/>
          </a:solidFill>
        </p:grpSpPr>
        <p:sp>
          <p:nvSpPr>
            <p:cNvPr id="37" name="Oval 36">
              <a:extLst>
                <a:ext uri="{FF2B5EF4-FFF2-40B4-BE49-F238E27FC236}">
                  <a16:creationId xmlns:a16="http://schemas.microsoft.com/office/drawing/2014/main" id="{8347482B-8AC0-4851-A96C-82FF972EC2FB}"/>
                </a:ext>
              </a:extLst>
            </p:cNvPr>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23">
              <a:extLst>
                <a:ext uri="{FF2B5EF4-FFF2-40B4-BE49-F238E27FC236}">
                  <a16:creationId xmlns:a16="http://schemas.microsoft.com/office/drawing/2014/main" id="{A67F3C94-8893-4E2E-B41B-05003840C7F4}"/>
                </a:ext>
              </a:extLst>
            </p:cNvPr>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24">
              <a:extLst>
                <a:ext uri="{FF2B5EF4-FFF2-40B4-BE49-F238E27FC236}">
                  <a16:creationId xmlns:a16="http://schemas.microsoft.com/office/drawing/2014/main" id="{968D4E9F-725C-456A-B86D-355C27A677C5}"/>
                </a:ext>
              </a:extLst>
            </p:cNvPr>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grpSp>
      <p:sp>
        <p:nvSpPr>
          <p:cNvPr id="40" name="Freeform 25">
            <a:extLst>
              <a:ext uri="{FF2B5EF4-FFF2-40B4-BE49-F238E27FC236}">
                <a16:creationId xmlns:a16="http://schemas.microsoft.com/office/drawing/2014/main" id="{B29009D0-7E58-4D37-82FF-9E6E5F3C68E4}"/>
              </a:ext>
            </a:extLst>
          </p:cNvPr>
          <p:cNvSpPr/>
          <p:nvPr/>
        </p:nvSpPr>
        <p:spPr bwMode="auto">
          <a:xfrm>
            <a:off x="4215409" y="1545833"/>
            <a:ext cx="451837" cy="363907"/>
          </a:xfrm>
          <a:custGeom>
            <a:avLst/>
            <a:gdLst>
              <a:gd name="connsiteX0" fmla="*/ 5285721 w 7574196"/>
              <a:gd name="connsiteY0" fmla="*/ 4558876 h 6100221"/>
              <a:gd name="connsiteX1" fmla="*/ 7141389 w 7574196"/>
              <a:gd name="connsiteY1" fmla="*/ 4558876 h 6100221"/>
              <a:gd name="connsiteX2" fmla="*/ 7141389 w 7574196"/>
              <a:gd name="connsiteY2" fmla="*/ 4747855 h 6100221"/>
              <a:gd name="connsiteX3" fmla="*/ 5285721 w 7574196"/>
              <a:gd name="connsiteY3" fmla="*/ 4747855 h 6100221"/>
              <a:gd name="connsiteX4" fmla="*/ 2820921 w 7574196"/>
              <a:gd name="connsiteY4" fmla="*/ 4133505 h 6100221"/>
              <a:gd name="connsiteX5" fmla="*/ 3204041 w 7574196"/>
              <a:gd name="connsiteY5" fmla="*/ 4133505 h 6100221"/>
              <a:gd name="connsiteX6" fmla="*/ 3305557 w 7574196"/>
              <a:gd name="connsiteY6" fmla="*/ 4580591 h 6100221"/>
              <a:gd name="connsiteX7" fmla="*/ 3305556 w 7574196"/>
              <a:gd name="connsiteY7" fmla="*/ 4580591 h 6100221"/>
              <a:gd name="connsiteX8" fmla="*/ 3012480 w 7574196"/>
              <a:gd name="connsiteY8" fmla="*/ 5120268 h 6100221"/>
              <a:gd name="connsiteX9" fmla="*/ 2719403 w 7574196"/>
              <a:gd name="connsiteY9" fmla="*/ 4580591 h 6100221"/>
              <a:gd name="connsiteX10" fmla="*/ 2719405 w 7574196"/>
              <a:gd name="connsiteY10" fmla="*/ 4580591 h 6100221"/>
              <a:gd name="connsiteX11" fmla="*/ 2783261 w 7574196"/>
              <a:gd name="connsiteY11" fmla="*/ 3577935 h 6100221"/>
              <a:gd name="connsiteX12" fmla="*/ 3241702 w 7574196"/>
              <a:gd name="connsiteY12" fmla="*/ 3577935 h 6100221"/>
              <a:gd name="connsiteX13" fmla="*/ 3305557 w 7574196"/>
              <a:gd name="connsiteY13" fmla="*/ 3642040 h 6100221"/>
              <a:gd name="connsiteX14" fmla="*/ 3212231 w 7574196"/>
              <a:gd name="connsiteY14" fmla="*/ 4041457 h 6100221"/>
              <a:gd name="connsiteX15" fmla="*/ 2809459 w 7574196"/>
              <a:gd name="connsiteY15" fmla="*/ 4041457 h 6100221"/>
              <a:gd name="connsiteX16" fmla="*/ 2719406 w 7574196"/>
              <a:gd name="connsiteY16" fmla="*/ 3642040 h 6100221"/>
              <a:gd name="connsiteX17" fmla="*/ 2783261 w 7574196"/>
              <a:gd name="connsiteY17" fmla="*/ 3577935 h 6100221"/>
              <a:gd name="connsiteX18" fmla="*/ 7139122 w 7574196"/>
              <a:gd name="connsiteY18" fmla="*/ 3428496 h 6100221"/>
              <a:gd name="connsiteX19" fmla="*/ 7098859 w 7574196"/>
              <a:gd name="connsiteY19" fmla="*/ 3743378 h 6100221"/>
              <a:gd name="connsiteX20" fmla="*/ 7036747 w 7574196"/>
              <a:gd name="connsiteY20" fmla="*/ 3681265 h 6100221"/>
              <a:gd name="connsiteX21" fmla="*/ 6392375 w 7574196"/>
              <a:gd name="connsiteY21" fmla="*/ 4325638 h 6100221"/>
              <a:gd name="connsiteX22" fmla="*/ 6391568 w 7574196"/>
              <a:gd name="connsiteY22" fmla="*/ 4324831 h 6100221"/>
              <a:gd name="connsiteX23" fmla="*/ 6390760 w 7574196"/>
              <a:gd name="connsiteY23" fmla="*/ 4325639 h 6100221"/>
              <a:gd name="connsiteX24" fmla="*/ 5990096 w 7574196"/>
              <a:gd name="connsiteY24" fmla="*/ 3924975 h 6100221"/>
              <a:gd name="connsiteX25" fmla="*/ 5449515 w 7574196"/>
              <a:gd name="connsiteY25" fmla="*/ 4465558 h 6100221"/>
              <a:gd name="connsiteX26" fmla="*/ 5423391 w 7574196"/>
              <a:gd name="connsiteY26" fmla="*/ 4479963 h 6100221"/>
              <a:gd name="connsiteX27" fmla="*/ 5312398 w 7574196"/>
              <a:gd name="connsiteY27" fmla="*/ 4457459 h 6100221"/>
              <a:gd name="connsiteX28" fmla="*/ 5289893 w 7574196"/>
              <a:gd name="connsiteY28" fmla="*/ 4346465 h 6100221"/>
              <a:gd name="connsiteX29" fmla="*/ 5306067 w 7574196"/>
              <a:gd name="connsiteY29" fmla="*/ 4322109 h 6100221"/>
              <a:gd name="connsiteX30" fmla="*/ 5990585 w 7574196"/>
              <a:gd name="connsiteY30" fmla="*/ 3635697 h 6100221"/>
              <a:gd name="connsiteX31" fmla="*/ 6391567 w 7574196"/>
              <a:gd name="connsiteY31" fmla="*/ 4036678 h 6100221"/>
              <a:gd name="connsiteX32" fmla="*/ 6891864 w 7574196"/>
              <a:gd name="connsiteY32" fmla="*/ 3536382 h 6100221"/>
              <a:gd name="connsiteX33" fmla="*/ 6824241 w 7574196"/>
              <a:gd name="connsiteY33" fmla="*/ 3468758 h 6100221"/>
              <a:gd name="connsiteX34" fmla="*/ 5057802 w 7574196"/>
              <a:gd name="connsiteY34" fmla="*/ 2605949 h 6100221"/>
              <a:gd name="connsiteX35" fmla="*/ 5057802 w 7574196"/>
              <a:gd name="connsiteY35" fmla="*/ 5649527 h 6100221"/>
              <a:gd name="connsiteX36" fmla="*/ 7369299 w 7574196"/>
              <a:gd name="connsiteY36" fmla="*/ 5649527 h 6100221"/>
              <a:gd name="connsiteX37" fmla="*/ 7369299 w 7574196"/>
              <a:gd name="connsiteY37" fmla="*/ 2605949 h 6100221"/>
              <a:gd name="connsiteX38" fmla="*/ 7404496 w 7574196"/>
              <a:gd name="connsiteY38" fmla="*/ 2404009 h 6100221"/>
              <a:gd name="connsiteX39" fmla="*/ 7574196 w 7574196"/>
              <a:gd name="connsiteY39" fmla="*/ 2573709 h 6100221"/>
              <a:gd name="connsiteX40" fmla="*/ 7574196 w 7574196"/>
              <a:gd name="connsiteY40" fmla="*/ 5930521 h 6100221"/>
              <a:gd name="connsiteX41" fmla="*/ 7404496 w 7574196"/>
              <a:gd name="connsiteY41" fmla="*/ 6100221 h 6100221"/>
              <a:gd name="connsiteX42" fmla="*/ 5022605 w 7574196"/>
              <a:gd name="connsiteY42" fmla="*/ 6100221 h 6100221"/>
              <a:gd name="connsiteX43" fmla="*/ 4852905 w 7574196"/>
              <a:gd name="connsiteY43" fmla="*/ 5930521 h 6100221"/>
              <a:gd name="connsiteX44" fmla="*/ 4852905 w 7574196"/>
              <a:gd name="connsiteY44" fmla="*/ 5723511 h 6100221"/>
              <a:gd name="connsiteX45" fmla="*/ 4793844 w 7574196"/>
              <a:gd name="connsiteY45" fmla="*/ 5733560 h 6100221"/>
              <a:gd name="connsiteX46" fmla="*/ 4032678 w 7574196"/>
              <a:gd name="connsiteY46" fmla="*/ 5813036 h 6100221"/>
              <a:gd name="connsiteX47" fmla="*/ 3012480 w 7574196"/>
              <a:gd name="connsiteY47" fmla="*/ 5832665 h 6100221"/>
              <a:gd name="connsiteX48" fmla="*/ 1992281 w 7574196"/>
              <a:gd name="connsiteY48" fmla="*/ 5813036 h 6100221"/>
              <a:gd name="connsiteX49" fmla="*/ 47509 w 7574196"/>
              <a:gd name="connsiteY49" fmla="*/ 5429960 h 6100221"/>
              <a:gd name="connsiteX50" fmla="*/ 1992929 w 7574196"/>
              <a:gd name="connsiteY50" fmla="*/ 3188365 h 6100221"/>
              <a:gd name="connsiteX51" fmla="*/ 1994062 w 7574196"/>
              <a:gd name="connsiteY51" fmla="*/ 3192393 h 6100221"/>
              <a:gd name="connsiteX52" fmla="*/ 2004703 w 7574196"/>
              <a:gd name="connsiteY52" fmla="*/ 3188356 h 6100221"/>
              <a:gd name="connsiteX53" fmla="*/ 2715027 w 7574196"/>
              <a:gd name="connsiteY53" fmla="*/ 5140464 h 6100221"/>
              <a:gd name="connsiteX54" fmla="*/ 3012480 w 7574196"/>
              <a:gd name="connsiteY54" fmla="*/ 5618580 h 6100221"/>
              <a:gd name="connsiteX55" fmla="*/ 3309923 w 7574196"/>
              <a:gd name="connsiteY55" fmla="*/ 5140464 h 6100221"/>
              <a:gd name="connsiteX56" fmla="*/ 4020247 w 7574196"/>
              <a:gd name="connsiteY56" fmla="*/ 3188365 h 6100221"/>
              <a:gd name="connsiteX57" fmla="*/ 4030897 w 7574196"/>
              <a:gd name="connsiteY57" fmla="*/ 3192402 h 6100221"/>
              <a:gd name="connsiteX58" fmla="*/ 4032021 w 7574196"/>
              <a:gd name="connsiteY58" fmla="*/ 3188356 h 6100221"/>
              <a:gd name="connsiteX59" fmla="*/ 4799871 w 7574196"/>
              <a:gd name="connsiteY59" fmla="*/ 3456911 h 6100221"/>
              <a:gd name="connsiteX60" fmla="*/ 4852904 w 7574196"/>
              <a:gd name="connsiteY60" fmla="*/ 3483913 h 6100221"/>
              <a:gd name="connsiteX61" fmla="*/ 4852904 w 7574196"/>
              <a:gd name="connsiteY61" fmla="*/ 2573709 h 6100221"/>
              <a:gd name="connsiteX62" fmla="*/ 5022605 w 7574196"/>
              <a:gd name="connsiteY62" fmla="*/ 2404010 h 6100221"/>
              <a:gd name="connsiteX63" fmla="*/ 3447287 w 7574196"/>
              <a:gd name="connsiteY63" fmla="*/ 1256359 h 6100221"/>
              <a:gd name="connsiteX64" fmla="*/ 4049815 w 7574196"/>
              <a:gd name="connsiteY64" fmla="*/ 1256359 h 6100221"/>
              <a:gd name="connsiteX65" fmla="*/ 4049815 w 7574196"/>
              <a:gd name="connsiteY65" fmla="*/ 1738507 h 6100221"/>
              <a:gd name="connsiteX66" fmla="*/ 3447287 w 7574196"/>
              <a:gd name="connsiteY66" fmla="*/ 1738507 h 6100221"/>
              <a:gd name="connsiteX67" fmla="*/ 2005674 w 7574196"/>
              <a:gd name="connsiteY67" fmla="*/ 1256359 h 6100221"/>
              <a:gd name="connsiteX68" fmla="*/ 2608202 w 7574196"/>
              <a:gd name="connsiteY68" fmla="*/ 1256359 h 6100221"/>
              <a:gd name="connsiteX69" fmla="*/ 2608202 w 7574196"/>
              <a:gd name="connsiteY69" fmla="*/ 1738507 h 6100221"/>
              <a:gd name="connsiteX70" fmla="*/ 2005674 w 7574196"/>
              <a:gd name="connsiteY70" fmla="*/ 1738507 h 6100221"/>
              <a:gd name="connsiteX71" fmla="*/ 2031965 w 7574196"/>
              <a:gd name="connsiteY71" fmla="*/ 1036932 h 6100221"/>
              <a:gd name="connsiteX72" fmla="*/ 1797796 w 7574196"/>
              <a:gd name="connsiteY72" fmla="*/ 1272014 h 6100221"/>
              <a:gd name="connsiteX73" fmla="*/ 1797796 w 7574196"/>
              <a:gd name="connsiteY73" fmla="*/ 1671328 h 6100221"/>
              <a:gd name="connsiteX74" fmla="*/ 2031965 w 7574196"/>
              <a:gd name="connsiteY74" fmla="*/ 1906409 h 6100221"/>
              <a:gd name="connsiteX75" fmla="*/ 2583702 w 7574196"/>
              <a:gd name="connsiteY75" fmla="*/ 1906409 h 6100221"/>
              <a:gd name="connsiteX76" fmla="*/ 2817871 w 7574196"/>
              <a:gd name="connsiteY76" fmla="*/ 1671328 h 6100221"/>
              <a:gd name="connsiteX77" fmla="*/ 2817871 w 7574196"/>
              <a:gd name="connsiteY77" fmla="*/ 1413428 h 6100221"/>
              <a:gd name="connsiteX78" fmla="*/ 2860083 w 7574196"/>
              <a:gd name="connsiteY78" fmla="*/ 1367776 h 6100221"/>
              <a:gd name="connsiteX79" fmla="*/ 3199704 w 7574196"/>
              <a:gd name="connsiteY79" fmla="*/ 1366322 h 6100221"/>
              <a:gd name="connsiteX80" fmla="*/ 3244591 w 7574196"/>
              <a:gd name="connsiteY80" fmla="*/ 1409490 h 6100221"/>
              <a:gd name="connsiteX81" fmla="*/ 3244591 w 7574196"/>
              <a:gd name="connsiteY81" fmla="*/ 1671328 h 6100221"/>
              <a:gd name="connsiteX82" fmla="*/ 3478759 w 7574196"/>
              <a:gd name="connsiteY82" fmla="*/ 1906409 h 6100221"/>
              <a:gd name="connsiteX83" fmla="*/ 4030497 w 7574196"/>
              <a:gd name="connsiteY83" fmla="*/ 1906409 h 6100221"/>
              <a:gd name="connsiteX84" fmla="*/ 4264665 w 7574196"/>
              <a:gd name="connsiteY84" fmla="*/ 1671328 h 6100221"/>
              <a:gd name="connsiteX85" fmla="*/ 4264665 w 7574196"/>
              <a:gd name="connsiteY85" fmla="*/ 1272014 h 6100221"/>
              <a:gd name="connsiteX86" fmla="*/ 4030497 w 7574196"/>
              <a:gd name="connsiteY86" fmla="*/ 1036932 h 6100221"/>
              <a:gd name="connsiteX87" fmla="*/ 3012483 w 7574196"/>
              <a:gd name="connsiteY87" fmla="*/ 0 h 6100221"/>
              <a:gd name="connsiteX88" fmla="*/ 4532094 w 7574196"/>
              <a:gd name="connsiteY88" fmla="*/ 1525539 h 6100221"/>
              <a:gd name="connsiteX89" fmla="*/ 3012483 w 7574196"/>
              <a:gd name="connsiteY89" fmla="*/ 3051078 h 6100221"/>
              <a:gd name="connsiteX90" fmla="*/ 1492872 w 7574196"/>
              <a:gd name="connsiteY90" fmla="*/ 1525539 h 6100221"/>
              <a:gd name="connsiteX91" fmla="*/ 3012483 w 7574196"/>
              <a:gd name="connsiteY91" fmla="*/ 0 h 610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574196" h="6100221">
                <a:moveTo>
                  <a:pt x="5285721" y="4558876"/>
                </a:moveTo>
                <a:lnTo>
                  <a:pt x="7141389" y="4558876"/>
                </a:lnTo>
                <a:lnTo>
                  <a:pt x="7141389" y="4747855"/>
                </a:lnTo>
                <a:lnTo>
                  <a:pt x="5285721" y="4747855"/>
                </a:lnTo>
                <a:close/>
                <a:moveTo>
                  <a:pt x="2820921" y="4133505"/>
                </a:moveTo>
                <a:lnTo>
                  <a:pt x="3204041" y="4133505"/>
                </a:lnTo>
                <a:lnTo>
                  <a:pt x="3305557" y="4580591"/>
                </a:lnTo>
                <a:lnTo>
                  <a:pt x="3305556" y="4580591"/>
                </a:lnTo>
                <a:lnTo>
                  <a:pt x="3012480" y="5120268"/>
                </a:lnTo>
                <a:lnTo>
                  <a:pt x="2719403" y="4580591"/>
                </a:lnTo>
                <a:lnTo>
                  <a:pt x="2719405" y="4580591"/>
                </a:lnTo>
                <a:close/>
                <a:moveTo>
                  <a:pt x="2783261" y="3577935"/>
                </a:moveTo>
                <a:lnTo>
                  <a:pt x="3241702" y="3577935"/>
                </a:lnTo>
                <a:cubicBezTo>
                  <a:pt x="3276968" y="3577935"/>
                  <a:pt x="3305557" y="3606636"/>
                  <a:pt x="3305557" y="3642040"/>
                </a:cubicBezTo>
                <a:lnTo>
                  <a:pt x="3212231" y="4041457"/>
                </a:lnTo>
                <a:lnTo>
                  <a:pt x="2809459" y="4041457"/>
                </a:lnTo>
                <a:cubicBezTo>
                  <a:pt x="2787904" y="3955164"/>
                  <a:pt x="2719406" y="3719293"/>
                  <a:pt x="2719406" y="3642040"/>
                </a:cubicBezTo>
                <a:cubicBezTo>
                  <a:pt x="2719406" y="3606636"/>
                  <a:pt x="2747995" y="3577935"/>
                  <a:pt x="2783261" y="3577935"/>
                </a:cubicBezTo>
                <a:close/>
                <a:moveTo>
                  <a:pt x="7139122" y="3428496"/>
                </a:moveTo>
                <a:lnTo>
                  <a:pt x="7098859" y="3743378"/>
                </a:lnTo>
                <a:lnTo>
                  <a:pt x="7036747" y="3681265"/>
                </a:lnTo>
                <a:lnTo>
                  <a:pt x="6392375" y="4325638"/>
                </a:lnTo>
                <a:lnTo>
                  <a:pt x="6391568" y="4324831"/>
                </a:lnTo>
                <a:lnTo>
                  <a:pt x="6390760" y="4325639"/>
                </a:lnTo>
                <a:lnTo>
                  <a:pt x="5990096" y="3924975"/>
                </a:lnTo>
                <a:cubicBezTo>
                  <a:pt x="5809903" y="4105169"/>
                  <a:pt x="5629709" y="4285364"/>
                  <a:pt x="5449515" y="4465558"/>
                </a:cubicBezTo>
                <a:lnTo>
                  <a:pt x="5423391" y="4479963"/>
                </a:lnTo>
                <a:cubicBezTo>
                  <a:pt x="5386393" y="4494967"/>
                  <a:pt x="5342404" y="4487465"/>
                  <a:pt x="5312398" y="4457459"/>
                </a:cubicBezTo>
                <a:cubicBezTo>
                  <a:pt x="5282391" y="4427453"/>
                  <a:pt x="5274889" y="4383464"/>
                  <a:pt x="5289893" y="4346465"/>
                </a:cubicBezTo>
                <a:lnTo>
                  <a:pt x="5306067" y="4322109"/>
                </a:lnTo>
                <a:lnTo>
                  <a:pt x="5990585" y="3635697"/>
                </a:lnTo>
                <a:lnTo>
                  <a:pt x="6391567" y="4036678"/>
                </a:lnTo>
                <a:lnTo>
                  <a:pt x="6891864" y="3536382"/>
                </a:lnTo>
                <a:lnTo>
                  <a:pt x="6824241" y="3468758"/>
                </a:lnTo>
                <a:close/>
                <a:moveTo>
                  <a:pt x="5057802" y="2605949"/>
                </a:moveTo>
                <a:lnTo>
                  <a:pt x="5057802" y="5649527"/>
                </a:lnTo>
                <a:lnTo>
                  <a:pt x="7369299" y="5649527"/>
                </a:lnTo>
                <a:lnTo>
                  <a:pt x="7369299" y="2605949"/>
                </a:lnTo>
                <a:close/>
                <a:moveTo>
                  <a:pt x="7404496" y="2404009"/>
                </a:moveTo>
                <a:cubicBezTo>
                  <a:pt x="7498218" y="2404009"/>
                  <a:pt x="7574196" y="2479987"/>
                  <a:pt x="7574196" y="2573709"/>
                </a:cubicBezTo>
                <a:lnTo>
                  <a:pt x="7574196" y="5930521"/>
                </a:lnTo>
                <a:cubicBezTo>
                  <a:pt x="7574196" y="6024244"/>
                  <a:pt x="7498218" y="6100221"/>
                  <a:pt x="7404496" y="6100221"/>
                </a:cubicBezTo>
                <a:lnTo>
                  <a:pt x="5022605" y="6100221"/>
                </a:lnTo>
                <a:cubicBezTo>
                  <a:pt x="4928882" y="6100221"/>
                  <a:pt x="4852905" y="6024244"/>
                  <a:pt x="4852905" y="5930521"/>
                </a:cubicBezTo>
                <a:lnTo>
                  <a:pt x="4852905" y="5723511"/>
                </a:lnTo>
                <a:lnTo>
                  <a:pt x="4793844" y="5733560"/>
                </a:lnTo>
                <a:cubicBezTo>
                  <a:pt x="4545032" y="5771376"/>
                  <a:pt x="4290431" y="5796961"/>
                  <a:pt x="4032678" y="5813036"/>
                </a:cubicBezTo>
                <a:cubicBezTo>
                  <a:pt x="3692615" y="5819576"/>
                  <a:pt x="3553932" y="5833761"/>
                  <a:pt x="3012480" y="5832665"/>
                </a:cubicBezTo>
                <a:cubicBezTo>
                  <a:pt x="2471027" y="5831569"/>
                  <a:pt x="2332344" y="5819576"/>
                  <a:pt x="1992281" y="5813036"/>
                </a:cubicBezTo>
                <a:cubicBezTo>
                  <a:pt x="1304929" y="5770170"/>
                  <a:pt x="640011" y="5659674"/>
                  <a:pt x="47509" y="5429960"/>
                </a:cubicBezTo>
                <a:cubicBezTo>
                  <a:pt x="13612" y="5210916"/>
                  <a:pt x="-397926" y="3789491"/>
                  <a:pt x="1992929" y="3188365"/>
                </a:cubicBezTo>
                <a:cubicBezTo>
                  <a:pt x="1993304" y="3189708"/>
                  <a:pt x="1993687" y="3191050"/>
                  <a:pt x="1994062" y="3192393"/>
                </a:cubicBezTo>
                <a:lnTo>
                  <a:pt x="2004703" y="3188356"/>
                </a:lnTo>
                <a:cubicBezTo>
                  <a:pt x="2174717" y="3793775"/>
                  <a:pt x="2416908" y="4558602"/>
                  <a:pt x="2715027" y="5140464"/>
                </a:cubicBezTo>
                <a:lnTo>
                  <a:pt x="3012480" y="5618580"/>
                </a:lnTo>
                <a:lnTo>
                  <a:pt x="3309923" y="5140464"/>
                </a:lnTo>
                <a:cubicBezTo>
                  <a:pt x="3608051" y="4558602"/>
                  <a:pt x="3850233" y="3793784"/>
                  <a:pt x="4020247" y="3188365"/>
                </a:cubicBezTo>
                <a:lnTo>
                  <a:pt x="4030897" y="3192402"/>
                </a:lnTo>
                <a:lnTo>
                  <a:pt x="4032021" y="3188356"/>
                </a:lnTo>
                <a:cubicBezTo>
                  <a:pt x="4330879" y="3263497"/>
                  <a:pt x="4584588" y="3354743"/>
                  <a:pt x="4799871" y="3456911"/>
                </a:cubicBezTo>
                <a:lnTo>
                  <a:pt x="4852904" y="3483913"/>
                </a:lnTo>
                <a:lnTo>
                  <a:pt x="4852904" y="2573709"/>
                </a:lnTo>
                <a:cubicBezTo>
                  <a:pt x="4852905" y="2479986"/>
                  <a:pt x="4928882" y="2404009"/>
                  <a:pt x="5022605" y="2404010"/>
                </a:cubicBezTo>
                <a:close/>
                <a:moveTo>
                  <a:pt x="3447287" y="1256359"/>
                </a:moveTo>
                <a:lnTo>
                  <a:pt x="4049815" y="1256359"/>
                </a:lnTo>
                <a:lnTo>
                  <a:pt x="4049815" y="1738507"/>
                </a:lnTo>
                <a:lnTo>
                  <a:pt x="3447287" y="1738507"/>
                </a:lnTo>
                <a:close/>
                <a:moveTo>
                  <a:pt x="2005674" y="1256359"/>
                </a:moveTo>
                <a:lnTo>
                  <a:pt x="2608202" y="1256359"/>
                </a:lnTo>
                <a:lnTo>
                  <a:pt x="2608202" y="1738507"/>
                </a:lnTo>
                <a:lnTo>
                  <a:pt x="2005674" y="1738507"/>
                </a:lnTo>
                <a:close/>
                <a:moveTo>
                  <a:pt x="2031965" y="1036932"/>
                </a:moveTo>
                <a:cubicBezTo>
                  <a:pt x="1902637" y="1036932"/>
                  <a:pt x="1797796" y="1142182"/>
                  <a:pt x="1797796" y="1272014"/>
                </a:cubicBezTo>
                <a:lnTo>
                  <a:pt x="1797796" y="1671328"/>
                </a:lnTo>
                <a:cubicBezTo>
                  <a:pt x="1797796" y="1801159"/>
                  <a:pt x="1902637" y="1906409"/>
                  <a:pt x="2031965" y="1906409"/>
                </a:cubicBezTo>
                <a:lnTo>
                  <a:pt x="2583702" y="1906409"/>
                </a:lnTo>
                <a:cubicBezTo>
                  <a:pt x="2713030" y="1906409"/>
                  <a:pt x="2817871" y="1801159"/>
                  <a:pt x="2817871" y="1671328"/>
                </a:cubicBezTo>
                <a:lnTo>
                  <a:pt x="2817871" y="1413428"/>
                </a:lnTo>
                <a:lnTo>
                  <a:pt x="2860083" y="1367776"/>
                </a:lnTo>
                <a:cubicBezTo>
                  <a:pt x="2956515" y="1283578"/>
                  <a:pt x="3090695" y="1278667"/>
                  <a:pt x="3199704" y="1366322"/>
                </a:cubicBezTo>
                <a:lnTo>
                  <a:pt x="3244591" y="1409490"/>
                </a:lnTo>
                <a:lnTo>
                  <a:pt x="3244591" y="1671328"/>
                </a:lnTo>
                <a:cubicBezTo>
                  <a:pt x="3244591" y="1801159"/>
                  <a:pt x="3349432" y="1906409"/>
                  <a:pt x="3478759" y="1906409"/>
                </a:cubicBezTo>
                <a:lnTo>
                  <a:pt x="4030497" y="1906409"/>
                </a:lnTo>
                <a:cubicBezTo>
                  <a:pt x="4159824" y="1906409"/>
                  <a:pt x="4264665" y="1801159"/>
                  <a:pt x="4264665" y="1671328"/>
                </a:cubicBezTo>
                <a:lnTo>
                  <a:pt x="4264665" y="1272014"/>
                </a:lnTo>
                <a:cubicBezTo>
                  <a:pt x="4264665" y="1142182"/>
                  <a:pt x="4159824" y="1036932"/>
                  <a:pt x="4030497" y="1036932"/>
                </a:cubicBezTo>
                <a:close/>
                <a:moveTo>
                  <a:pt x="3012483" y="0"/>
                </a:moveTo>
                <a:cubicBezTo>
                  <a:pt x="3851741" y="0"/>
                  <a:pt x="4532094" y="683007"/>
                  <a:pt x="4532094" y="1525539"/>
                </a:cubicBezTo>
                <a:cubicBezTo>
                  <a:pt x="4532094" y="2368071"/>
                  <a:pt x="3851741" y="3051078"/>
                  <a:pt x="3012483" y="3051078"/>
                </a:cubicBezTo>
                <a:cubicBezTo>
                  <a:pt x="2173225" y="3051078"/>
                  <a:pt x="1492872" y="2368071"/>
                  <a:pt x="1492872" y="1525539"/>
                </a:cubicBezTo>
                <a:cubicBezTo>
                  <a:pt x="1492872" y="683007"/>
                  <a:pt x="2173225" y="0"/>
                  <a:pt x="301248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Freeform 26">
            <a:extLst>
              <a:ext uri="{FF2B5EF4-FFF2-40B4-BE49-F238E27FC236}">
                <a16:creationId xmlns:a16="http://schemas.microsoft.com/office/drawing/2014/main" id="{A661590D-113D-4D4C-BD44-913ED0B67E73}"/>
              </a:ext>
            </a:extLst>
          </p:cNvPr>
          <p:cNvSpPr/>
          <p:nvPr/>
        </p:nvSpPr>
        <p:spPr>
          <a:xfrm>
            <a:off x="7987181" y="1545833"/>
            <a:ext cx="365861" cy="353990"/>
          </a:xfrm>
          <a:custGeom>
            <a:avLst/>
            <a:gdLst>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0597 w 651383"/>
              <a:gd name="connsiteY5" fmla="*/ 391711 h 638603"/>
              <a:gd name="connsiteX6" fmla="*/ 350787 w 651383"/>
              <a:gd name="connsiteY6" fmla="*/ 391711 h 638603"/>
              <a:gd name="connsiteX7" fmla="*/ 357778 w 651383"/>
              <a:gd name="connsiteY7" fmla="*/ 398729 h 638603"/>
              <a:gd name="connsiteX8" fmla="*/ 347561 w 651383"/>
              <a:gd name="connsiteY8" fmla="*/ 442457 h 638603"/>
              <a:gd name="connsiteX9" fmla="*/ 303466 w 651383"/>
              <a:gd name="connsiteY9" fmla="*/ 442457 h 638603"/>
              <a:gd name="connsiteX10" fmla="*/ 293607 w 651383"/>
              <a:gd name="connsiteY10" fmla="*/ 398729 h 638603"/>
              <a:gd name="connsiteX11" fmla="*/ 300597 w 651383"/>
              <a:gd name="connsiteY11" fmla="*/ 391711 h 638603"/>
              <a:gd name="connsiteX12" fmla="*/ 215361 w 651383"/>
              <a:gd name="connsiteY12" fmla="*/ 349060 h 638603"/>
              <a:gd name="connsiteX13" fmla="*/ 293127 w 651383"/>
              <a:gd name="connsiteY13" fmla="*/ 562776 h 638603"/>
              <a:gd name="connsiteX14" fmla="*/ 325692 w 651383"/>
              <a:gd name="connsiteY14" fmla="*/ 615120 h 638603"/>
              <a:gd name="connsiteX15" fmla="*/ 358256 w 651383"/>
              <a:gd name="connsiteY15" fmla="*/ 562776 h 638603"/>
              <a:gd name="connsiteX16" fmla="*/ 436022 w 651383"/>
              <a:gd name="connsiteY16" fmla="*/ 349061 h 638603"/>
              <a:gd name="connsiteX17" fmla="*/ 437188 w 651383"/>
              <a:gd name="connsiteY17" fmla="*/ 349503 h 638603"/>
              <a:gd name="connsiteX18" fmla="*/ 437311 w 651383"/>
              <a:gd name="connsiteY18" fmla="*/ 349060 h 638603"/>
              <a:gd name="connsiteX19" fmla="*/ 650296 w 651383"/>
              <a:gd name="connsiteY19" fmla="*/ 594470 h 638603"/>
              <a:gd name="connsiteX20" fmla="*/ 437383 w 651383"/>
              <a:gd name="connsiteY20" fmla="*/ 636409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214001 w 651383"/>
              <a:gd name="connsiteY26" fmla="*/ 636409 h 638603"/>
              <a:gd name="connsiteX27" fmla="*/ 1088 w 651383"/>
              <a:gd name="connsiteY27" fmla="*/ 594470 h 638603"/>
              <a:gd name="connsiteX28" fmla="*/ 214072 w 651383"/>
              <a:gd name="connsiteY28" fmla="*/ 349061 h 638603"/>
              <a:gd name="connsiteX29" fmla="*/ 214196 w 651383"/>
              <a:gd name="connsiteY29" fmla="*/ 349502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437383 w 651383"/>
              <a:gd name="connsiteY21" fmla="*/ 636409 h 638603"/>
              <a:gd name="connsiteX22" fmla="*/ 332140 w 651383"/>
              <a:gd name="connsiteY22" fmla="*/ 638434 h 638603"/>
              <a:gd name="connsiteX23" fmla="*/ 328033 w 651383"/>
              <a:gd name="connsiteY23" fmla="*/ 638603 h 638603"/>
              <a:gd name="connsiteX24" fmla="*/ 325692 w 651383"/>
              <a:gd name="connsiteY24" fmla="*/ 638558 h 638603"/>
              <a:gd name="connsiteX25" fmla="*/ 323351 w 651383"/>
              <a:gd name="connsiteY25" fmla="*/ 638603 h 638603"/>
              <a:gd name="connsiteX26" fmla="*/ 319243 w 651383"/>
              <a:gd name="connsiteY26" fmla="*/ 638434 h 638603"/>
              <a:gd name="connsiteX27" fmla="*/ 1088 w 651383"/>
              <a:gd name="connsiteY27" fmla="*/ 594470 h 638603"/>
              <a:gd name="connsiteX28" fmla="*/ 214072 w 651383"/>
              <a:gd name="connsiteY28" fmla="*/ 349061 h 638603"/>
              <a:gd name="connsiteX29" fmla="*/ 214196 w 651383"/>
              <a:gd name="connsiteY29" fmla="*/ 349502 h 638603"/>
              <a:gd name="connsiteX30" fmla="*/ 215361 w 651383"/>
              <a:gd name="connsiteY30" fmla="*/ 349060 h 638603"/>
              <a:gd name="connsiteX31" fmla="*/ 325693 w 651383"/>
              <a:gd name="connsiteY31" fmla="*/ 0 h 638603"/>
              <a:gd name="connsiteX32" fmla="*/ 492060 w 651383"/>
              <a:gd name="connsiteY32" fmla="*/ 167016 h 638603"/>
              <a:gd name="connsiteX33" fmla="*/ 325693 w 651383"/>
              <a:gd name="connsiteY33" fmla="*/ 334032 h 638603"/>
              <a:gd name="connsiteX34" fmla="*/ 159326 w 651383"/>
              <a:gd name="connsiteY34" fmla="*/ 167016 h 638603"/>
              <a:gd name="connsiteX35" fmla="*/ 325693 w 651383"/>
              <a:gd name="connsiteY35"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1088 w 651383"/>
              <a:gd name="connsiteY26" fmla="*/ 594470 h 638603"/>
              <a:gd name="connsiteX27" fmla="*/ 214072 w 651383"/>
              <a:gd name="connsiteY27" fmla="*/ 349061 h 638603"/>
              <a:gd name="connsiteX28" fmla="*/ 214196 w 651383"/>
              <a:gd name="connsiteY28" fmla="*/ 349502 h 638603"/>
              <a:gd name="connsiteX29" fmla="*/ 215361 w 651383"/>
              <a:gd name="connsiteY29" fmla="*/ 349060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8033 w 651383"/>
              <a:gd name="connsiteY21" fmla="*/ 638603 h 638603"/>
              <a:gd name="connsiteX22" fmla="*/ 325692 w 651383"/>
              <a:gd name="connsiteY22" fmla="*/ 638558 h 638603"/>
              <a:gd name="connsiteX23" fmla="*/ 323351 w 651383"/>
              <a:gd name="connsiteY23" fmla="*/ 638603 h 638603"/>
              <a:gd name="connsiteX24" fmla="*/ 319243 w 651383"/>
              <a:gd name="connsiteY24" fmla="*/ 638434 h 638603"/>
              <a:gd name="connsiteX25" fmla="*/ 1088 w 651383"/>
              <a:gd name="connsiteY25" fmla="*/ 594470 h 638603"/>
              <a:gd name="connsiteX26" fmla="*/ 214072 w 651383"/>
              <a:gd name="connsiteY26" fmla="*/ 349061 h 638603"/>
              <a:gd name="connsiteX27" fmla="*/ 214196 w 651383"/>
              <a:gd name="connsiteY27" fmla="*/ 349502 h 638603"/>
              <a:gd name="connsiteX28" fmla="*/ 215361 w 651383"/>
              <a:gd name="connsiteY28" fmla="*/ 349060 h 638603"/>
              <a:gd name="connsiteX29" fmla="*/ 325693 w 651383"/>
              <a:gd name="connsiteY29" fmla="*/ 0 h 638603"/>
              <a:gd name="connsiteX30" fmla="*/ 492060 w 651383"/>
              <a:gd name="connsiteY30" fmla="*/ 167016 h 638603"/>
              <a:gd name="connsiteX31" fmla="*/ 325693 w 651383"/>
              <a:gd name="connsiteY31" fmla="*/ 334032 h 638603"/>
              <a:gd name="connsiteX32" fmla="*/ 159326 w 651383"/>
              <a:gd name="connsiteY32" fmla="*/ 167016 h 638603"/>
              <a:gd name="connsiteX33" fmla="*/ 325693 w 651383"/>
              <a:gd name="connsiteY33"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319243 w 651383"/>
              <a:gd name="connsiteY23" fmla="*/ 638434 h 638603"/>
              <a:gd name="connsiteX24" fmla="*/ 1088 w 651383"/>
              <a:gd name="connsiteY24" fmla="*/ 594470 h 638603"/>
              <a:gd name="connsiteX25" fmla="*/ 214072 w 651383"/>
              <a:gd name="connsiteY25" fmla="*/ 349061 h 638603"/>
              <a:gd name="connsiteX26" fmla="*/ 214196 w 651383"/>
              <a:gd name="connsiteY26" fmla="*/ 349502 h 638603"/>
              <a:gd name="connsiteX27" fmla="*/ 215361 w 651383"/>
              <a:gd name="connsiteY27" fmla="*/ 349060 h 638603"/>
              <a:gd name="connsiteX28" fmla="*/ 325693 w 651383"/>
              <a:gd name="connsiteY28" fmla="*/ 0 h 638603"/>
              <a:gd name="connsiteX29" fmla="*/ 492060 w 651383"/>
              <a:gd name="connsiteY29" fmla="*/ 167016 h 638603"/>
              <a:gd name="connsiteX30" fmla="*/ 325693 w 651383"/>
              <a:gd name="connsiteY30" fmla="*/ 334032 h 638603"/>
              <a:gd name="connsiteX31" fmla="*/ 159326 w 651383"/>
              <a:gd name="connsiteY31" fmla="*/ 167016 h 638603"/>
              <a:gd name="connsiteX32" fmla="*/ 325693 w 651383"/>
              <a:gd name="connsiteY32"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1088 w 651383"/>
              <a:gd name="connsiteY23" fmla="*/ 594470 h 638603"/>
              <a:gd name="connsiteX24" fmla="*/ 214072 w 651383"/>
              <a:gd name="connsiteY24" fmla="*/ 349061 h 638603"/>
              <a:gd name="connsiteX25" fmla="*/ 214196 w 651383"/>
              <a:gd name="connsiteY25" fmla="*/ 349502 h 638603"/>
              <a:gd name="connsiteX26" fmla="*/ 215361 w 651383"/>
              <a:gd name="connsiteY26" fmla="*/ 349060 h 638603"/>
              <a:gd name="connsiteX27" fmla="*/ 325693 w 651383"/>
              <a:gd name="connsiteY27" fmla="*/ 0 h 638603"/>
              <a:gd name="connsiteX28" fmla="*/ 492060 w 651383"/>
              <a:gd name="connsiteY28" fmla="*/ 167016 h 638603"/>
              <a:gd name="connsiteX29" fmla="*/ 325693 w 651383"/>
              <a:gd name="connsiteY29" fmla="*/ 334032 h 638603"/>
              <a:gd name="connsiteX30" fmla="*/ 159326 w 651383"/>
              <a:gd name="connsiteY30" fmla="*/ 167016 h 638603"/>
              <a:gd name="connsiteX31" fmla="*/ 325693 w 651383"/>
              <a:gd name="connsiteY31" fmla="*/ 0 h 638603"/>
              <a:gd name="connsiteX0" fmla="*/ 304720 w 651383"/>
              <a:gd name="connsiteY0" fmla="*/ 452535 h 638558"/>
              <a:gd name="connsiteX1" fmla="*/ 346664 w 651383"/>
              <a:gd name="connsiteY1" fmla="*/ 452535 h 638558"/>
              <a:gd name="connsiteX2" fmla="*/ 357778 w 651383"/>
              <a:gd name="connsiteY2" fmla="*/ 501481 h 638558"/>
              <a:gd name="connsiteX3" fmla="*/ 325692 w 651383"/>
              <a:gd name="connsiteY3" fmla="*/ 560565 h 638558"/>
              <a:gd name="connsiteX4" fmla="*/ 293606 w 651383"/>
              <a:gd name="connsiteY4" fmla="*/ 501481 h 638558"/>
              <a:gd name="connsiteX5" fmla="*/ 304720 w 651383"/>
              <a:gd name="connsiteY5" fmla="*/ 452535 h 638558"/>
              <a:gd name="connsiteX6" fmla="*/ 300597 w 651383"/>
              <a:gd name="connsiteY6" fmla="*/ 391711 h 638558"/>
              <a:gd name="connsiteX7" fmla="*/ 350787 w 651383"/>
              <a:gd name="connsiteY7" fmla="*/ 391711 h 638558"/>
              <a:gd name="connsiteX8" fmla="*/ 357778 w 651383"/>
              <a:gd name="connsiteY8" fmla="*/ 398729 h 638558"/>
              <a:gd name="connsiteX9" fmla="*/ 347561 w 651383"/>
              <a:gd name="connsiteY9" fmla="*/ 442457 h 638558"/>
              <a:gd name="connsiteX10" fmla="*/ 303466 w 651383"/>
              <a:gd name="connsiteY10" fmla="*/ 442457 h 638558"/>
              <a:gd name="connsiteX11" fmla="*/ 293607 w 651383"/>
              <a:gd name="connsiteY11" fmla="*/ 398729 h 638558"/>
              <a:gd name="connsiteX12" fmla="*/ 300597 w 651383"/>
              <a:gd name="connsiteY12" fmla="*/ 391711 h 638558"/>
              <a:gd name="connsiteX13" fmla="*/ 215361 w 651383"/>
              <a:gd name="connsiteY13" fmla="*/ 349060 h 638558"/>
              <a:gd name="connsiteX14" fmla="*/ 293127 w 651383"/>
              <a:gd name="connsiteY14" fmla="*/ 562776 h 638558"/>
              <a:gd name="connsiteX15" fmla="*/ 325692 w 651383"/>
              <a:gd name="connsiteY15" fmla="*/ 615120 h 638558"/>
              <a:gd name="connsiteX16" fmla="*/ 358256 w 651383"/>
              <a:gd name="connsiteY16" fmla="*/ 562776 h 638558"/>
              <a:gd name="connsiteX17" fmla="*/ 436022 w 651383"/>
              <a:gd name="connsiteY17" fmla="*/ 349061 h 638558"/>
              <a:gd name="connsiteX18" fmla="*/ 437188 w 651383"/>
              <a:gd name="connsiteY18" fmla="*/ 349503 h 638558"/>
              <a:gd name="connsiteX19" fmla="*/ 437311 w 651383"/>
              <a:gd name="connsiteY19" fmla="*/ 349060 h 638558"/>
              <a:gd name="connsiteX20" fmla="*/ 650296 w 651383"/>
              <a:gd name="connsiteY20" fmla="*/ 594470 h 638558"/>
              <a:gd name="connsiteX21" fmla="*/ 325692 w 651383"/>
              <a:gd name="connsiteY21" fmla="*/ 638558 h 638558"/>
              <a:gd name="connsiteX22" fmla="*/ 1088 w 651383"/>
              <a:gd name="connsiteY22" fmla="*/ 594470 h 638558"/>
              <a:gd name="connsiteX23" fmla="*/ 214072 w 651383"/>
              <a:gd name="connsiteY23" fmla="*/ 349061 h 638558"/>
              <a:gd name="connsiteX24" fmla="*/ 214196 w 651383"/>
              <a:gd name="connsiteY24" fmla="*/ 349502 h 638558"/>
              <a:gd name="connsiteX25" fmla="*/ 215361 w 651383"/>
              <a:gd name="connsiteY25" fmla="*/ 349060 h 638558"/>
              <a:gd name="connsiteX26" fmla="*/ 325693 w 651383"/>
              <a:gd name="connsiteY26" fmla="*/ 0 h 638558"/>
              <a:gd name="connsiteX27" fmla="*/ 492060 w 651383"/>
              <a:gd name="connsiteY27" fmla="*/ 167016 h 638558"/>
              <a:gd name="connsiteX28" fmla="*/ 325693 w 651383"/>
              <a:gd name="connsiteY28" fmla="*/ 334032 h 638558"/>
              <a:gd name="connsiteX29" fmla="*/ 159326 w 651383"/>
              <a:gd name="connsiteY29" fmla="*/ 167016 h 638558"/>
              <a:gd name="connsiteX30" fmla="*/ 325693 w 651383"/>
              <a:gd name="connsiteY30" fmla="*/ 0 h 638558"/>
              <a:gd name="connsiteX0" fmla="*/ 304720 w 651383"/>
              <a:gd name="connsiteY0" fmla="*/ 452535 h 641576"/>
              <a:gd name="connsiteX1" fmla="*/ 346664 w 651383"/>
              <a:gd name="connsiteY1" fmla="*/ 452535 h 641576"/>
              <a:gd name="connsiteX2" fmla="*/ 357778 w 651383"/>
              <a:gd name="connsiteY2" fmla="*/ 501481 h 641576"/>
              <a:gd name="connsiteX3" fmla="*/ 325692 w 651383"/>
              <a:gd name="connsiteY3" fmla="*/ 560565 h 641576"/>
              <a:gd name="connsiteX4" fmla="*/ 293606 w 651383"/>
              <a:gd name="connsiteY4" fmla="*/ 501481 h 641576"/>
              <a:gd name="connsiteX5" fmla="*/ 304720 w 651383"/>
              <a:gd name="connsiteY5" fmla="*/ 452535 h 641576"/>
              <a:gd name="connsiteX6" fmla="*/ 300597 w 651383"/>
              <a:gd name="connsiteY6" fmla="*/ 391711 h 641576"/>
              <a:gd name="connsiteX7" fmla="*/ 350787 w 651383"/>
              <a:gd name="connsiteY7" fmla="*/ 391711 h 641576"/>
              <a:gd name="connsiteX8" fmla="*/ 357778 w 651383"/>
              <a:gd name="connsiteY8" fmla="*/ 398729 h 641576"/>
              <a:gd name="connsiteX9" fmla="*/ 347561 w 651383"/>
              <a:gd name="connsiteY9" fmla="*/ 442457 h 641576"/>
              <a:gd name="connsiteX10" fmla="*/ 303466 w 651383"/>
              <a:gd name="connsiteY10" fmla="*/ 442457 h 641576"/>
              <a:gd name="connsiteX11" fmla="*/ 293607 w 651383"/>
              <a:gd name="connsiteY11" fmla="*/ 398729 h 641576"/>
              <a:gd name="connsiteX12" fmla="*/ 300597 w 651383"/>
              <a:gd name="connsiteY12" fmla="*/ 391711 h 641576"/>
              <a:gd name="connsiteX13" fmla="*/ 215361 w 651383"/>
              <a:gd name="connsiteY13" fmla="*/ 349060 h 641576"/>
              <a:gd name="connsiteX14" fmla="*/ 293127 w 651383"/>
              <a:gd name="connsiteY14" fmla="*/ 562776 h 641576"/>
              <a:gd name="connsiteX15" fmla="*/ 325692 w 651383"/>
              <a:gd name="connsiteY15" fmla="*/ 615120 h 641576"/>
              <a:gd name="connsiteX16" fmla="*/ 358256 w 651383"/>
              <a:gd name="connsiteY16" fmla="*/ 562776 h 641576"/>
              <a:gd name="connsiteX17" fmla="*/ 436022 w 651383"/>
              <a:gd name="connsiteY17" fmla="*/ 349061 h 641576"/>
              <a:gd name="connsiteX18" fmla="*/ 437188 w 651383"/>
              <a:gd name="connsiteY18" fmla="*/ 349503 h 641576"/>
              <a:gd name="connsiteX19" fmla="*/ 437311 w 651383"/>
              <a:gd name="connsiteY19" fmla="*/ 349060 h 641576"/>
              <a:gd name="connsiteX20" fmla="*/ 650296 w 651383"/>
              <a:gd name="connsiteY20" fmla="*/ 594470 h 641576"/>
              <a:gd name="connsiteX21" fmla="*/ 325692 w 651383"/>
              <a:gd name="connsiteY21" fmla="*/ 638558 h 641576"/>
              <a:gd name="connsiteX22" fmla="*/ 1088 w 651383"/>
              <a:gd name="connsiteY22" fmla="*/ 594470 h 641576"/>
              <a:gd name="connsiteX23" fmla="*/ 214072 w 651383"/>
              <a:gd name="connsiteY23" fmla="*/ 349061 h 641576"/>
              <a:gd name="connsiteX24" fmla="*/ 214196 w 651383"/>
              <a:gd name="connsiteY24" fmla="*/ 349502 h 641576"/>
              <a:gd name="connsiteX25" fmla="*/ 215361 w 651383"/>
              <a:gd name="connsiteY25" fmla="*/ 349060 h 641576"/>
              <a:gd name="connsiteX26" fmla="*/ 325693 w 651383"/>
              <a:gd name="connsiteY26" fmla="*/ 0 h 641576"/>
              <a:gd name="connsiteX27" fmla="*/ 492060 w 651383"/>
              <a:gd name="connsiteY27" fmla="*/ 167016 h 641576"/>
              <a:gd name="connsiteX28" fmla="*/ 325693 w 651383"/>
              <a:gd name="connsiteY28" fmla="*/ 334032 h 641576"/>
              <a:gd name="connsiteX29" fmla="*/ 159326 w 651383"/>
              <a:gd name="connsiteY29" fmla="*/ 167016 h 641576"/>
              <a:gd name="connsiteX30" fmla="*/ 325693 w 651383"/>
              <a:gd name="connsiteY30" fmla="*/ 0 h 641576"/>
              <a:gd name="connsiteX0" fmla="*/ 304720 w 651383"/>
              <a:gd name="connsiteY0" fmla="*/ 452535 h 644698"/>
              <a:gd name="connsiteX1" fmla="*/ 346664 w 651383"/>
              <a:gd name="connsiteY1" fmla="*/ 452535 h 644698"/>
              <a:gd name="connsiteX2" fmla="*/ 357778 w 651383"/>
              <a:gd name="connsiteY2" fmla="*/ 501481 h 644698"/>
              <a:gd name="connsiteX3" fmla="*/ 325692 w 651383"/>
              <a:gd name="connsiteY3" fmla="*/ 560565 h 644698"/>
              <a:gd name="connsiteX4" fmla="*/ 293606 w 651383"/>
              <a:gd name="connsiteY4" fmla="*/ 501481 h 644698"/>
              <a:gd name="connsiteX5" fmla="*/ 304720 w 651383"/>
              <a:gd name="connsiteY5" fmla="*/ 452535 h 644698"/>
              <a:gd name="connsiteX6" fmla="*/ 300597 w 651383"/>
              <a:gd name="connsiteY6" fmla="*/ 391711 h 644698"/>
              <a:gd name="connsiteX7" fmla="*/ 350787 w 651383"/>
              <a:gd name="connsiteY7" fmla="*/ 391711 h 644698"/>
              <a:gd name="connsiteX8" fmla="*/ 357778 w 651383"/>
              <a:gd name="connsiteY8" fmla="*/ 398729 h 644698"/>
              <a:gd name="connsiteX9" fmla="*/ 347561 w 651383"/>
              <a:gd name="connsiteY9" fmla="*/ 442457 h 644698"/>
              <a:gd name="connsiteX10" fmla="*/ 303466 w 651383"/>
              <a:gd name="connsiteY10" fmla="*/ 442457 h 644698"/>
              <a:gd name="connsiteX11" fmla="*/ 293607 w 651383"/>
              <a:gd name="connsiteY11" fmla="*/ 398729 h 644698"/>
              <a:gd name="connsiteX12" fmla="*/ 300597 w 651383"/>
              <a:gd name="connsiteY12" fmla="*/ 391711 h 644698"/>
              <a:gd name="connsiteX13" fmla="*/ 215361 w 651383"/>
              <a:gd name="connsiteY13" fmla="*/ 349060 h 644698"/>
              <a:gd name="connsiteX14" fmla="*/ 293127 w 651383"/>
              <a:gd name="connsiteY14" fmla="*/ 562776 h 644698"/>
              <a:gd name="connsiteX15" fmla="*/ 325692 w 651383"/>
              <a:gd name="connsiteY15" fmla="*/ 615120 h 644698"/>
              <a:gd name="connsiteX16" fmla="*/ 358256 w 651383"/>
              <a:gd name="connsiteY16" fmla="*/ 562776 h 644698"/>
              <a:gd name="connsiteX17" fmla="*/ 436022 w 651383"/>
              <a:gd name="connsiteY17" fmla="*/ 349061 h 644698"/>
              <a:gd name="connsiteX18" fmla="*/ 437188 w 651383"/>
              <a:gd name="connsiteY18" fmla="*/ 349503 h 644698"/>
              <a:gd name="connsiteX19" fmla="*/ 437311 w 651383"/>
              <a:gd name="connsiteY19" fmla="*/ 349060 h 644698"/>
              <a:gd name="connsiteX20" fmla="*/ 650296 w 651383"/>
              <a:gd name="connsiteY20" fmla="*/ 594470 h 644698"/>
              <a:gd name="connsiteX21" fmla="*/ 325692 w 651383"/>
              <a:gd name="connsiteY21" fmla="*/ 638558 h 644698"/>
              <a:gd name="connsiteX22" fmla="*/ 1088 w 651383"/>
              <a:gd name="connsiteY22" fmla="*/ 594470 h 644698"/>
              <a:gd name="connsiteX23" fmla="*/ 214072 w 651383"/>
              <a:gd name="connsiteY23" fmla="*/ 349061 h 644698"/>
              <a:gd name="connsiteX24" fmla="*/ 214196 w 651383"/>
              <a:gd name="connsiteY24" fmla="*/ 349502 h 644698"/>
              <a:gd name="connsiteX25" fmla="*/ 215361 w 651383"/>
              <a:gd name="connsiteY25" fmla="*/ 349060 h 644698"/>
              <a:gd name="connsiteX26" fmla="*/ 325693 w 651383"/>
              <a:gd name="connsiteY26" fmla="*/ 0 h 644698"/>
              <a:gd name="connsiteX27" fmla="*/ 492060 w 651383"/>
              <a:gd name="connsiteY27" fmla="*/ 167016 h 644698"/>
              <a:gd name="connsiteX28" fmla="*/ 325693 w 651383"/>
              <a:gd name="connsiteY28" fmla="*/ 334032 h 644698"/>
              <a:gd name="connsiteX29" fmla="*/ 159326 w 651383"/>
              <a:gd name="connsiteY29" fmla="*/ 167016 h 644698"/>
              <a:gd name="connsiteX30" fmla="*/ 325693 w 651383"/>
              <a:gd name="connsiteY30" fmla="*/ 0 h 644698"/>
              <a:gd name="connsiteX0" fmla="*/ 304720 w 651383"/>
              <a:gd name="connsiteY0" fmla="*/ 452535 h 639468"/>
              <a:gd name="connsiteX1" fmla="*/ 346664 w 651383"/>
              <a:gd name="connsiteY1" fmla="*/ 452535 h 639468"/>
              <a:gd name="connsiteX2" fmla="*/ 357778 w 651383"/>
              <a:gd name="connsiteY2" fmla="*/ 501481 h 639468"/>
              <a:gd name="connsiteX3" fmla="*/ 325692 w 651383"/>
              <a:gd name="connsiteY3" fmla="*/ 560565 h 639468"/>
              <a:gd name="connsiteX4" fmla="*/ 293606 w 651383"/>
              <a:gd name="connsiteY4" fmla="*/ 501481 h 639468"/>
              <a:gd name="connsiteX5" fmla="*/ 304720 w 651383"/>
              <a:gd name="connsiteY5" fmla="*/ 452535 h 639468"/>
              <a:gd name="connsiteX6" fmla="*/ 300597 w 651383"/>
              <a:gd name="connsiteY6" fmla="*/ 391711 h 639468"/>
              <a:gd name="connsiteX7" fmla="*/ 350787 w 651383"/>
              <a:gd name="connsiteY7" fmla="*/ 391711 h 639468"/>
              <a:gd name="connsiteX8" fmla="*/ 357778 w 651383"/>
              <a:gd name="connsiteY8" fmla="*/ 398729 h 639468"/>
              <a:gd name="connsiteX9" fmla="*/ 347561 w 651383"/>
              <a:gd name="connsiteY9" fmla="*/ 442457 h 639468"/>
              <a:gd name="connsiteX10" fmla="*/ 303466 w 651383"/>
              <a:gd name="connsiteY10" fmla="*/ 442457 h 639468"/>
              <a:gd name="connsiteX11" fmla="*/ 293607 w 651383"/>
              <a:gd name="connsiteY11" fmla="*/ 398729 h 639468"/>
              <a:gd name="connsiteX12" fmla="*/ 300597 w 651383"/>
              <a:gd name="connsiteY12" fmla="*/ 391711 h 639468"/>
              <a:gd name="connsiteX13" fmla="*/ 215361 w 651383"/>
              <a:gd name="connsiteY13" fmla="*/ 349060 h 639468"/>
              <a:gd name="connsiteX14" fmla="*/ 293127 w 651383"/>
              <a:gd name="connsiteY14" fmla="*/ 562776 h 639468"/>
              <a:gd name="connsiteX15" fmla="*/ 325692 w 651383"/>
              <a:gd name="connsiteY15" fmla="*/ 615120 h 639468"/>
              <a:gd name="connsiteX16" fmla="*/ 358256 w 651383"/>
              <a:gd name="connsiteY16" fmla="*/ 562776 h 639468"/>
              <a:gd name="connsiteX17" fmla="*/ 436022 w 651383"/>
              <a:gd name="connsiteY17" fmla="*/ 349061 h 639468"/>
              <a:gd name="connsiteX18" fmla="*/ 437188 w 651383"/>
              <a:gd name="connsiteY18" fmla="*/ 349503 h 639468"/>
              <a:gd name="connsiteX19" fmla="*/ 437311 w 651383"/>
              <a:gd name="connsiteY19" fmla="*/ 349060 h 639468"/>
              <a:gd name="connsiteX20" fmla="*/ 650296 w 651383"/>
              <a:gd name="connsiteY20" fmla="*/ 594470 h 639468"/>
              <a:gd name="connsiteX21" fmla="*/ 325692 w 651383"/>
              <a:gd name="connsiteY21" fmla="*/ 638558 h 639468"/>
              <a:gd name="connsiteX22" fmla="*/ 1088 w 651383"/>
              <a:gd name="connsiteY22" fmla="*/ 594470 h 639468"/>
              <a:gd name="connsiteX23" fmla="*/ 214072 w 651383"/>
              <a:gd name="connsiteY23" fmla="*/ 349061 h 639468"/>
              <a:gd name="connsiteX24" fmla="*/ 214196 w 651383"/>
              <a:gd name="connsiteY24" fmla="*/ 349502 h 639468"/>
              <a:gd name="connsiteX25" fmla="*/ 215361 w 651383"/>
              <a:gd name="connsiteY25" fmla="*/ 349060 h 639468"/>
              <a:gd name="connsiteX26" fmla="*/ 325693 w 651383"/>
              <a:gd name="connsiteY26" fmla="*/ 0 h 639468"/>
              <a:gd name="connsiteX27" fmla="*/ 492060 w 651383"/>
              <a:gd name="connsiteY27" fmla="*/ 167016 h 639468"/>
              <a:gd name="connsiteX28" fmla="*/ 325693 w 651383"/>
              <a:gd name="connsiteY28" fmla="*/ 334032 h 639468"/>
              <a:gd name="connsiteX29" fmla="*/ 159326 w 651383"/>
              <a:gd name="connsiteY29" fmla="*/ 167016 h 639468"/>
              <a:gd name="connsiteX30" fmla="*/ 325693 w 651383"/>
              <a:gd name="connsiteY30" fmla="*/ 0 h 639468"/>
              <a:gd name="connsiteX0" fmla="*/ 304720 w 651383"/>
              <a:gd name="connsiteY0" fmla="*/ 452535 h 639264"/>
              <a:gd name="connsiteX1" fmla="*/ 346664 w 651383"/>
              <a:gd name="connsiteY1" fmla="*/ 452535 h 639264"/>
              <a:gd name="connsiteX2" fmla="*/ 357778 w 651383"/>
              <a:gd name="connsiteY2" fmla="*/ 501481 h 639264"/>
              <a:gd name="connsiteX3" fmla="*/ 325692 w 651383"/>
              <a:gd name="connsiteY3" fmla="*/ 560565 h 639264"/>
              <a:gd name="connsiteX4" fmla="*/ 293606 w 651383"/>
              <a:gd name="connsiteY4" fmla="*/ 501481 h 639264"/>
              <a:gd name="connsiteX5" fmla="*/ 304720 w 651383"/>
              <a:gd name="connsiteY5" fmla="*/ 452535 h 639264"/>
              <a:gd name="connsiteX6" fmla="*/ 300597 w 651383"/>
              <a:gd name="connsiteY6" fmla="*/ 391711 h 639264"/>
              <a:gd name="connsiteX7" fmla="*/ 350787 w 651383"/>
              <a:gd name="connsiteY7" fmla="*/ 391711 h 639264"/>
              <a:gd name="connsiteX8" fmla="*/ 357778 w 651383"/>
              <a:gd name="connsiteY8" fmla="*/ 398729 h 639264"/>
              <a:gd name="connsiteX9" fmla="*/ 347561 w 651383"/>
              <a:gd name="connsiteY9" fmla="*/ 442457 h 639264"/>
              <a:gd name="connsiteX10" fmla="*/ 303466 w 651383"/>
              <a:gd name="connsiteY10" fmla="*/ 442457 h 639264"/>
              <a:gd name="connsiteX11" fmla="*/ 293607 w 651383"/>
              <a:gd name="connsiteY11" fmla="*/ 398729 h 639264"/>
              <a:gd name="connsiteX12" fmla="*/ 300597 w 651383"/>
              <a:gd name="connsiteY12" fmla="*/ 391711 h 639264"/>
              <a:gd name="connsiteX13" fmla="*/ 215361 w 651383"/>
              <a:gd name="connsiteY13" fmla="*/ 349060 h 639264"/>
              <a:gd name="connsiteX14" fmla="*/ 293127 w 651383"/>
              <a:gd name="connsiteY14" fmla="*/ 562776 h 639264"/>
              <a:gd name="connsiteX15" fmla="*/ 325692 w 651383"/>
              <a:gd name="connsiteY15" fmla="*/ 615120 h 639264"/>
              <a:gd name="connsiteX16" fmla="*/ 358256 w 651383"/>
              <a:gd name="connsiteY16" fmla="*/ 562776 h 639264"/>
              <a:gd name="connsiteX17" fmla="*/ 436022 w 651383"/>
              <a:gd name="connsiteY17" fmla="*/ 349061 h 639264"/>
              <a:gd name="connsiteX18" fmla="*/ 437188 w 651383"/>
              <a:gd name="connsiteY18" fmla="*/ 349503 h 639264"/>
              <a:gd name="connsiteX19" fmla="*/ 437311 w 651383"/>
              <a:gd name="connsiteY19" fmla="*/ 349060 h 639264"/>
              <a:gd name="connsiteX20" fmla="*/ 650296 w 651383"/>
              <a:gd name="connsiteY20" fmla="*/ 594470 h 639264"/>
              <a:gd name="connsiteX21" fmla="*/ 326614 w 651383"/>
              <a:gd name="connsiteY21" fmla="*/ 638328 h 639264"/>
              <a:gd name="connsiteX22" fmla="*/ 1088 w 651383"/>
              <a:gd name="connsiteY22" fmla="*/ 594470 h 639264"/>
              <a:gd name="connsiteX23" fmla="*/ 214072 w 651383"/>
              <a:gd name="connsiteY23" fmla="*/ 349061 h 639264"/>
              <a:gd name="connsiteX24" fmla="*/ 214196 w 651383"/>
              <a:gd name="connsiteY24" fmla="*/ 349502 h 639264"/>
              <a:gd name="connsiteX25" fmla="*/ 215361 w 651383"/>
              <a:gd name="connsiteY25" fmla="*/ 349060 h 639264"/>
              <a:gd name="connsiteX26" fmla="*/ 325693 w 651383"/>
              <a:gd name="connsiteY26" fmla="*/ 0 h 639264"/>
              <a:gd name="connsiteX27" fmla="*/ 492060 w 651383"/>
              <a:gd name="connsiteY27" fmla="*/ 167016 h 639264"/>
              <a:gd name="connsiteX28" fmla="*/ 325693 w 651383"/>
              <a:gd name="connsiteY28" fmla="*/ 334032 h 639264"/>
              <a:gd name="connsiteX29" fmla="*/ 159326 w 651383"/>
              <a:gd name="connsiteY29" fmla="*/ 167016 h 639264"/>
              <a:gd name="connsiteX30" fmla="*/ 325693 w 651383"/>
              <a:gd name="connsiteY30" fmla="*/ 0 h 639264"/>
              <a:gd name="connsiteX0" fmla="*/ 304720 w 651383"/>
              <a:gd name="connsiteY0" fmla="*/ 452535 h 639630"/>
              <a:gd name="connsiteX1" fmla="*/ 346664 w 651383"/>
              <a:gd name="connsiteY1" fmla="*/ 452535 h 639630"/>
              <a:gd name="connsiteX2" fmla="*/ 357778 w 651383"/>
              <a:gd name="connsiteY2" fmla="*/ 501481 h 639630"/>
              <a:gd name="connsiteX3" fmla="*/ 325692 w 651383"/>
              <a:gd name="connsiteY3" fmla="*/ 560565 h 639630"/>
              <a:gd name="connsiteX4" fmla="*/ 293606 w 651383"/>
              <a:gd name="connsiteY4" fmla="*/ 501481 h 639630"/>
              <a:gd name="connsiteX5" fmla="*/ 304720 w 651383"/>
              <a:gd name="connsiteY5" fmla="*/ 452535 h 639630"/>
              <a:gd name="connsiteX6" fmla="*/ 300597 w 651383"/>
              <a:gd name="connsiteY6" fmla="*/ 391711 h 639630"/>
              <a:gd name="connsiteX7" fmla="*/ 350787 w 651383"/>
              <a:gd name="connsiteY7" fmla="*/ 391711 h 639630"/>
              <a:gd name="connsiteX8" fmla="*/ 357778 w 651383"/>
              <a:gd name="connsiteY8" fmla="*/ 398729 h 639630"/>
              <a:gd name="connsiteX9" fmla="*/ 347561 w 651383"/>
              <a:gd name="connsiteY9" fmla="*/ 442457 h 639630"/>
              <a:gd name="connsiteX10" fmla="*/ 303466 w 651383"/>
              <a:gd name="connsiteY10" fmla="*/ 442457 h 639630"/>
              <a:gd name="connsiteX11" fmla="*/ 293607 w 651383"/>
              <a:gd name="connsiteY11" fmla="*/ 398729 h 639630"/>
              <a:gd name="connsiteX12" fmla="*/ 300597 w 651383"/>
              <a:gd name="connsiteY12" fmla="*/ 391711 h 639630"/>
              <a:gd name="connsiteX13" fmla="*/ 215361 w 651383"/>
              <a:gd name="connsiteY13" fmla="*/ 349060 h 639630"/>
              <a:gd name="connsiteX14" fmla="*/ 293127 w 651383"/>
              <a:gd name="connsiteY14" fmla="*/ 562776 h 639630"/>
              <a:gd name="connsiteX15" fmla="*/ 325692 w 651383"/>
              <a:gd name="connsiteY15" fmla="*/ 615120 h 639630"/>
              <a:gd name="connsiteX16" fmla="*/ 358256 w 651383"/>
              <a:gd name="connsiteY16" fmla="*/ 562776 h 639630"/>
              <a:gd name="connsiteX17" fmla="*/ 436022 w 651383"/>
              <a:gd name="connsiteY17" fmla="*/ 349061 h 639630"/>
              <a:gd name="connsiteX18" fmla="*/ 437188 w 651383"/>
              <a:gd name="connsiteY18" fmla="*/ 349503 h 639630"/>
              <a:gd name="connsiteX19" fmla="*/ 437311 w 651383"/>
              <a:gd name="connsiteY19" fmla="*/ 349060 h 639630"/>
              <a:gd name="connsiteX20" fmla="*/ 650296 w 651383"/>
              <a:gd name="connsiteY20" fmla="*/ 594470 h 639630"/>
              <a:gd name="connsiteX21" fmla="*/ 326614 w 651383"/>
              <a:gd name="connsiteY21" fmla="*/ 638328 h 639630"/>
              <a:gd name="connsiteX22" fmla="*/ 1088 w 651383"/>
              <a:gd name="connsiteY22" fmla="*/ 594470 h 639630"/>
              <a:gd name="connsiteX23" fmla="*/ 214072 w 651383"/>
              <a:gd name="connsiteY23" fmla="*/ 349061 h 639630"/>
              <a:gd name="connsiteX24" fmla="*/ 214196 w 651383"/>
              <a:gd name="connsiteY24" fmla="*/ 349502 h 639630"/>
              <a:gd name="connsiteX25" fmla="*/ 215361 w 651383"/>
              <a:gd name="connsiteY25" fmla="*/ 349060 h 639630"/>
              <a:gd name="connsiteX26" fmla="*/ 325693 w 651383"/>
              <a:gd name="connsiteY26" fmla="*/ 0 h 639630"/>
              <a:gd name="connsiteX27" fmla="*/ 492060 w 651383"/>
              <a:gd name="connsiteY27" fmla="*/ 167016 h 639630"/>
              <a:gd name="connsiteX28" fmla="*/ 325693 w 651383"/>
              <a:gd name="connsiteY28" fmla="*/ 334032 h 639630"/>
              <a:gd name="connsiteX29" fmla="*/ 159326 w 651383"/>
              <a:gd name="connsiteY29" fmla="*/ 167016 h 639630"/>
              <a:gd name="connsiteX30" fmla="*/ 325693 w 651383"/>
              <a:gd name="connsiteY30" fmla="*/ 0 h 639630"/>
              <a:gd name="connsiteX0" fmla="*/ 308997 w 655660"/>
              <a:gd name="connsiteY0" fmla="*/ 452535 h 639630"/>
              <a:gd name="connsiteX1" fmla="*/ 350941 w 655660"/>
              <a:gd name="connsiteY1" fmla="*/ 452535 h 639630"/>
              <a:gd name="connsiteX2" fmla="*/ 362055 w 655660"/>
              <a:gd name="connsiteY2" fmla="*/ 501481 h 639630"/>
              <a:gd name="connsiteX3" fmla="*/ 329969 w 655660"/>
              <a:gd name="connsiteY3" fmla="*/ 560565 h 639630"/>
              <a:gd name="connsiteX4" fmla="*/ 297883 w 655660"/>
              <a:gd name="connsiteY4" fmla="*/ 501481 h 639630"/>
              <a:gd name="connsiteX5" fmla="*/ 308997 w 655660"/>
              <a:gd name="connsiteY5" fmla="*/ 452535 h 639630"/>
              <a:gd name="connsiteX6" fmla="*/ 304874 w 655660"/>
              <a:gd name="connsiteY6" fmla="*/ 391711 h 639630"/>
              <a:gd name="connsiteX7" fmla="*/ 355064 w 655660"/>
              <a:gd name="connsiteY7" fmla="*/ 391711 h 639630"/>
              <a:gd name="connsiteX8" fmla="*/ 362055 w 655660"/>
              <a:gd name="connsiteY8" fmla="*/ 398729 h 639630"/>
              <a:gd name="connsiteX9" fmla="*/ 351838 w 655660"/>
              <a:gd name="connsiteY9" fmla="*/ 442457 h 639630"/>
              <a:gd name="connsiteX10" fmla="*/ 307743 w 655660"/>
              <a:gd name="connsiteY10" fmla="*/ 442457 h 639630"/>
              <a:gd name="connsiteX11" fmla="*/ 297884 w 655660"/>
              <a:gd name="connsiteY11" fmla="*/ 398729 h 639630"/>
              <a:gd name="connsiteX12" fmla="*/ 304874 w 655660"/>
              <a:gd name="connsiteY12" fmla="*/ 391711 h 639630"/>
              <a:gd name="connsiteX13" fmla="*/ 219638 w 655660"/>
              <a:gd name="connsiteY13" fmla="*/ 349060 h 639630"/>
              <a:gd name="connsiteX14" fmla="*/ 297404 w 655660"/>
              <a:gd name="connsiteY14" fmla="*/ 562776 h 639630"/>
              <a:gd name="connsiteX15" fmla="*/ 329969 w 655660"/>
              <a:gd name="connsiteY15" fmla="*/ 615120 h 639630"/>
              <a:gd name="connsiteX16" fmla="*/ 362533 w 655660"/>
              <a:gd name="connsiteY16" fmla="*/ 562776 h 639630"/>
              <a:gd name="connsiteX17" fmla="*/ 440299 w 655660"/>
              <a:gd name="connsiteY17" fmla="*/ 349061 h 639630"/>
              <a:gd name="connsiteX18" fmla="*/ 441465 w 655660"/>
              <a:gd name="connsiteY18" fmla="*/ 349503 h 639630"/>
              <a:gd name="connsiteX19" fmla="*/ 441588 w 655660"/>
              <a:gd name="connsiteY19" fmla="*/ 349060 h 639630"/>
              <a:gd name="connsiteX20" fmla="*/ 654573 w 655660"/>
              <a:gd name="connsiteY20" fmla="*/ 594470 h 639630"/>
              <a:gd name="connsiteX21" fmla="*/ 330891 w 655660"/>
              <a:gd name="connsiteY21" fmla="*/ 638328 h 639630"/>
              <a:gd name="connsiteX22" fmla="*/ 5365 w 655660"/>
              <a:gd name="connsiteY22" fmla="*/ 594470 h 639630"/>
              <a:gd name="connsiteX23" fmla="*/ 218349 w 655660"/>
              <a:gd name="connsiteY23" fmla="*/ 349061 h 639630"/>
              <a:gd name="connsiteX24" fmla="*/ 218473 w 655660"/>
              <a:gd name="connsiteY24" fmla="*/ 349502 h 639630"/>
              <a:gd name="connsiteX25" fmla="*/ 219638 w 655660"/>
              <a:gd name="connsiteY25" fmla="*/ 349060 h 639630"/>
              <a:gd name="connsiteX26" fmla="*/ 329970 w 655660"/>
              <a:gd name="connsiteY26" fmla="*/ 0 h 639630"/>
              <a:gd name="connsiteX27" fmla="*/ 496337 w 655660"/>
              <a:gd name="connsiteY27" fmla="*/ 167016 h 639630"/>
              <a:gd name="connsiteX28" fmla="*/ 329970 w 655660"/>
              <a:gd name="connsiteY28" fmla="*/ 334032 h 639630"/>
              <a:gd name="connsiteX29" fmla="*/ 163603 w 655660"/>
              <a:gd name="connsiteY29" fmla="*/ 167016 h 639630"/>
              <a:gd name="connsiteX30" fmla="*/ 329970 w 655660"/>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8612"/>
              <a:gd name="connsiteX1" fmla="*/ 350941 w 659738"/>
              <a:gd name="connsiteY1" fmla="*/ 452535 h 638612"/>
              <a:gd name="connsiteX2" fmla="*/ 362055 w 659738"/>
              <a:gd name="connsiteY2" fmla="*/ 501481 h 638612"/>
              <a:gd name="connsiteX3" fmla="*/ 329969 w 659738"/>
              <a:gd name="connsiteY3" fmla="*/ 560565 h 638612"/>
              <a:gd name="connsiteX4" fmla="*/ 297883 w 659738"/>
              <a:gd name="connsiteY4" fmla="*/ 501481 h 638612"/>
              <a:gd name="connsiteX5" fmla="*/ 308997 w 659738"/>
              <a:gd name="connsiteY5" fmla="*/ 452535 h 638612"/>
              <a:gd name="connsiteX6" fmla="*/ 304874 w 659738"/>
              <a:gd name="connsiteY6" fmla="*/ 391711 h 638612"/>
              <a:gd name="connsiteX7" fmla="*/ 355064 w 659738"/>
              <a:gd name="connsiteY7" fmla="*/ 391711 h 638612"/>
              <a:gd name="connsiteX8" fmla="*/ 362055 w 659738"/>
              <a:gd name="connsiteY8" fmla="*/ 398729 h 638612"/>
              <a:gd name="connsiteX9" fmla="*/ 351838 w 659738"/>
              <a:gd name="connsiteY9" fmla="*/ 442457 h 638612"/>
              <a:gd name="connsiteX10" fmla="*/ 307743 w 659738"/>
              <a:gd name="connsiteY10" fmla="*/ 442457 h 638612"/>
              <a:gd name="connsiteX11" fmla="*/ 297884 w 659738"/>
              <a:gd name="connsiteY11" fmla="*/ 398729 h 638612"/>
              <a:gd name="connsiteX12" fmla="*/ 304874 w 659738"/>
              <a:gd name="connsiteY12" fmla="*/ 391711 h 638612"/>
              <a:gd name="connsiteX13" fmla="*/ 219638 w 659738"/>
              <a:gd name="connsiteY13" fmla="*/ 349060 h 638612"/>
              <a:gd name="connsiteX14" fmla="*/ 297404 w 659738"/>
              <a:gd name="connsiteY14" fmla="*/ 562776 h 638612"/>
              <a:gd name="connsiteX15" fmla="*/ 329969 w 659738"/>
              <a:gd name="connsiteY15" fmla="*/ 615120 h 638612"/>
              <a:gd name="connsiteX16" fmla="*/ 362533 w 659738"/>
              <a:gd name="connsiteY16" fmla="*/ 562776 h 638612"/>
              <a:gd name="connsiteX17" fmla="*/ 440299 w 659738"/>
              <a:gd name="connsiteY17" fmla="*/ 349061 h 638612"/>
              <a:gd name="connsiteX18" fmla="*/ 441465 w 659738"/>
              <a:gd name="connsiteY18" fmla="*/ 349503 h 638612"/>
              <a:gd name="connsiteX19" fmla="*/ 441588 w 659738"/>
              <a:gd name="connsiteY19" fmla="*/ 349060 h 638612"/>
              <a:gd name="connsiteX20" fmla="*/ 654573 w 659738"/>
              <a:gd name="connsiteY20" fmla="*/ 594470 h 638612"/>
              <a:gd name="connsiteX21" fmla="*/ 330891 w 659738"/>
              <a:gd name="connsiteY21" fmla="*/ 638328 h 638612"/>
              <a:gd name="connsiteX22" fmla="*/ 5365 w 659738"/>
              <a:gd name="connsiteY22" fmla="*/ 594470 h 638612"/>
              <a:gd name="connsiteX23" fmla="*/ 218349 w 659738"/>
              <a:gd name="connsiteY23" fmla="*/ 349061 h 638612"/>
              <a:gd name="connsiteX24" fmla="*/ 218473 w 659738"/>
              <a:gd name="connsiteY24" fmla="*/ 349502 h 638612"/>
              <a:gd name="connsiteX25" fmla="*/ 219638 w 659738"/>
              <a:gd name="connsiteY25" fmla="*/ 349060 h 638612"/>
              <a:gd name="connsiteX26" fmla="*/ 329970 w 659738"/>
              <a:gd name="connsiteY26" fmla="*/ 0 h 638612"/>
              <a:gd name="connsiteX27" fmla="*/ 496337 w 659738"/>
              <a:gd name="connsiteY27" fmla="*/ 167016 h 638612"/>
              <a:gd name="connsiteX28" fmla="*/ 329970 w 659738"/>
              <a:gd name="connsiteY28" fmla="*/ 334032 h 638612"/>
              <a:gd name="connsiteX29" fmla="*/ 163603 w 659738"/>
              <a:gd name="connsiteY29" fmla="*/ 167016 h 638612"/>
              <a:gd name="connsiteX30" fmla="*/ 329970 w 659738"/>
              <a:gd name="connsiteY30" fmla="*/ 0 h 638612"/>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362533 w 659738"/>
              <a:gd name="connsiteY16" fmla="*/ 562776 h 638333"/>
              <a:gd name="connsiteX17" fmla="*/ 440299 w 659738"/>
              <a:gd name="connsiteY17" fmla="*/ 349061 h 638333"/>
              <a:gd name="connsiteX18" fmla="*/ 441465 w 659738"/>
              <a:gd name="connsiteY18" fmla="*/ 349503 h 638333"/>
              <a:gd name="connsiteX19" fmla="*/ 441588 w 659738"/>
              <a:gd name="connsiteY19" fmla="*/ 349060 h 638333"/>
              <a:gd name="connsiteX20" fmla="*/ 654573 w 659738"/>
              <a:gd name="connsiteY20" fmla="*/ 594470 h 638333"/>
              <a:gd name="connsiteX21" fmla="*/ 330891 w 659738"/>
              <a:gd name="connsiteY21" fmla="*/ 638328 h 638333"/>
              <a:gd name="connsiteX22" fmla="*/ 5365 w 659738"/>
              <a:gd name="connsiteY22" fmla="*/ 594470 h 638333"/>
              <a:gd name="connsiteX23" fmla="*/ 218349 w 659738"/>
              <a:gd name="connsiteY23" fmla="*/ 349061 h 638333"/>
              <a:gd name="connsiteX24" fmla="*/ 218473 w 659738"/>
              <a:gd name="connsiteY24" fmla="*/ 349502 h 638333"/>
              <a:gd name="connsiteX25" fmla="*/ 219638 w 659738"/>
              <a:gd name="connsiteY25" fmla="*/ 349060 h 638333"/>
              <a:gd name="connsiteX26" fmla="*/ 329970 w 659738"/>
              <a:gd name="connsiteY26" fmla="*/ 0 h 638333"/>
              <a:gd name="connsiteX27" fmla="*/ 496337 w 659738"/>
              <a:gd name="connsiteY27" fmla="*/ 167016 h 638333"/>
              <a:gd name="connsiteX28" fmla="*/ 329970 w 659738"/>
              <a:gd name="connsiteY28" fmla="*/ 334032 h 638333"/>
              <a:gd name="connsiteX29" fmla="*/ 163603 w 659738"/>
              <a:gd name="connsiteY29" fmla="*/ 167016 h 638333"/>
              <a:gd name="connsiteX30" fmla="*/ 329970 w 659738"/>
              <a:gd name="connsiteY30"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440299 w 659738"/>
              <a:gd name="connsiteY16" fmla="*/ 349061 h 638333"/>
              <a:gd name="connsiteX17" fmla="*/ 441465 w 659738"/>
              <a:gd name="connsiteY17" fmla="*/ 349503 h 638333"/>
              <a:gd name="connsiteX18" fmla="*/ 441588 w 659738"/>
              <a:gd name="connsiteY18" fmla="*/ 349060 h 638333"/>
              <a:gd name="connsiteX19" fmla="*/ 654573 w 659738"/>
              <a:gd name="connsiteY19" fmla="*/ 594470 h 638333"/>
              <a:gd name="connsiteX20" fmla="*/ 330891 w 659738"/>
              <a:gd name="connsiteY20" fmla="*/ 638328 h 638333"/>
              <a:gd name="connsiteX21" fmla="*/ 5365 w 659738"/>
              <a:gd name="connsiteY21" fmla="*/ 594470 h 638333"/>
              <a:gd name="connsiteX22" fmla="*/ 218349 w 659738"/>
              <a:gd name="connsiteY22" fmla="*/ 349061 h 638333"/>
              <a:gd name="connsiteX23" fmla="*/ 218473 w 659738"/>
              <a:gd name="connsiteY23" fmla="*/ 349502 h 638333"/>
              <a:gd name="connsiteX24" fmla="*/ 219638 w 659738"/>
              <a:gd name="connsiteY24" fmla="*/ 349060 h 638333"/>
              <a:gd name="connsiteX25" fmla="*/ 329970 w 659738"/>
              <a:gd name="connsiteY25" fmla="*/ 0 h 638333"/>
              <a:gd name="connsiteX26" fmla="*/ 496337 w 659738"/>
              <a:gd name="connsiteY26" fmla="*/ 167016 h 638333"/>
              <a:gd name="connsiteX27" fmla="*/ 329970 w 659738"/>
              <a:gd name="connsiteY27" fmla="*/ 334032 h 638333"/>
              <a:gd name="connsiteX28" fmla="*/ 163603 w 659738"/>
              <a:gd name="connsiteY28" fmla="*/ 167016 h 638333"/>
              <a:gd name="connsiteX29" fmla="*/ 329970 w 659738"/>
              <a:gd name="connsiteY29"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473 w 659738"/>
              <a:gd name="connsiteY13" fmla="*/ 349502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329970 w 659738"/>
              <a:gd name="connsiteY23" fmla="*/ 0 h 638333"/>
              <a:gd name="connsiteX24" fmla="*/ 496337 w 659738"/>
              <a:gd name="connsiteY24" fmla="*/ 167016 h 638333"/>
              <a:gd name="connsiteX25" fmla="*/ 329970 w 659738"/>
              <a:gd name="connsiteY25" fmla="*/ 334032 h 638333"/>
              <a:gd name="connsiteX26" fmla="*/ 163603 w 659738"/>
              <a:gd name="connsiteY26" fmla="*/ 167016 h 638333"/>
              <a:gd name="connsiteX27" fmla="*/ 329970 w 659738"/>
              <a:gd name="connsiteY27"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329970 w 659738"/>
              <a:gd name="connsiteY22" fmla="*/ 0 h 638333"/>
              <a:gd name="connsiteX23" fmla="*/ 496337 w 659738"/>
              <a:gd name="connsiteY23" fmla="*/ 167016 h 638333"/>
              <a:gd name="connsiteX24" fmla="*/ 329970 w 659738"/>
              <a:gd name="connsiteY24" fmla="*/ 334032 h 638333"/>
              <a:gd name="connsiteX25" fmla="*/ 163603 w 659738"/>
              <a:gd name="connsiteY25" fmla="*/ 167016 h 638333"/>
              <a:gd name="connsiteX26" fmla="*/ 329970 w 659738"/>
              <a:gd name="connsiteY26"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465 w 659738"/>
              <a:gd name="connsiteY15" fmla="*/ 349503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25788 w 659738"/>
              <a:gd name="connsiteY15" fmla="*/ 360876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9738" h="638333">
                <a:moveTo>
                  <a:pt x="308997" y="452535"/>
                </a:moveTo>
                <a:lnTo>
                  <a:pt x="350941" y="452535"/>
                </a:lnTo>
                <a:lnTo>
                  <a:pt x="362055" y="501481"/>
                </a:lnTo>
                <a:lnTo>
                  <a:pt x="329969" y="560565"/>
                </a:lnTo>
                <a:lnTo>
                  <a:pt x="297883" y="501481"/>
                </a:lnTo>
                <a:lnTo>
                  <a:pt x="308997" y="452535"/>
                </a:lnTo>
                <a:close/>
                <a:moveTo>
                  <a:pt x="304874" y="391711"/>
                </a:moveTo>
                <a:lnTo>
                  <a:pt x="355064" y="391711"/>
                </a:lnTo>
                <a:cubicBezTo>
                  <a:pt x="358925" y="391711"/>
                  <a:pt x="362055" y="394853"/>
                  <a:pt x="362055" y="398729"/>
                </a:cubicBezTo>
                <a:lnTo>
                  <a:pt x="351838" y="442457"/>
                </a:lnTo>
                <a:lnTo>
                  <a:pt x="307743" y="442457"/>
                </a:lnTo>
                <a:cubicBezTo>
                  <a:pt x="305383" y="433010"/>
                  <a:pt x="297884" y="407187"/>
                  <a:pt x="297884" y="398729"/>
                </a:cubicBezTo>
                <a:cubicBezTo>
                  <a:pt x="297884" y="394853"/>
                  <a:pt x="301014" y="391711"/>
                  <a:pt x="304874" y="391711"/>
                </a:cubicBezTo>
                <a:close/>
                <a:moveTo>
                  <a:pt x="218349" y="349061"/>
                </a:moveTo>
                <a:cubicBezTo>
                  <a:pt x="257081" y="529863"/>
                  <a:pt x="308960" y="576082"/>
                  <a:pt x="329969" y="615120"/>
                </a:cubicBezTo>
                <a:cubicBezTo>
                  <a:pt x="349655" y="575467"/>
                  <a:pt x="393941" y="542464"/>
                  <a:pt x="441588" y="349060"/>
                </a:cubicBezTo>
                <a:cubicBezTo>
                  <a:pt x="703339" y="414871"/>
                  <a:pt x="658201" y="579236"/>
                  <a:pt x="654573" y="594470"/>
                </a:cubicBezTo>
                <a:cubicBezTo>
                  <a:pt x="594704" y="617591"/>
                  <a:pt x="474595" y="638731"/>
                  <a:pt x="330891" y="638328"/>
                </a:cubicBezTo>
                <a:cubicBezTo>
                  <a:pt x="187187" y="637925"/>
                  <a:pt x="113335" y="617004"/>
                  <a:pt x="5365" y="594470"/>
                </a:cubicBezTo>
                <a:cubicBezTo>
                  <a:pt x="1275" y="572551"/>
                  <a:pt x="-43401" y="414872"/>
                  <a:pt x="218349" y="349061"/>
                </a:cubicBezTo>
                <a:close/>
                <a:moveTo>
                  <a:pt x="329970" y="0"/>
                </a:moveTo>
                <a:cubicBezTo>
                  <a:pt x="421852" y="0"/>
                  <a:pt x="496337" y="74776"/>
                  <a:pt x="496337" y="167016"/>
                </a:cubicBezTo>
                <a:cubicBezTo>
                  <a:pt x="496337" y="259256"/>
                  <a:pt x="421852" y="334032"/>
                  <a:pt x="329970" y="334032"/>
                </a:cubicBezTo>
                <a:cubicBezTo>
                  <a:pt x="238088" y="334032"/>
                  <a:pt x="163603" y="259256"/>
                  <a:pt x="163603" y="167016"/>
                </a:cubicBezTo>
                <a:cubicBezTo>
                  <a:pt x="163603" y="74776"/>
                  <a:pt x="238088" y="0"/>
                  <a:pt x="3299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C617B38B-F062-4080-A41D-3391167DCD80}"/>
              </a:ext>
            </a:extLst>
          </p:cNvPr>
          <p:cNvSpPr/>
          <p:nvPr/>
        </p:nvSpPr>
        <p:spPr>
          <a:xfrm>
            <a:off x="494075" y="2358105"/>
            <a:ext cx="3383280" cy="1846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Inability to quickly and reliably support the business when dealing with scale, and variety of data sources and types</a:t>
            </a:r>
            <a:endParaRPr kumimoji="0" lang="en-US" sz="1100" b="1"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Often spends too much time on updating/reprocessing a search index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Often deals with a messy array of internal siloed applications that they need to navigat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solidFill>
                  <a:srgbClr val="505050">
                    <a:lumMod val="50000"/>
                  </a:srgbClr>
                </a:solidFill>
                <a:latin typeface="Segoe UI"/>
                <a:ea typeface="Segoe UI Semilight" charset="0"/>
                <a:cs typeface="Segoe UI Semilight" charset="0"/>
              </a:rPr>
              <a:t>Lack of reliable technology to correlate data that scales</a:t>
            </a:r>
            <a:endPar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endParaRPr>
          </a:p>
        </p:txBody>
      </p:sp>
      <p:sp>
        <p:nvSpPr>
          <p:cNvPr id="43" name="TextBox 42">
            <a:extLst>
              <a:ext uri="{FF2B5EF4-FFF2-40B4-BE49-F238E27FC236}">
                <a16:creationId xmlns:a16="http://schemas.microsoft.com/office/drawing/2014/main" id="{960D876B-E1E0-4366-B073-2B474573F928}"/>
              </a:ext>
            </a:extLst>
          </p:cNvPr>
          <p:cNvSpPr txBox="1"/>
          <p:nvPr/>
        </p:nvSpPr>
        <p:spPr>
          <a:xfrm>
            <a:off x="7830206" y="2336286"/>
            <a:ext cx="3722671" cy="1846659"/>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Wants to increase the pace of the business, and sorting through information is the bottlenec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Wants to avoid investing headcount and resources on manual tasks to process, store, and categorize archival or unstructured inform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solidFill>
                  <a:srgbClr val="505050">
                    <a:lumMod val="50000"/>
                  </a:srgbClr>
                </a:solidFill>
                <a:latin typeface="Segoe UI"/>
                <a:ea typeface="Segoe UI Semilight" charset="0"/>
                <a:cs typeface="Segoe UI Semilight" charset="0"/>
              </a:rPr>
              <a:t>Needs to combine internal and third-party enrichment data to gain better insights</a:t>
            </a:r>
            <a:endPar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Seeks competitive AI advantage, but struggling to understand how to integrate AI into their business </a:t>
            </a: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2984D358-E34C-43FF-ABA5-B72CCD878747}"/>
              </a:ext>
            </a:extLst>
          </p:cNvPr>
          <p:cNvSpPr/>
          <p:nvPr/>
        </p:nvSpPr>
        <p:spPr>
          <a:xfrm>
            <a:off x="535711" y="4611708"/>
            <a:ext cx="3383280" cy="1769715"/>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Segoe UI Semilight" charset="0"/>
                <a:cs typeface="Segoe UI Semilight" charset="0"/>
              </a:rPr>
              <a:t>Can configure ASAP rather than having to code, increasing productiv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505050">
                    <a:lumMod val="50000"/>
                  </a:srgbClr>
                </a:solidFill>
                <a:effectLst/>
                <a:uLnTx/>
                <a:uFillTx/>
                <a:latin typeface="Segoe UI"/>
                <a:ea typeface="+mn-ea"/>
                <a:cs typeface="Segoe UI Semilight" charset="0"/>
              </a:rPr>
              <a:t>Trouble accessing budget, focus on finding valu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i="0" u="none" strike="noStrike" kern="0" cap="none" spc="0" normalizeH="0" baseline="0" noProof="0">
                <a:ln>
                  <a:noFill/>
                </a:ln>
                <a:solidFill>
                  <a:srgbClr val="505050">
                    <a:lumMod val="50000"/>
                  </a:srgbClr>
                </a:solidFill>
                <a:effectLst/>
                <a:uLnTx/>
                <a:uFillTx/>
                <a:latin typeface="Segoe UI"/>
                <a:ea typeface="+mn-ea"/>
                <a:cs typeface="Segoe UI Semilight" charset="0"/>
              </a:rPr>
              <a:t>Focus on</a:t>
            </a:r>
            <a:r>
              <a:rPr kumimoji="0" lang="en-US" sz="1100" b="0" i="0" u="none" strike="noStrike" kern="0" cap="none" spc="0" normalizeH="0" baseline="0" noProof="0">
                <a:ln>
                  <a:noFill/>
                </a:ln>
                <a:solidFill>
                  <a:srgbClr val="505050">
                    <a:lumMod val="50000"/>
                  </a:srgbClr>
                </a:solidFill>
                <a:effectLst/>
                <a:uLnTx/>
                <a:uFillTx/>
                <a:latin typeface="Segoe UI"/>
                <a:ea typeface="+mn-ea"/>
                <a:cs typeface="Segoe UI Semilight" charset="0"/>
              </a:rPr>
              <a:t>: the investments in the ingestion, enrichment, AND indexing “out-of-the-box” solution, how the value is in having one solution that does it all end-to-end to save time and is easy to configure vs. a painful connection of different solutions</a:t>
            </a:r>
          </a:p>
        </p:txBody>
      </p:sp>
      <p:sp>
        <p:nvSpPr>
          <p:cNvPr id="45" name="Rectangle 44">
            <a:extLst>
              <a:ext uri="{FF2B5EF4-FFF2-40B4-BE49-F238E27FC236}">
                <a16:creationId xmlns:a16="http://schemas.microsoft.com/office/drawing/2014/main" id="{5B59D334-D216-4D56-9E2E-FE5ED5E8EA23}"/>
              </a:ext>
            </a:extLst>
          </p:cNvPr>
          <p:cNvSpPr/>
          <p:nvPr/>
        </p:nvSpPr>
        <p:spPr>
          <a:xfrm>
            <a:off x="7871843" y="4611708"/>
            <a:ext cx="3742404" cy="1938992"/>
          </a:xfrm>
          <a:prstGeom prst="rect">
            <a:avLst/>
          </a:prstGeom>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505050">
                    <a:lumMod val="50000"/>
                  </a:srgbClr>
                </a:solidFill>
                <a:effectLst/>
                <a:uLnTx/>
                <a:uFillTx/>
                <a:latin typeface="Segoe UI"/>
                <a:ea typeface="+mn-ea"/>
                <a:cs typeface="Segoe UI Semilight" charset="0"/>
              </a:rPr>
              <a:t>Knowledge Mining is an AI solution that grows with you. Instantly access the large and rich Azure AI ecosystem now and add layers of sophistication lat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505050">
                    <a:lumMod val="50000"/>
                  </a:srgbClr>
                </a:solidFill>
                <a:effectLst/>
                <a:uLnTx/>
                <a:uFillTx/>
                <a:latin typeface="Segoe UI"/>
                <a:ea typeface="+mn-ea"/>
                <a:cs typeface="Segoe UI Semilight" charset="0"/>
              </a:rPr>
              <a:t>Can be applied to solve a variety of business problems, internal and external</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505050">
                    <a:lumMod val="50000"/>
                  </a:srgbClr>
                </a:solidFill>
                <a:effectLst/>
                <a:uLnTx/>
                <a:uFillTx/>
                <a:latin typeface="Segoe UI"/>
                <a:ea typeface="+mn-ea"/>
                <a:cs typeface="Segoe UI Semilight" charset="0"/>
              </a:rPr>
              <a:t>Saves money for the company by reducing time employees are searching for business-critical information, automating redundant tasks, and eliminating the need for teams to process unstructured data</a:t>
            </a:r>
          </a:p>
        </p:txBody>
      </p:sp>
      <p:sp>
        <p:nvSpPr>
          <p:cNvPr id="50" name="Rectangle 49">
            <a:extLst>
              <a:ext uri="{FF2B5EF4-FFF2-40B4-BE49-F238E27FC236}">
                <a16:creationId xmlns:a16="http://schemas.microsoft.com/office/drawing/2014/main" id="{11719F23-A52D-4E34-8EF3-E5180EC75D46}"/>
              </a:ext>
            </a:extLst>
          </p:cNvPr>
          <p:cNvSpPr/>
          <p:nvPr/>
        </p:nvSpPr>
        <p:spPr bwMode="auto">
          <a:xfrm>
            <a:off x="535857" y="4242075"/>
            <a:ext cx="11024510" cy="33450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Knowledge Mining Benefits</a:t>
            </a:r>
          </a:p>
        </p:txBody>
      </p:sp>
      <p:sp>
        <p:nvSpPr>
          <p:cNvPr id="55" name="Rectangle 54">
            <a:extLst>
              <a:ext uri="{FF2B5EF4-FFF2-40B4-BE49-F238E27FC236}">
                <a16:creationId xmlns:a16="http://schemas.microsoft.com/office/drawing/2014/main" id="{EFC4A382-9BFF-45B5-B7E9-1E1E98FCA6CA}"/>
              </a:ext>
            </a:extLst>
          </p:cNvPr>
          <p:cNvSpPr/>
          <p:nvPr/>
        </p:nvSpPr>
        <p:spPr bwMode="auto">
          <a:xfrm>
            <a:off x="578305" y="2041911"/>
            <a:ext cx="10974572" cy="31619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ain Points</a:t>
            </a:r>
          </a:p>
        </p:txBody>
      </p:sp>
      <p:sp>
        <p:nvSpPr>
          <p:cNvPr id="4" name="TextBox 3">
            <a:extLst>
              <a:ext uri="{FF2B5EF4-FFF2-40B4-BE49-F238E27FC236}">
                <a16:creationId xmlns:a16="http://schemas.microsoft.com/office/drawing/2014/main" id="{F7CE6A5E-F969-430B-9924-365BD38F08A4}"/>
              </a:ext>
            </a:extLst>
          </p:cNvPr>
          <p:cNvSpPr txBox="1"/>
          <p:nvPr/>
        </p:nvSpPr>
        <p:spPr>
          <a:xfrm>
            <a:off x="4212864" y="4559370"/>
            <a:ext cx="3383280" cy="1261884"/>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rPr>
              <a:t>Orchestrate custom AI models and run updates only on the section of the solution you ne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rPr>
              <a:t>Azure Search is built for the scale and performance needs of enterprises, with advanced security and privacy featur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solidFill>
                  <a:srgbClr val="505050">
                    <a:lumMod val="50000"/>
                  </a:srgbClr>
                </a:solidFill>
                <a:latin typeface="Segoe UI"/>
                <a:cs typeface="Segoe UI Semilight" panose="020B0402040204020203" pitchFamily="34" charset="0"/>
              </a:rPr>
              <a:t>Pre-built indexing and data loading capabilities</a:t>
            </a:r>
            <a:endPar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endParaRPr>
          </a:p>
        </p:txBody>
      </p:sp>
      <p:sp>
        <p:nvSpPr>
          <p:cNvPr id="5" name="TextBox 4">
            <a:extLst>
              <a:ext uri="{FF2B5EF4-FFF2-40B4-BE49-F238E27FC236}">
                <a16:creationId xmlns:a16="http://schemas.microsoft.com/office/drawing/2014/main" id="{4C1D77DA-B27F-43DE-A0E5-816009DEF337}"/>
              </a:ext>
            </a:extLst>
          </p:cNvPr>
          <p:cNvSpPr txBox="1"/>
          <p:nvPr/>
        </p:nvSpPr>
        <p:spPr>
          <a:xfrm>
            <a:off x="4134098" y="2368513"/>
            <a:ext cx="3383280" cy="1892826"/>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rPr>
              <a:t>Combining demands for performance with needs of business us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rPr>
              <a:t>Managing security and governance concerns for data across all environments and forma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rPr>
              <a:t>Speed of projects from roll out to produc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a:solidFill>
                  <a:srgbClr val="505050">
                    <a:lumMod val="50000"/>
                  </a:srgbClr>
                </a:solidFill>
                <a:latin typeface="Segoe UI"/>
                <a:cs typeface="Segoe UI Semilight" panose="020B0402040204020203" pitchFamily="34" charset="0"/>
              </a:rPr>
              <a:t>Challenges combining structured and unstructured data from multiple sources</a:t>
            </a:r>
            <a:endParaRPr kumimoji="0" lang="en-US" sz="1100" b="0" i="0" u="none" strike="noStrike" kern="1200" cap="none" spc="0" normalizeH="0" baseline="0" noProof="0">
              <a:ln>
                <a:noFill/>
              </a:ln>
              <a:solidFill>
                <a:srgbClr val="505050">
                  <a:lumMod val="50000"/>
                </a:srgbClr>
              </a:solidFill>
              <a:effectLst/>
              <a:uLnTx/>
              <a:uFillTx/>
              <a:latin typeface="Segoe UI"/>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5A6F2291-BF29-4BCA-97B3-D7243843DAFB}"/>
              </a:ext>
            </a:extLst>
          </p:cNvPr>
          <p:cNvCxnSpPr>
            <a:cxnSpLocks/>
          </p:cNvCxnSpPr>
          <p:nvPr/>
        </p:nvCxnSpPr>
        <p:spPr>
          <a:xfrm>
            <a:off x="4088687" y="1843258"/>
            <a:ext cx="0" cy="4730231"/>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F8D14F6-B545-4180-BB10-BE32FDCD1D9D}"/>
              </a:ext>
            </a:extLst>
          </p:cNvPr>
          <p:cNvCxnSpPr>
            <a:cxnSpLocks/>
          </p:cNvCxnSpPr>
          <p:nvPr/>
        </p:nvCxnSpPr>
        <p:spPr>
          <a:xfrm>
            <a:off x="7811359" y="1843258"/>
            <a:ext cx="18848" cy="4734829"/>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itle 2">
            <a:extLst>
              <a:ext uri="{FF2B5EF4-FFF2-40B4-BE49-F238E27FC236}">
                <a16:creationId xmlns:a16="http://schemas.microsoft.com/office/drawing/2014/main" id="{D7094F31-7631-4BCE-9E02-64097A9DCC78}"/>
              </a:ext>
            </a:extLst>
          </p:cNvPr>
          <p:cNvSpPr>
            <a:spLocks noGrp="1"/>
          </p:cNvSpPr>
          <p:nvPr>
            <p:ph type="title"/>
          </p:nvPr>
        </p:nvSpPr>
        <p:spPr>
          <a:xfrm>
            <a:off x="231360" y="568194"/>
            <a:ext cx="10342044" cy="1106566"/>
          </a:xfrm>
        </p:spPr>
        <p:txBody>
          <a:bodyPr/>
          <a:lstStyle/>
          <a:p>
            <a:r>
              <a:rPr lang="en-US" sz="4400" b="1">
                <a:solidFill>
                  <a:schemeClr val="tx1"/>
                </a:solidFill>
              </a:rPr>
              <a:t>Customer Conversation Guide</a:t>
            </a:r>
          </a:p>
        </p:txBody>
      </p:sp>
    </p:spTree>
    <p:extLst>
      <p:ext uri="{BB962C8B-B14F-4D97-AF65-F5344CB8AC3E}">
        <p14:creationId xmlns:p14="http://schemas.microsoft.com/office/powerpoint/2010/main" val="375316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EEB5CD-50E6-487F-BBF7-A83170A60906}"/>
              </a:ext>
            </a:extLst>
          </p:cNvPr>
          <p:cNvSpPr>
            <a:spLocks noGrp="1"/>
          </p:cNvSpPr>
          <p:nvPr>
            <p:ph type="title"/>
          </p:nvPr>
        </p:nvSpPr>
        <p:spPr>
          <a:xfrm>
            <a:off x="231360" y="569634"/>
            <a:ext cx="11655840" cy="1105126"/>
          </a:xfrm>
        </p:spPr>
        <p:txBody>
          <a:bodyPr/>
          <a:lstStyle/>
          <a:p>
            <a:r>
              <a:rPr lang="en-US" sz="4400" b="1">
                <a:solidFill>
                  <a:srgbClr val="505050"/>
                </a:solidFill>
              </a:rPr>
              <a:t>Account Qualification and Key Questions</a:t>
            </a:r>
          </a:p>
        </p:txBody>
      </p:sp>
      <p:sp>
        <p:nvSpPr>
          <p:cNvPr id="67" name="Rectangle 66">
            <a:extLst>
              <a:ext uri="{FF2B5EF4-FFF2-40B4-BE49-F238E27FC236}">
                <a16:creationId xmlns:a16="http://schemas.microsoft.com/office/drawing/2014/main" id="{E29B9577-FA75-47D1-BF75-DC83BC95F305}"/>
              </a:ext>
            </a:extLst>
          </p:cNvPr>
          <p:cNvSpPr/>
          <p:nvPr/>
        </p:nvSpPr>
        <p:spPr>
          <a:xfrm>
            <a:off x="1516334" y="3978532"/>
            <a:ext cx="1188720" cy="3139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Need</a:t>
            </a:r>
            <a:endParaRPr kumimoji="0" lang="en-US" sz="18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charset="0"/>
              <a:ea typeface="Segoe UI Semibold" charset="0"/>
              <a:cs typeface="Segoe UI Semibold" charset="0"/>
            </a:endParaRPr>
          </a:p>
        </p:txBody>
      </p:sp>
      <p:sp>
        <p:nvSpPr>
          <p:cNvPr id="68" name="Rectangle 67">
            <a:extLst>
              <a:ext uri="{FF2B5EF4-FFF2-40B4-BE49-F238E27FC236}">
                <a16:creationId xmlns:a16="http://schemas.microsoft.com/office/drawing/2014/main" id="{D64522EE-1E87-419E-BE54-9DC76A040614}"/>
              </a:ext>
            </a:extLst>
          </p:cNvPr>
          <p:cNvSpPr/>
          <p:nvPr/>
        </p:nvSpPr>
        <p:spPr>
          <a:xfrm>
            <a:off x="1516333" y="1531175"/>
            <a:ext cx="118872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Budget</a:t>
            </a:r>
          </a:p>
        </p:txBody>
      </p:sp>
      <p:sp>
        <p:nvSpPr>
          <p:cNvPr id="69" name="Rectangle 68">
            <a:extLst>
              <a:ext uri="{FF2B5EF4-FFF2-40B4-BE49-F238E27FC236}">
                <a16:creationId xmlns:a16="http://schemas.microsoft.com/office/drawing/2014/main" id="{DF976BBB-C604-4643-AE2A-075E19AAFBD0}"/>
              </a:ext>
            </a:extLst>
          </p:cNvPr>
          <p:cNvSpPr/>
          <p:nvPr/>
        </p:nvSpPr>
        <p:spPr>
          <a:xfrm>
            <a:off x="1516334" y="2225906"/>
            <a:ext cx="118872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Authority</a:t>
            </a:r>
            <a:endParaRPr kumimoji="0" lang="en-US" sz="1600" b="0" i="0" u="none" strike="noStrike" kern="1200" cap="none" spc="0" normalizeH="0" baseline="0" noProof="0">
              <a:ln>
                <a:noFill/>
              </a:ln>
              <a:solidFill>
                <a:srgbClr val="0078D7"/>
              </a:solidFill>
              <a:effectLst/>
              <a:uLnTx/>
              <a:uFillTx/>
              <a:latin typeface="Segoe UI Semilight" charset="0"/>
              <a:ea typeface="Segoe UI Semilight" charset="0"/>
              <a:cs typeface="Segoe UI Semilight" charset="0"/>
            </a:endParaRPr>
          </a:p>
        </p:txBody>
      </p:sp>
      <p:sp>
        <p:nvSpPr>
          <p:cNvPr id="72" name="Rectangle 71">
            <a:extLst>
              <a:ext uri="{FF2B5EF4-FFF2-40B4-BE49-F238E27FC236}">
                <a16:creationId xmlns:a16="http://schemas.microsoft.com/office/drawing/2014/main" id="{0FD44921-97D7-4FDA-8156-FDF889E5143E}"/>
              </a:ext>
            </a:extLst>
          </p:cNvPr>
          <p:cNvSpPr/>
          <p:nvPr/>
        </p:nvSpPr>
        <p:spPr>
          <a:xfrm>
            <a:off x="1516334" y="5980887"/>
            <a:ext cx="1188720" cy="3139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Timeline</a:t>
            </a:r>
            <a:endParaRPr kumimoji="0" lang="en-US" sz="1800" b="1"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charset="0"/>
              <a:ea typeface="Segoe UI Semibold" charset="0"/>
              <a:cs typeface="Segoe UI Semibold" charset="0"/>
            </a:endParaRPr>
          </a:p>
        </p:txBody>
      </p:sp>
      <p:sp>
        <p:nvSpPr>
          <p:cNvPr id="73" name="Rectangle 72">
            <a:extLst>
              <a:ext uri="{FF2B5EF4-FFF2-40B4-BE49-F238E27FC236}">
                <a16:creationId xmlns:a16="http://schemas.microsoft.com/office/drawing/2014/main" id="{E1455666-AC31-4A23-9CAF-5A818807783F}"/>
              </a:ext>
            </a:extLst>
          </p:cNvPr>
          <p:cNvSpPr/>
          <p:nvPr/>
        </p:nvSpPr>
        <p:spPr>
          <a:xfrm>
            <a:off x="3708843" y="1561952"/>
            <a:ext cx="70261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What budget do you have to work with for your project?</a:t>
            </a:r>
          </a:p>
        </p:txBody>
      </p:sp>
      <p:cxnSp>
        <p:nvCxnSpPr>
          <p:cNvPr id="74" name="Straight Connector 73">
            <a:extLst>
              <a:ext uri="{FF2B5EF4-FFF2-40B4-BE49-F238E27FC236}">
                <a16:creationId xmlns:a16="http://schemas.microsoft.com/office/drawing/2014/main" id="{61E11458-DDCC-4259-B8CC-EA254EAD325D}"/>
              </a:ext>
            </a:extLst>
          </p:cNvPr>
          <p:cNvCxnSpPr/>
          <p:nvPr/>
        </p:nvCxnSpPr>
        <p:spPr>
          <a:xfrm flipV="1">
            <a:off x="304801" y="2046643"/>
            <a:ext cx="11291455" cy="1920"/>
          </a:xfrm>
          <a:prstGeom prst="line">
            <a:avLst/>
          </a:prstGeom>
          <a:ln w="1270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48B343F0-4B17-42F1-9872-759B43AB1C25}"/>
              </a:ext>
            </a:extLst>
          </p:cNvPr>
          <p:cNvSpPr/>
          <p:nvPr/>
        </p:nvSpPr>
        <p:spPr>
          <a:xfrm>
            <a:off x="3708844" y="2256255"/>
            <a:ext cx="7026113" cy="276999"/>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Can you tell me about your role at the organization?</a:t>
            </a:r>
          </a:p>
        </p:txBody>
      </p:sp>
      <p:cxnSp>
        <p:nvCxnSpPr>
          <p:cNvPr id="76" name="Straight Connector 75">
            <a:extLst>
              <a:ext uri="{FF2B5EF4-FFF2-40B4-BE49-F238E27FC236}">
                <a16:creationId xmlns:a16="http://schemas.microsoft.com/office/drawing/2014/main" id="{7266C7D9-D5DC-45A6-BFEE-AEA93B5E4DA8}"/>
              </a:ext>
            </a:extLst>
          </p:cNvPr>
          <p:cNvCxnSpPr/>
          <p:nvPr/>
        </p:nvCxnSpPr>
        <p:spPr>
          <a:xfrm flipV="1">
            <a:off x="304800" y="2740946"/>
            <a:ext cx="11291455" cy="1920"/>
          </a:xfrm>
          <a:prstGeom prst="line">
            <a:avLst/>
          </a:prstGeom>
          <a:ln w="1270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F8E1E0FF-5194-4D83-A5C6-419872E9FFD5}"/>
              </a:ext>
            </a:extLst>
          </p:cNvPr>
          <p:cNvSpPr/>
          <p:nvPr/>
        </p:nvSpPr>
        <p:spPr>
          <a:xfrm>
            <a:off x="3708844" y="5737744"/>
            <a:ext cx="7026113" cy="800219"/>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Is there a timeline for your current projec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ow and when would you like to evaluate Azure Search furthe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Are you interested in having a more technical deep dive conversation?</a:t>
            </a:r>
          </a:p>
        </p:txBody>
      </p:sp>
      <p:cxnSp>
        <p:nvCxnSpPr>
          <p:cNvPr id="78" name="Straight Connector 77">
            <a:extLst>
              <a:ext uri="{FF2B5EF4-FFF2-40B4-BE49-F238E27FC236}">
                <a16:creationId xmlns:a16="http://schemas.microsoft.com/office/drawing/2014/main" id="{9CB7B064-1434-46A6-8BB4-887A0B3E778D}"/>
              </a:ext>
            </a:extLst>
          </p:cNvPr>
          <p:cNvCxnSpPr/>
          <p:nvPr/>
        </p:nvCxnSpPr>
        <p:spPr>
          <a:xfrm flipV="1">
            <a:off x="304800" y="5528130"/>
            <a:ext cx="11291455" cy="1920"/>
          </a:xfrm>
          <a:prstGeom prst="line">
            <a:avLst/>
          </a:prstGeom>
          <a:ln w="1270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9" name="Freeform: Shape 101">
            <a:extLst>
              <a:ext uri="{FF2B5EF4-FFF2-40B4-BE49-F238E27FC236}">
                <a16:creationId xmlns:a16="http://schemas.microsoft.com/office/drawing/2014/main" id="{ABDC5092-0392-4FBA-84D0-60B22FF888F3}"/>
              </a:ext>
            </a:extLst>
          </p:cNvPr>
          <p:cNvSpPr/>
          <p:nvPr/>
        </p:nvSpPr>
        <p:spPr>
          <a:xfrm>
            <a:off x="3093431" y="2292902"/>
            <a:ext cx="103284" cy="203704"/>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101">
            <a:extLst>
              <a:ext uri="{FF2B5EF4-FFF2-40B4-BE49-F238E27FC236}">
                <a16:creationId xmlns:a16="http://schemas.microsoft.com/office/drawing/2014/main" id="{0415E772-FA9C-434B-857A-965C297FD737}"/>
              </a:ext>
            </a:extLst>
          </p:cNvPr>
          <p:cNvSpPr/>
          <p:nvPr/>
        </p:nvSpPr>
        <p:spPr>
          <a:xfrm>
            <a:off x="3093431" y="1597496"/>
            <a:ext cx="103284" cy="203704"/>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101">
            <a:extLst>
              <a:ext uri="{FF2B5EF4-FFF2-40B4-BE49-F238E27FC236}">
                <a16:creationId xmlns:a16="http://schemas.microsoft.com/office/drawing/2014/main" id="{33209D2E-468A-4FA6-987A-56539F2B2C20}"/>
              </a:ext>
            </a:extLst>
          </p:cNvPr>
          <p:cNvSpPr/>
          <p:nvPr/>
        </p:nvSpPr>
        <p:spPr>
          <a:xfrm>
            <a:off x="3099306" y="4033646"/>
            <a:ext cx="103284" cy="203704"/>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Shape 101">
            <a:extLst>
              <a:ext uri="{FF2B5EF4-FFF2-40B4-BE49-F238E27FC236}">
                <a16:creationId xmlns:a16="http://schemas.microsoft.com/office/drawing/2014/main" id="{5446026F-251B-47A3-9F78-5C40A5098D10}"/>
              </a:ext>
            </a:extLst>
          </p:cNvPr>
          <p:cNvSpPr/>
          <p:nvPr/>
        </p:nvSpPr>
        <p:spPr>
          <a:xfrm>
            <a:off x="3090591" y="6036001"/>
            <a:ext cx="103284" cy="203704"/>
          </a:xfrm>
          <a:custGeom>
            <a:avLst/>
            <a:gdLst>
              <a:gd name="connsiteX0" fmla="*/ 796097 w 1399977"/>
              <a:gd name="connsiteY0" fmla="*/ 606423 h 2300514"/>
              <a:gd name="connsiteX1" fmla="*/ 1399977 w 1399977"/>
              <a:gd name="connsiteY1" fmla="*/ 1191676 h 2300514"/>
              <a:gd name="connsiteX2" fmla="*/ 794153 w 1399977"/>
              <a:gd name="connsiteY2" fmla="*/ 1801253 h 2300514"/>
              <a:gd name="connsiteX3" fmla="*/ 0 w 1399977"/>
              <a:gd name="connsiteY3" fmla="*/ 0 h 2300514"/>
              <a:gd name="connsiteX4" fmla="*/ 431800 w 1399977"/>
              <a:gd name="connsiteY4" fmla="*/ 0 h 2300514"/>
              <a:gd name="connsiteX5" fmla="*/ 431800 w 1399977"/>
              <a:gd name="connsiteY5" fmla="*/ 2300514 h 2300514"/>
              <a:gd name="connsiteX6" fmla="*/ 0 w 1399977"/>
              <a:gd name="connsiteY6" fmla="*/ 2300514 h 2300514"/>
              <a:gd name="connsiteX0" fmla="*/ 796097 w 1399977"/>
              <a:gd name="connsiteY0" fmla="*/ 606423 h 2300514"/>
              <a:gd name="connsiteX1" fmla="*/ 1399977 w 1399977"/>
              <a:gd name="connsiteY1" fmla="*/ 1191676 h 2300514"/>
              <a:gd name="connsiteX2" fmla="*/ 794153 w 1399977"/>
              <a:gd name="connsiteY2" fmla="*/ 1801253 h 2300514"/>
              <a:gd name="connsiteX3" fmla="*/ 796097 w 1399977"/>
              <a:gd name="connsiteY3" fmla="*/ 606423 h 2300514"/>
              <a:gd name="connsiteX4" fmla="*/ 0 w 1399977"/>
              <a:gd name="connsiteY4" fmla="*/ 0 h 2300514"/>
              <a:gd name="connsiteX5" fmla="*/ 431800 w 1399977"/>
              <a:gd name="connsiteY5" fmla="*/ 2300514 h 2300514"/>
              <a:gd name="connsiteX6" fmla="*/ 0 w 1399977"/>
              <a:gd name="connsiteY6" fmla="*/ 2300514 h 2300514"/>
              <a:gd name="connsiteX7" fmla="*/ 0 w 1399977"/>
              <a:gd name="connsiteY7" fmla="*/ 0 h 2300514"/>
              <a:gd name="connsiteX0" fmla="*/ 796097 w 1399977"/>
              <a:gd name="connsiteY0" fmla="*/ 0 h 1694091"/>
              <a:gd name="connsiteX1" fmla="*/ 1399977 w 1399977"/>
              <a:gd name="connsiteY1" fmla="*/ 585253 h 1694091"/>
              <a:gd name="connsiteX2" fmla="*/ 794153 w 1399977"/>
              <a:gd name="connsiteY2" fmla="*/ 1194830 h 1694091"/>
              <a:gd name="connsiteX3" fmla="*/ 796097 w 1399977"/>
              <a:gd name="connsiteY3" fmla="*/ 0 h 1694091"/>
              <a:gd name="connsiteX4" fmla="*/ 0 w 1399977"/>
              <a:gd name="connsiteY4" fmla="*/ 1694091 h 1694091"/>
              <a:gd name="connsiteX5" fmla="*/ 431800 w 1399977"/>
              <a:gd name="connsiteY5" fmla="*/ 1694091 h 1694091"/>
              <a:gd name="connsiteX6" fmla="*/ 0 w 1399977"/>
              <a:gd name="connsiteY6" fmla="*/ 1694091 h 1694091"/>
              <a:gd name="connsiteX0" fmla="*/ 1944 w 605824"/>
              <a:gd name="connsiteY0" fmla="*/ 0 h 1194830"/>
              <a:gd name="connsiteX1" fmla="*/ 605824 w 605824"/>
              <a:gd name="connsiteY1" fmla="*/ 585253 h 1194830"/>
              <a:gd name="connsiteX2" fmla="*/ 0 w 605824"/>
              <a:gd name="connsiteY2" fmla="*/ 1194830 h 1194830"/>
              <a:gd name="connsiteX3" fmla="*/ 1944 w 605824"/>
              <a:gd name="connsiteY3" fmla="*/ 0 h 1194830"/>
              <a:gd name="connsiteX0" fmla="*/ 225376 w 829256"/>
              <a:gd name="connsiteY0" fmla="*/ 0 h 1194830"/>
              <a:gd name="connsiteX1" fmla="*/ 829256 w 829256"/>
              <a:gd name="connsiteY1" fmla="*/ 585253 h 1194830"/>
              <a:gd name="connsiteX2" fmla="*/ 223432 w 829256"/>
              <a:gd name="connsiteY2" fmla="*/ 1194830 h 1194830"/>
              <a:gd name="connsiteX3" fmla="*/ 0 w 829256"/>
              <a:gd name="connsiteY3" fmla="*/ 386073 h 1194830"/>
              <a:gd name="connsiteX4" fmla="*/ 225376 w 829256"/>
              <a:gd name="connsiteY4" fmla="*/ 0 h 1194830"/>
              <a:gd name="connsiteX0" fmla="*/ 410434 w 1014314"/>
              <a:gd name="connsiteY0" fmla="*/ 0 h 1194830"/>
              <a:gd name="connsiteX1" fmla="*/ 1014314 w 1014314"/>
              <a:gd name="connsiteY1" fmla="*/ 585253 h 1194830"/>
              <a:gd name="connsiteX2" fmla="*/ 408490 w 1014314"/>
              <a:gd name="connsiteY2" fmla="*/ 1194830 h 1194830"/>
              <a:gd name="connsiteX3" fmla="*/ 0 w 1014314"/>
              <a:gd name="connsiteY3" fmla="*/ 683616 h 1194830"/>
              <a:gd name="connsiteX4" fmla="*/ 410434 w 1014314"/>
              <a:gd name="connsiteY4" fmla="*/ 0 h 1194830"/>
              <a:gd name="connsiteX0" fmla="*/ 414086 w 1017966"/>
              <a:gd name="connsiteY0" fmla="*/ 0 h 1194830"/>
              <a:gd name="connsiteX1" fmla="*/ 1017966 w 1017966"/>
              <a:gd name="connsiteY1" fmla="*/ 585253 h 1194830"/>
              <a:gd name="connsiteX2" fmla="*/ 412142 w 1017966"/>
              <a:gd name="connsiteY2" fmla="*/ 1194830 h 1194830"/>
              <a:gd name="connsiteX3" fmla="*/ 3652 w 1017966"/>
              <a:gd name="connsiteY3" fmla="*/ 683616 h 1194830"/>
              <a:gd name="connsiteX4" fmla="*/ 414086 w 1017966"/>
              <a:gd name="connsiteY4" fmla="*/ 0 h 1194830"/>
              <a:gd name="connsiteX0" fmla="*/ 445484 w 1049364"/>
              <a:gd name="connsiteY0" fmla="*/ 49393 h 1244223"/>
              <a:gd name="connsiteX1" fmla="*/ 1049364 w 1049364"/>
              <a:gd name="connsiteY1" fmla="*/ 634646 h 1244223"/>
              <a:gd name="connsiteX2" fmla="*/ 443540 w 1049364"/>
              <a:gd name="connsiteY2" fmla="*/ 1244223 h 1244223"/>
              <a:gd name="connsiteX3" fmla="*/ 35050 w 1049364"/>
              <a:gd name="connsiteY3" fmla="*/ 733009 h 1244223"/>
              <a:gd name="connsiteX4" fmla="*/ 60451 w 1049364"/>
              <a:gd name="connsiteY4" fmla="*/ 68980 h 1244223"/>
              <a:gd name="connsiteX5" fmla="*/ 445484 w 1049364"/>
              <a:gd name="connsiteY5" fmla="*/ 49393 h 1244223"/>
              <a:gd name="connsiteX0" fmla="*/ 35050 w 1049364"/>
              <a:gd name="connsiteY0" fmla="*/ 733009 h 1244223"/>
              <a:gd name="connsiteX1" fmla="*/ 60451 w 1049364"/>
              <a:gd name="connsiteY1" fmla="*/ 68980 h 1244223"/>
              <a:gd name="connsiteX2" fmla="*/ 445484 w 1049364"/>
              <a:gd name="connsiteY2" fmla="*/ 49393 h 1244223"/>
              <a:gd name="connsiteX3" fmla="*/ 1049364 w 1049364"/>
              <a:gd name="connsiteY3" fmla="*/ 634646 h 1244223"/>
              <a:gd name="connsiteX4" fmla="*/ 443540 w 1049364"/>
              <a:gd name="connsiteY4" fmla="*/ 1244223 h 1244223"/>
              <a:gd name="connsiteX5" fmla="*/ 126490 w 1049364"/>
              <a:gd name="connsiteY5"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4" fmla="*/ 66039 w 988913"/>
              <a:gd name="connsiteY4" fmla="*/ 824449 h 1244223"/>
              <a:gd name="connsiteX0" fmla="*/ 0 w 988913"/>
              <a:gd name="connsiteY0" fmla="*/ 68980 h 1244223"/>
              <a:gd name="connsiteX1" fmla="*/ 385033 w 988913"/>
              <a:gd name="connsiteY1" fmla="*/ 49393 h 1244223"/>
              <a:gd name="connsiteX2" fmla="*/ 988913 w 988913"/>
              <a:gd name="connsiteY2" fmla="*/ 634646 h 1244223"/>
              <a:gd name="connsiteX3" fmla="*/ 383089 w 988913"/>
              <a:gd name="connsiteY3" fmla="*/ 1244223 h 1244223"/>
              <a:gd name="connsiteX0" fmla="*/ 1944 w 605824"/>
              <a:gd name="connsiteY0" fmla="*/ 0 h 1194830"/>
              <a:gd name="connsiteX1" fmla="*/ 605824 w 605824"/>
              <a:gd name="connsiteY1" fmla="*/ 585253 h 1194830"/>
              <a:gd name="connsiteX2" fmla="*/ 0 w 605824"/>
              <a:gd name="connsiteY2" fmla="*/ 1194830 h 1194830"/>
            </a:gdLst>
            <a:ahLst/>
            <a:cxnLst>
              <a:cxn ang="0">
                <a:pos x="connsiteX0" y="connsiteY0"/>
              </a:cxn>
              <a:cxn ang="0">
                <a:pos x="connsiteX1" y="connsiteY1"/>
              </a:cxn>
              <a:cxn ang="0">
                <a:pos x="connsiteX2" y="connsiteY2"/>
              </a:cxn>
            </a:cxnLst>
            <a:rect l="l" t="t" r="r" b="b"/>
            <a:pathLst>
              <a:path w="605824" h="1194830">
                <a:moveTo>
                  <a:pt x="1944" y="0"/>
                </a:moveTo>
                <a:lnTo>
                  <a:pt x="605824" y="585253"/>
                </a:lnTo>
                <a:lnTo>
                  <a:pt x="0" y="119483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82">
            <a:extLst>
              <a:ext uri="{FF2B5EF4-FFF2-40B4-BE49-F238E27FC236}">
                <a16:creationId xmlns:a16="http://schemas.microsoft.com/office/drawing/2014/main" id="{4F71B47E-D08D-40E2-BB41-3399F267BFE8}"/>
              </a:ext>
            </a:extLst>
          </p:cNvPr>
          <p:cNvSpPr/>
          <p:nvPr/>
        </p:nvSpPr>
        <p:spPr>
          <a:xfrm>
            <a:off x="3708844" y="2950558"/>
            <a:ext cx="7026113" cy="2369880"/>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What are your challenges today in navigating your inform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What size/amount of data are you’re looking to search through?</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Is it structured/unstructur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What languages does it spa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What key business insights are you looking to understand? Do you have an existing use case in min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ow often is the data updat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ow do you want to surface this knowledg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Where is your data locat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Explain current inefficiencies that exist</a:t>
            </a:r>
          </a:p>
        </p:txBody>
      </p:sp>
      <p:grpSp>
        <p:nvGrpSpPr>
          <p:cNvPr id="84" name="Group 294">
            <a:extLst>
              <a:ext uri="{FF2B5EF4-FFF2-40B4-BE49-F238E27FC236}">
                <a16:creationId xmlns:a16="http://schemas.microsoft.com/office/drawing/2014/main" id="{84DD52A7-72E8-4452-84C4-A4659ED727AE}"/>
              </a:ext>
            </a:extLst>
          </p:cNvPr>
          <p:cNvGrpSpPr>
            <a:grpSpLocks noChangeAspect="1"/>
          </p:cNvGrpSpPr>
          <p:nvPr/>
        </p:nvGrpSpPr>
        <p:grpSpPr bwMode="auto">
          <a:xfrm>
            <a:off x="582264" y="2238325"/>
            <a:ext cx="419100" cy="314325"/>
            <a:chOff x="670" y="1476"/>
            <a:chExt cx="264" cy="198"/>
          </a:xfrm>
        </p:grpSpPr>
        <p:sp>
          <p:nvSpPr>
            <p:cNvPr id="85" name="Freeform 295">
              <a:extLst>
                <a:ext uri="{FF2B5EF4-FFF2-40B4-BE49-F238E27FC236}">
                  <a16:creationId xmlns:a16="http://schemas.microsoft.com/office/drawing/2014/main" id="{7A0099A3-397A-4897-A315-EA2324E6289C}"/>
                </a:ext>
              </a:extLst>
            </p:cNvPr>
            <p:cNvSpPr>
              <a:spLocks noEditPoints="1"/>
            </p:cNvSpPr>
            <p:nvPr/>
          </p:nvSpPr>
          <p:spPr bwMode="auto">
            <a:xfrm>
              <a:off x="670" y="1476"/>
              <a:ext cx="264" cy="198"/>
            </a:xfrm>
            <a:custGeom>
              <a:avLst/>
              <a:gdLst>
                <a:gd name="T0" fmla="*/ 399 w 426"/>
                <a:gd name="T1" fmla="*/ 148 h 320"/>
                <a:gd name="T2" fmla="*/ 399 w 426"/>
                <a:gd name="T3" fmla="*/ 148 h 320"/>
                <a:gd name="T4" fmla="*/ 399 w 426"/>
                <a:gd name="T5" fmla="*/ 149 h 320"/>
                <a:gd name="T6" fmla="*/ 399 w 426"/>
                <a:gd name="T7" fmla="*/ 294 h 320"/>
                <a:gd name="T8" fmla="*/ 399 w 426"/>
                <a:gd name="T9" fmla="*/ 294 h 320"/>
                <a:gd name="T10" fmla="*/ 26 w 426"/>
                <a:gd name="T11" fmla="*/ 294 h 320"/>
                <a:gd name="T12" fmla="*/ 26 w 426"/>
                <a:gd name="T13" fmla="*/ 294 h 320"/>
                <a:gd name="T14" fmla="*/ 26 w 426"/>
                <a:gd name="T15" fmla="*/ 149 h 320"/>
                <a:gd name="T16" fmla="*/ 26 w 426"/>
                <a:gd name="T17" fmla="*/ 148 h 320"/>
                <a:gd name="T18" fmla="*/ 159 w 426"/>
                <a:gd name="T19" fmla="*/ 215 h 320"/>
                <a:gd name="T20" fmla="*/ 159 w 426"/>
                <a:gd name="T21" fmla="*/ 214 h 320"/>
                <a:gd name="T22" fmla="*/ 159 w 426"/>
                <a:gd name="T23" fmla="*/ 187 h 320"/>
                <a:gd name="T24" fmla="*/ 159 w 426"/>
                <a:gd name="T25" fmla="*/ 160 h 320"/>
                <a:gd name="T26" fmla="*/ 186 w 426"/>
                <a:gd name="T27" fmla="*/ 160 h 320"/>
                <a:gd name="T28" fmla="*/ 239 w 426"/>
                <a:gd name="T29" fmla="*/ 160 h 320"/>
                <a:gd name="T30" fmla="*/ 266 w 426"/>
                <a:gd name="T31" fmla="*/ 160 h 320"/>
                <a:gd name="T32" fmla="*/ 266 w 426"/>
                <a:gd name="T33" fmla="*/ 187 h 320"/>
                <a:gd name="T34" fmla="*/ 266 w 426"/>
                <a:gd name="T35" fmla="*/ 214 h 320"/>
                <a:gd name="T36" fmla="*/ 266 w 426"/>
                <a:gd name="T37" fmla="*/ 215 h 320"/>
                <a:gd name="T38" fmla="*/ 399 w 426"/>
                <a:gd name="T39" fmla="*/ 148 h 320"/>
                <a:gd name="T40" fmla="*/ 159 w 426"/>
                <a:gd name="T41" fmla="*/ 27 h 320"/>
                <a:gd name="T42" fmla="*/ 159 w 426"/>
                <a:gd name="T43" fmla="*/ 27 h 320"/>
                <a:gd name="T44" fmla="*/ 266 w 426"/>
                <a:gd name="T45" fmla="*/ 27 h 320"/>
                <a:gd name="T46" fmla="*/ 266 w 426"/>
                <a:gd name="T47" fmla="*/ 54 h 320"/>
                <a:gd name="T48" fmla="*/ 159 w 426"/>
                <a:gd name="T49" fmla="*/ 54 h 320"/>
                <a:gd name="T50" fmla="*/ 159 w 426"/>
                <a:gd name="T51" fmla="*/ 27 h 320"/>
                <a:gd name="T52" fmla="*/ 293 w 426"/>
                <a:gd name="T53" fmla="*/ 27 h 320"/>
                <a:gd name="T54" fmla="*/ 293 w 426"/>
                <a:gd name="T55" fmla="*/ 27 h 320"/>
                <a:gd name="T56" fmla="*/ 291 w 426"/>
                <a:gd name="T57" fmla="*/ 16 h 320"/>
                <a:gd name="T58" fmla="*/ 285 w 426"/>
                <a:gd name="T59" fmla="*/ 8 h 320"/>
                <a:gd name="T60" fmla="*/ 277 w 426"/>
                <a:gd name="T61" fmla="*/ 2 h 320"/>
                <a:gd name="T62" fmla="*/ 266 w 426"/>
                <a:gd name="T63" fmla="*/ 0 h 320"/>
                <a:gd name="T64" fmla="*/ 159 w 426"/>
                <a:gd name="T65" fmla="*/ 0 h 320"/>
                <a:gd name="T66" fmla="*/ 149 w 426"/>
                <a:gd name="T67" fmla="*/ 2 h 320"/>
                <a:gd name="T68" fmla="*/ 141 w 426"/>
                <a:gd name="T69" fmla="*/ 8 h 320"/>
                <a:gd name="T70" fmla="*/ 135 w 426"/>
                <a:gd name="T71" fmla="*/ 16 h 320"/>
                <a:gd name="T72" fmla="*/ 133 w 426"/>
                <a:gd name="T73" fmla="*/ 27 h 320"/>
                <a:gd name="T74" fmla="*/ 133 w 426"/>
                <a:gd name="T75" fmla="*/ 54 h 320"/>
                <a:gd name="T76" fmla="*/ 0 w 426"/>
                <a:gd name="T77" fmla="*/ 54 h 320"/>
                <a:gd name="T78" fmla="*/ 0 w 426"/>
                <a:gd name="T79" fmla="*/ 320 h 320"/>
                <a:gd name="T80" fmla="*/ 426 w 426"/>
                <a:gd name="T81" fmla="*/ 320 h 320"/>
                <a:gd name="T82" fmla="*/ 426 w 426"/>
                <a:gd name="T83" fmla="*/ 54 h 320"/>
                <a:gd name="T84" fmla="*/ 293 w 426"/>
                <a:gd name="T85" fmla="*/ 54 h 320"/>
                <a:gd name="T86" fmla="*/ 293 w 426"/>
                <a:gd name="T87" fmla="*/ 2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320">
                  <a:moveTo>
                    <a:pt x="399" y="148"/>
                  </a:moveTo>
                  <a:lnTo>
                    <a:pt x="399" y="148"/>
                  </a:lnTo>
                  <a:lnTo>
                    <a:pt x="399" y="149"/>
                  </a:lnTo>
                  <a:lnTo>
                    <a:pt x="399" y="294"/>
                  </a:lnTo>
                  <a:lnTo>
                    <a:pt x="399" y="294"/>
                  </a:lnTo>
                  <a:lnTo>
                    <a:pt x="26" y="294"/>
                  </a:lnTo>
                  <a:lnTo>
                    <a:pt x="26" y="294"/>
                  </a:lnTo>
                  <a:lnTo>
                    <a:pt x="26" y="149"/>
                  </a:lnTo>
                  <a:lnTo>
                    <a:pt x="26" y="148"/>
                  </a:lnTo>
                  <a:lnTo>
                    <a:pt x="159" y="215"/>
                  </a:lnTo>
                  <a:lnTo>
                    <a:pt x="159" y="214"/>
                  </a:lnTo>
                  <a:lnTo>
                    <a:pt x="159" y="187"/>
                  </a:lnTo>
                  <a:lnTo>
                    <a:pt x="159" y="160"/>
                  </a:lnTo>
                  <a:lnTo>
                    <a:pt x="186" y="160"/>
                  </a:lnTo>
                  <a:lnTo>
                    <a:pt x="239" y="160"/>
                  </a:lnTo>
                  <a:lnTo>
                    <a:pt x="266" y="160"/>
                  </a:lnTo>
                  <a:lnTo>
                    <a:pt x="266" y="187"/>
                  </a:lnTo>
                  <a:lnTo>
                    <a:pt x="266" y="214"/>
                  </a:lnTo>
                  <a:lnTo>
                    <a:pt x="266" y="215"/>
                  </a:lnTo>
                  <a:lnTo>
                    <a:pt x="399" y="148"/>
                  </a:lnTo>
                  <a:close/>
                  <a:moveTo>
                    <a:pt x="159" y="27"/>
                  </a:moveTo>
                  <a:lnTo>
                    <a:pt x="159" y="27"/>
                  </a:lnTo>
                  <a:lnTo>
                    <a:pt x="266" y="27"/>
                  </a:lnTo>
                  <a:lnTo>
                    <a:pt x="266" y="54"/>
                  </a:lnTo>
                  <a:lnTo>
                    <a:pt x="159" y="54"/>
                  </a:lnTo>
                  <a:lnTo>
                    <a:pt x="159" y="27"/>
                  </a:lnTo>
                  <a:close/>
                  <a:moveTo>
                    <a:pt x="293" y="27"/>
                  </a:moveTo>
                  <a:lnTo>
                    <a:pt x="293" y="27"/>
                  </a:lnTo>
                  <a:cubicBezTo>
                    <a:pt x="293" y="23"/>
                    <a:pt x="292" y="20"/>
                    <a:pt x="291" y="16"/>
                  </a:cubicBezTo>
                  <a:cubicBezTo>
                    <a:pt x="289" y="13"/>
                    <a:pt x="287" y="10"/>
                    <a:pt x="285" y="8"/>
                  </a:cubicBezTo>
                  <a:cubicBezTo>
                    <a:pt x="283" y="6"/>
                    <a:pt x="280" y="4"/>
                    <a:pt x="277" y="2"/>
                  </a:cubicBezTo>
                  <a:cubicBezTo>
                    <a:pt x="273" y="1"/>
                    <a:pt x="270" y="0"/>
                    <a:pt x="266" y="0"/>
                  </a:cubicBezTo>
                  <a:lnTo>
                    <a:pt x="159" y="0"/>
                  </a:lnTo>
                  <a:cubicBezTo>
                    <a:pt x="156" y="0"/>
                    <a:pt x="152" y="1"/>
                    <a:pt x="149" y="2"/>
                  </a:cubicBezTo>
                  <a:cubicBezTo>
                    <a:pt x="146" y="4"/>
                    <a:pt x="143" y="6"/>
                    <a:pt x="141" y="8"/>
                  </a:cubicBezTo>
                  <a:cubicBezTo>
                    <a:pt x="138" y="10"/>
                    <a:pt x="136" y="13"/>
                    <a:pt x="135" y="16"/>
                  </a:cubicBezTo>
                  <a:cubicBezTo>
                    <a:pt x="134" y="20"/>
                    <a:pt x="133" y="23"/>
                    <a:pt x="133" y="27"/>
                  </a:cubicBezTo>
                  <a:lnTo>
                    <a:pt x="133" y="54"/>
                  </a:lnTo>
                  <a:lnTo>
                    <a:pt x="0" y="54"/>
                  </a:lnTo>
                  <a:lnTo>
                    <a:pt x="0" y="320"/>
                  </a:lnTo>
                  <a:lnTo>
                    <a:pt x="426" y="320"/>
                  </a:lnTo>
                  <a:lnTo>
                    <a:pt x="426" y="54"/>
                  </a:lnTo>
                  <a:lnTo>
                    <a:pt x="293" y="54"/>
                  </a:lnTo>
                  <a:lnTo>
                    <a:pt x="293" y="27"/>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296">
              <a:extLst>
                <a:ext uri="{FF2B5EF4-FFF2-40B4-BE49-F238E27FC236}">
                  <a16:creationId xmlns:a16="http://schemas.microsoft.com/office/drawing/2014/main" id="{601DA2BB-B909-416A-98D1-34AED127A3DD}"/>
                </a:ext>
              </a:extLst>
            </p:cNvPr>
            <p:cNvSpPr>
              <a:spLocks/>
            </p:cNvSpPr>
            <p:nvPr/>
          </p:nvSpPr>
          <p:spPr bwMode="auto">
            <a:xfrm>
              <a:off x="785" y="1592"/>
              <a:ext cx="33" cy="17"/>
            </a:xfrm>
            <a:custGeom>
              <a:avLst/>
              <a:gdLst>
                <a:gd name="T0" fmla="*/ 53 w 53"/>
                <a:gd name="T1" fmla="*/ 0 h 27"/>
                <a:gd name="T2" fmla="*/ 53 w 53"/>
                <a:gd name="T3" fmla="*/ 0 h 27"/>
                <a:gd name="T4" fmla="*/ 0 w 53"/>
                <a:gd name="T5" fmla="*/ 0 h 27"/>
                <a:gd name="T6" fmla="*/ 0 w 53"/>
                <a:gd name="T7" fmla="*/ 27 h 27"/>
                <a:gd name="T8" fmla="*/ 53 w 53"/>
                <a:gd name="T9" fmla="*/ 27 h 27"/>
                <a:gd name="T10" fmla="*/ 53 w 53"/>
                <a:gd name="T11" fmla="*/ 0 h 27"/>
              </a:gdLst>
              <a:ahLst/>
              <a:cxnLst>
                <a:cxn ang="0">
                  <a:pos x="T0" y="T1"/>
                </a:cxn>
                <a:cxn ang="0">
                  <a:pos x="T2" y="T3"/>
                </a:cxn>
                <a:cxn ang="0">
                  <a:pos x="T4" y="T5"/>
                </a:cxn>
                <a:cxn ang="0">
                  <a:pos x="T6" y="T7"/>
                </a:cxn>
                <a:cxn ang="0">
                  <a:pos x="T8" y="T9"/>
                </a:cxn>
                <a:cxn ang="0">
                  <a:pos x="T10" y="T11"/>
                </a:cxn>
              </a:cxnLst>
              <a:rect l="0" t="0" r="r" b="b"/>
              <a:pathLst>
                <a:path w="53" h="27">
                  <a:moveTo>
                    <a:pt x="53" y="0"/>
                  </a:moveTo>
                  <a:lnTo>
                    <a:pt x="53" y="0"/>
                  </a:lnTo>
                  <a:lnTo>
                    <a:pt x="0" y="0"/>
                  </a:lnTo>
                  <a:lnTo>
                    <a:pt x="0" y="27"/>
                  </a:lnTo>
                  <a:lnTo>
                    <a:pt x="53" y="27"/>
                  </a:lnTo>
                  <a:lnTo>
                    <a:pt x="53"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297">
              <a:extLst>
                <a:ext uri="{FF2B5EF4-FFF2-40B4-BE49-F238E27FC236}">
                  <a16:creationId xmlns:a16="http://schemas.microsoft.com/office/drawing/2014/main" id="{A3BA5787-B658-4612-A442-2F41D7AC54BB}"/>
                </a:ext>
              </a:extLst>
            </p:cNvPr>
            <p:cNvSpPr>
              <a:spLocks/>
            </p:cNvSpPr>
            <p:nvPr/>
          </p:nvSpPr>
          <p:spPr bwMode="auto">
            <a:xfrm>
              <a:off x="686" y="1568"/>
              <a:ext cx="232" cy="90"/>
            </a:xfrm>
            <a:custGeom>
              <a:avLst/>
              <a:gdLst>
                <a:gd name="T0" fmla="*/ 240 w 373"/>
                <a:gd name="T1" fmla="*/ 91 h 145"/>
                <a:gd name="T2" fmla="*/ 240 w 373"/>
                <a:gd name="T3" fmla="*/ 91 h 145"/>
                <a:gd name="T4" fmla="*/ 240 w 373"/>
                <a:gd name="T5" fmla="*/ 92 h 145"/>
                <a:gd name="T6" fmla="*/ 213 w 373"/>
                <a:gd name="T7" fmla="*/ 92 h 145"/>
                <a:gd name="T8" fmla="*/ 160 w 373"/>
                <a:gd name="T9" fmla="*/ 92 h 145"/>
                <a:gd name="T10" fmla="*/ 133 w 373"/>
                <a:gd name="T11" fmla="*/ 92 h 145"/>
                <a:gd name="T12" fmla="*/ 133 w 373"/>
                <a:gd name="T13" fmla="*/ 91 h 145"/>
                <a:gd name="T14" fmla="*/ 133 w 373"/>
                <a:gd name="T15" fmla="*/ 67 h 145"/>
                <a:gd name="T16" fmla="*/ 0 w 373"/>
                <a:gd name="T17" fmla="*/ 0 h 145"/>
                <a:gd name="T18" fmla="*/ 0 w 373"/>
                <a:gd name="T19" fmla="*/ 145 h 145"/>
                <a:gd name="T20" fmla="*/ 373 w 373"/>
                <a:gd name="T21" fmla="*/ 145 h 145"/>
                <a:gd name="T22" fmla="*/ 373 w 373"/>
                <a:gd name="T23" fmla="*/ 0 h 145"/>
                <a:gd name="T24" fmla="*/ 240 w 373"/>
                <a:gd name="T25" fmla="*/ 67 h 145"/>
                <a:gd name="T26" fmla="*/ 240 w 373"/>
                <a:gd name="T27" fmla="*/ 9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145">
                  <a:moveTo>
                    <a:pt x="240" y="91"/>
                  </a:moveTo>
                  <a:lnTo>
                    <a:pt x="240" y="91"/>
                  </a:lnTo>
                  <a:lnTo>
                    <a:pt x="240" y="92"/>
                  </a:lnTo>
                  <a:lnTo>
                    <a:pt x="213" y="92"/>
                  </a:lnTo>
                  <a:lnTo>
                    <a:pt x="160" y="92"/>
                  </a:lnTo>
                  <a:lnTo>
                    <a:pt x="133" y="92"/>
                  </a:lnTo>
                  <a:lnTo>
                    <a:pt x="133" y="91"/>
                  </a:lnTo>
                  <a:lnTo>
                    <a:pt x="133" y="67"/>
                  </a:lnTo>
                  <a:lnTo>
                    <a:pt x="0" y="0"/>
                  </a:lnTo>
                  <a:lnTo>
                    <a:pt x="0" y="145"/>
                  </a:lnTo>
                  <a:lnTo>
                    <a:pt x="373" y="145"/>
                  </a:lnTo>
                  <a:lnTo>
                    <a:pt x="373" y="0"/>
                  </a:lnTo>
                  <a:lnTo>
                    <a:pt x="240" y="67"/>
                  </a:lnTo>
                  <a:lnTo>
                    <a:pt x="240" y="91"/>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298">
              <a:extLst>
                <a:ext uri="{FF2B5EF4-FFF2-40B4-BE49-F238E27FC236}">
                  <a16:creationId xmlns:a16="http://schemas.microsoft.com/office/drawing/2014/main" id="{CEBF6016-1315-4900-A07E-7760AC31DD81}"/>
                </a:ext>
              </a:extLst>
            </p:cNvPr>
            <p:cNvSpPr>
              <a:spLocks/>
            </p:cNvSpPr>
            <p:nvPr/>
          </p:nvSpPr>
          <p:spPr bwMode="auto">
            <a:xfrm>
              <a:off x="686" y="1658"/>
              <a:ext cx="232" cy="0"/>
            </a:xfrm>
            <a:custGeom>
              <a:avLst/>
              <a:gdLst>
                <a:gd name="T0" fmla="*/ 0 w 373"/>
                <a:gd name="T1" fmla="*/ 0 w 373"/>
                <a:gd name="T2" fmla="*/ 373 w 373"/>
                <a:gd name="T3" fmla="*/ 373 w 373"/>
                <a:gd name="T4" fmla="*/ 0 w 373"/>
                <a:gd name="T5" fmla="*/ 0 w 373"/>
              </a:gdLst>
              <a:ahLst/>
              <a:cxnLst>
                <a:cxn ang="0">
                  <a:pos x="T0" y="0"/>
                </a:cxn>
                <a:cxn ang="0">
                  <a:pos x="T1" y="0"/>
                </a:cxn>
                <a:cxn ang="0">
                  <a:pos x="T2" y="0"/>
                </a:cxn>
                <a:cxn ang="0">
                  <a:pos x="T3" y="0"/>
                </a:cxn>
                <a:cxn ang="0">
                  <a:pos x="T4" y="0"/>
                </a:cxn>
                <a:cxn ang="0">
                  <a:pos x="T5" y="0"/>
                </a:cxn>
              </a:cxnLst>
              <a:rect l="0" t="0" r="r" b="b"/>
              <a:pathLst>
                <a:path w="373">
                  <a:moveTo>
                    <a:pt x="0" y="0"/>
                  </a:moveTo>
                  <a:lnTo>
                    <a:pt x="0" y="0"/>
                  </a:lnTo>
                  <a:lnTo>
                    <a:pt x="373" y="0"/>
                  </a:lnTo>
                  <a:lnTo>
                    <a:pt x="373" y="0"/>
                  </a:lnTo>
                  <a:lnTo>
                    <a:pt x="0" y="0"/>
                  </a:lnTo>
                  <a:lnTo>
                    <a:pt x="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9" name="Group 280">
            <a:extLst>
              <a:ext uri="{FF2B5EF4-FFF2-40B4-BE49-F238E27FC236}">
                <a16:creationId xmlns:a16="http://schemas.microsoft.com/office/drawing/2014/main" id="{44F13E38-6AC9-4AA2-973D-2B9F4C3B23D6}"/>
              </a:ext>
            </a:extLst>
          </p:cNvPr>
          <p:cNvGrpSpPr>
            <a:grpSpLocks noChangeAspect="1"/>
          </p:cNvGrpSpPr>
          <p:nvPr/>
        </p:nvGrpSpPr>
        <p:grpSpPr bwMode="auto">
          <a:xfrm>
            <a:off x="607664" y="5953703"/>
            <a:ext cx="368300" cy="368300"/>
            <a:chOff x="1556" y="2097"/>
            <a:chExt cx="232" cy="232"/>
          </a:xfrm>
        </p:grpSpPr>
        <p:sp>
          <p:nvSpPr>
            <p:cNvPr id="90" name="Freeform 281">
              <a:extLst>
                <a:ext uri="{FF2B5EF4-FFF2-40B4-BE49-F238E27FC236}">
                  <a16:creationId xmlns:a16="http://schemas.microsoft.com/office/drawing/2014/main" id="{2B70B763-4D25-4EC1-9A26-A84059812096}"/>
                </a:ext>
              </a:extLst>
            </p:cNvPr>
            <p:cNvSpPr>
              <a:spLocks noEditPoints="1"/>
            </p:cNvSpPr>
            <p:nvPr/>
          </p:nvSpPr>
          <p:spPr bwMode="auto">
            <a:xfrm>
              <a:off x="1556" y="2097"/>
              <a:ext cx="232" cy="232"/>
            </a:xfrm>
            <a:custGeom>
              <a:avLst/>
              <a:gdLst>
                <a:gd name="T0" fmla="*/ 160 w 374"/>
                <a:gd name="T1" fmla="*/ 54 h 374"/>
                <a:gd name="T2" fmla="*/ 160 w 374"/>
                <a:gd name="T3" fmla="*/ 54 h 374"/>
                <a:gd name="T4" fmla="*/ 187 w 374"/>
                <a:gd name="T5" fmla="*/ 54 h 374"/>
                <a:gd name="T6" fmla="*/ 187 w 374"/>
                <a:gd name="T7" fmla="*/ 187 h 374"/>
                <a:gd name="T8" fmla="*/ 267 w 374"/>
                <a:gd name="T9" fmla="*/ 187 h 374"/>
                <a:gd name="T10" fmla="*/ 267 w 374"/>
                <a:gd name="T11" fmla="*/ 214 h 374"/>
                <a:gd name="T12" fmla="*/ 160 w 374"/>
                <a:gd name="T13" fmla="*/ 214 h 374"/>
                <a:gd name="T14" fmla="*/ 160 w 374"/>
                <a:gd name="T15" fmla="*/ 54 h 374"/>
                <a:gd name="T16" fmla="*/ 54 w 374"/>
                <a:gd name="T17" fmla="*/ 319 h 374"/>
                <a:gd name="T18" fmla="*/ 54 w 374"/>
                <a:gd name="T19" fmla="*/ 319 h 374"/>
                <a:gd name="T20" fmla="*/ 92 w 374"/>
                <a:gd name="T21" fmla="*/ 348 h 374"/>
                <a:gd name="T22" fmla="*/ 137 w 374"/>
                <a:gd name="T23" fmla="*/ 367 h 374"/>
                <a:gd name="T24" fmla="*/ 186 w 374"/>
                <a:gd name="T25" fmla="*/ 374 h 374"/>
                <a:gd name="T26" fmla="*/ 236 w 374"/>
                <a:gd name="T27" fmla="*/ 367 h 374"/>
                <a:gd name="T28" fmla="*/ 280 w 374"/>
                <a:gd name="T29" fmla="*/ 349 h 374"/>
                <a:gd name="T30" fmla="*/ 318 w 374"/>
                <a:gd name="T31" fmla="*/ 320 h 374"/>
                <a:gd name="T32" fmla="*/ 348 w 374"/>
                <a:gd name="T33" fmla="*/ 282 h 374"/>
                <a:gd name="T34" fmla="*/ 367 w 374"/>
                <a:gd name="T35" fmla="*/ 237 h 374"/>
                <a:gd name="T36" fmla="*/ 373 w 374"/>
                <a:gd name="T37" fmla="*/ 188 h 374"/>
                <a:gd name="T38" fmla="*/ 367 w 374"/>
                <a:gd name="T39" fmla="*/ 138 h 374"/>
                <a:gd name="T40" fmla="*/ 348 w 374"/>
                <a:gd name="T41" fmla="*/ 94 h 374"/>
                <a:gd name="T42" fmla="*/ 319 w 374"/>
                <a:gd name="T43" fmla="*/ 56 h 374"/>
                <a:gd name="T44" fmla="*/ 281 w 374"/>
                <a:gd name="T45" fmla="*/ 26 h 374"/>
                <a:gd name="T46" fmla="*/ 237 w 374"/>
                <a:gd name="T47" fmla="*/ 7 h 374"/>
                <a:gd name="T48" fmla="*/ 188 w 374"/>
                <a:gd name="T49" fmla="*/ 1 h 374"/>
                <a:gd name="T50" fmla="*/ 138 w 374"/>
                <a:gd name="T51" fmla="*/ 7 h 374"/>
                <a:gd name="T52" fmla="*/ 93 w 374"/>
                <a:gd name="T53" fmla="*/ 26 h 374"/>
                <a:gd name="T54" fmla="*/ 55 w 374"/>
                <a:gd name="T55" fmla="*/ 55 h 374"/>
                <a:gd name="T56" fmla="*/ 26 w 374"/>
                <a:gd name="T57" fmla="*/ 93 h 374"/>
                <a:gd name="T58" fmla="*/ 7 w 374"/>
                <a:gd name="T59" fmla="*/ 137 h 374"/>
                <a:gd name="T60" fmla="*/ 0 w 374"/>
                <a:gd name="T61" fmla="*/ 186 h 374"/>
                <a:gd name="T62" fmla="*/ 7 w 374"/>
                <a:gd name="T63" fmla="*/ 236 h 374"/>
                <a:gd name="T64" fmla="*/ 25 w 374"/>
                <a:gd name="T65" fmla="*/ 281 h 374"/>
                <a:gd name="T66" fmla="*/ 54 w 374"/>
                <a:gd name="T67" fmla="*/ 31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4" h="374">
                  <a:moveTo>
                    <a:pt x="160" y="54"/>
                  </a:moveTo>
                  <a:lnTo>
                    <a:pt x="160" y="54"/>
                  </a:lnTo>
                  <a:lnTo>
                    <a:pt x="187" y="54"/>
                  </a:lnTo>
                  <a:lnTo>
                    <a:pt x="187" y="187"/>
                  </a:lnTo>
                  <a:lnTo>
                    <a:pt x="267" y="187"/>
                  </a:lnTo>
                  <a:lnTo>
                    <a:pt x="267" y="214"/>
                  </a:lnTo>
                  <a:lnTo>
                    <a:pt x="160" y="214"/>
                  </a:lnTo>
                  <a:lnTo>
                    <a:pt x="160" y="54"/>
                  </a:lnTo>
                  <a:close/>
                  <a:moveTo>
                    <a:pt x="54" y="319"/>
                  </a:moveTo>
                  <a:lnTo>
                    <a:pt x="54" y="319"/>
                  </a:lnTo>
                  <a:cubicBezTo>
                    <a:pt x="66" y="330"/>
                    <a:pt x="78" y="340"/>
                    <a:pt x="92" y="348"/>
                  </a:cubicBezTo>
                  <a:cubicBezTo>
                    <a:pt x="106" y="356"/>
                    <a:pt x="121" y="362"/>
                    <a:pt x="137" y="367"/>
                  </a:cubicBezTo>
                  <a:cubicBezTo>
                    <a:pt x="153" y="371"/>
                    <a:pt x="169" y="374"/>
                    <a:pt x="186" y="374"/>
                  </a:cubicBezTo>
                  <a:cubicBezTo>
                    <a:pt x="203" y="374"/>
                    <a:pt x="220" y="372"/>
                    <a:pt x="236" y="367"/>
                  </a:cubicBezTo>
                  <a:cubicBezTo>
                    <a:pt x="252" y="363"/>
                    <a:pt x="266" y="357"/>
                    <a:pt x="280" y="349"/>
                  </a:cubicBezTo>
                  <a:cubicBezTo>
                    <a:pt x="294" y="341"/>
                    <a:pt x="307" y="331"/>
                    <a:pt x="318" y="320"/>
                  </a:cubicBezTo>
                  <a:cubicBezTo>
                    <a:pt x="330" y="308"/>
                    <a:pt x="339" y="296"/>
                    <a:pt x="348" y="282"/>
                  </a:cubicBezTo>
                  <a:cubicBezTo>
                    <a:pt x="356" y="268"/>
                    <a:pt x="362" y="253"/>
                    <a:pt x="367" y="237"/>
                  </a:cubicBezTo>
                  <a:cubicBezTo>
                    <a:pt x="371" y="221"/>
                    <a:pt x="373" y="205"/>
                    <a:pt x="373" y="188"/>
                  </a:cubicBezTo>
                  <a:cubicBezTo>
                    <a:pt x="374" y="171"/>
                    <a:pt x="371" y="154"/>
                    <a:pt x="367" y="138"/>
                  </a:cubicBezTo>
                  <a:cubicBezTo>
                    <a:pt x="363" y="122"/>
                    <a:pt x="356" y="108"/>
                    <a:pt x="348" y="94"/>
                  </a:cubicBezTo>
                  <a:cubicBezTo>
                    <a:pt x="340" y="80"/>
                    <a:pt x="331" y="67"/>
                    <a:pt x="319" y="56"/>
                  </a:cubicBezTo>
                  <a:cubicBezTo>
                    <a:pt x="308" y="44"/>
                    <a:pt x="295" y="35"/>
                    <a:pt x="281" y="26"/>
                  </a:cubicBezTo>
                  <a:cubicBezTo>
                    <a:pt x="268" y="18"/>
                    <a:pt x="253" y="12"/>
                    <a:pt x="237" y="7"/>
                  </a:cubicBezTo>
                  <a:cubicBezTo>
                    <a:pt x="221" y="3"/>
                    <a:pt x="205" y="1"/>
                    <a:pt x="188" y="1"/>
                  </a:cubicBezTo>
                  <a:cubicBezTo>
                    <a:pt x="170" y="0"/>
                    <a:pt x="154" y="3"/>
                    <a:pt x="138" y="7"/>
                  </a:cubicBezTo>
                  <a:cubicBezTo>
                    <a:pt x="122" y="11"/>
                    <a:pt x="107" y="18"/>
                    <a:pt x="93" y="26"/>
                  </a:cubicBezTo>
                  <a:cubicBezTo>
                    <a:pt x="80" y="34"/>
                    <a:pt x="67" y="43"/>
                    <a:pt x="55" y="55"/>
                  </a:cubicBezTo>
                  <a:cubicBezTo>
                    <a:pt x="44" y="66"/>
                    <a:pt x="34" y="79"/>
                    <a:pt x="26" y="93"/>
                  </a:cubicBezTo>
                  <a:cubicBezTo>
                    <a:pt x="18" y="106"/>
                    <a:pt x="12" y="121"/>
                    <a:pt x="7" y="137"/>
                  </a:cubicBezTo>
                  <a:cubicBezTo>
                    <a:pt x="3" y="153"/>
                    <a:pt x="0" y="169"/>
                    <a:pt x="0" y="186"/>
                  </a:cubicBezTo>
                  <a:cubicBezTo>
                    <a:pt x="0" y="204"/>
                    <a:pt x="2" y="220"/>
                    <a:pt x="7" y="236"/>
                  </a:cubicBezTo>
                  <a:cubicBezTo>
                    <a:pt x="11" y="252"/>
                    <a:pt x="17" y="267"/>
                    <a:pt x="25" y="281"/>
                  </a:cubicBezTo>
                  <a:cubicBezTo>
                    <a:pt x="33" y="294"/>
                    <a:pt x="43" y="307"/>
                    <a:pt x="54" y="319"/>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282">
              <a:extLst>
                <a:ext uri="{FF2B5EF4-FFF2-40B4-BE49-F238E27FC236}">
                  <a16:creationId xmlns:a16="http://schemas.microsoft.com/office/drawing/2014/main" id="{38CCFEB6-AB1A-4880-B555-D13F0EB04193}"/>
                </a:ext>
              </a:extLst>
            </p:cNvPr>
            <p:cNvSpPr>
              <a:spLocks/>
            </p:cNvSpPr>
            <p:nvPr/>
          </p:nvSpPr>
          <p:spPr bwMode="auto">
            <a:xfrm>
              <a:off x="1655" y="2131"/>
              <a:ext cx="67" cy="99"/>
            </a:xfrm>
            <a:custGeom>
              <a:avLst/>
              <a:gdLst>
                <a:gd name="T0" fmla="*/ 107 w 107"/>
                <a:gd name="T1" fmla="*/ 133 h 160"/>
                <a:gd name="T2" fmla="*/ 107 w 107"/>
                <a:gd name="T3" fmla="*/ 133 h 160"/>
                <a:gd name="T4" fmla="*/ 27 w 107"/>
                <a:gd name="T5" fmla="*/ 133 h 160"/>
                <a:gd name="T6" fmla="*/ 27 w 107"/>
                <a:gd name="T7" fmla="*/ 0 h 160"/>
                <a:gd name="T8" fmla="*/ 0 w 107"/>
                <a:gd name="T9" fmla="*/ 0 h 160"/>
                <a:gd name="T10" fmla="*/ 0 w 107"/>
                <a:gd name="T11" fmla="*/ 160 h 160"/>
                <a:gd name="T12" fmla="*/ 107 w 107"/>
                <a:gd name="T13" fmla="*/ 160 h 160"/>
                <a:gd name="T14" fmla="*/ 107 w 107"/>
                <a:gd name="T15" fmla="*/ 133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60">
                  <a:moveTo>
                    <a:pt x="107" y="133"/>
                  </a:moveTo>
                  <a:lnTo>
                    <a:pt x="107" y="133"/>
                  </a:lnTo>
                  <a:lnTo>
                    <a:pt x="27" y="133"/>
                  </a:lnTo>
                  <a:lnTo>
                    <a:pt x="27" y="0"/>
                  </a:lnTo>
                  <a:lnTo>
                    <a:pt x="0" y="0"/>
                  </a:lnTo>
                  <a:lnTo>
                    <a:pt x="0" y="160"/>
                  </a:lnTo>
                  <a:lnTo>
                    <a:pt x="107" y="160"/>
                  </a:lnTo>
                  <a:lnTo>
                    <a:pt x="107" y="133"/>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57028EC9-B564-4848-882D-B77FFFF88077}"/>
              </a:ext>
            </a:extLst>
          </p:cNvPr>
          <p:cNvGrpSpPr/>
          <p:nvPr/>
        </p:nvGrpSpPr>
        <p:grpSpPr>
          <a:xfrm>
            <a:off x="593361" y="3933625"/>
            <a:ext cx="396906" cy="395400"/>
            <a:chOff x="7943850" y="1262063"/>
            <a:chExt cx="419101" cy="417513"/>
          </a:xfrm>
        </p:grpSpPr>
        <p:sp>
          <p:nvSpPr>
            <p:cNvPr id="93" name="Freeform 18">
              <a:extLst>
                <a:ext uri="{FF2B5EF4-FFF2-40B4-BE49-F238E27FC236}">
                  <a16:creationId xmlns:a16="http://schemas.microsoft.com/office/drawing/2014/main" id="{A2D50053-D119-4678-8035-95B0E50B0C04}"/>
                </a:ext>
              </a:extLst>
            </p:cNvPr>
            <p:cNvSpPr>
              <a:spLocks/>
            </p:cNvSpPr>
            <p:nvPr/>
          </p:nvSpPr>
          <p:spPr bwMode="auto">
            <a:xfrm>
              <a:off x="8075613" y="1262063"/>
              <a:ext cx="287338" cy="287338"/>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19">
              <a:extLst>
                <a:ext uri="{FF2B5EF4-FFF2-40B4-BE49-F238E27FC236}">
                  <a16:creationId xmlns:a16="http://schemas.microsoft.com/office/drawing/2014/main" id="{5993B7FC-0546-47E1-A6C9-1E4F1499F9E0}"/>
                </a:ext>
              </a:extLst>
            </p:cNvPr>
            <p:cNvSpPr>
              <a:spLocks/>
            </p:cNvSpPr>
            <p:nvPr/>
          </p:nvSpPr>
          <p:spPr bwMode="auto">
            <a:xfrm>
              <a:off x="7943850" y="1497013"/>
              <a:ext cx="182563" cy="182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20">
              <a:extLst>
                <a:ext uri="{FF2B5EF4-FFF2-40B4-BE49-F238E27FC236}">
                  <a16:creationId xmlns:a16="http://schemas.microsoft.com/office/drawing/2014/main" id="{ABDA3750-7205-430D-8340-F37960AFD20E}"/>
                </a:ext>
              </a:extLst>
            </p:cNvPr>
            <p:cNvSpPr>
              <a:spLocks/>
            </p:cNvSpPr>
            <p:nvPr/>
          </p:nvSpPr>
          <p:spPr bwMode="auto">
            <a:xfrm>
              <a:off x="8101013" y="1287463"/>
              <a:ext cx="236538" cy="236538"/>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74B0DFD-F027-4E79-9534-07B04A58BB17}"/>
              </a:ext>
            </a:extLst>
          </p:cNvPr>
          <p:cNvGrpSpPr/>
          <p:nvPr/>
        </p:nvGrpSpPr>
        <p:grpSpPr>
          <a:xfrm>
            <a:off x="591272" y="1539558"/>
            <a:ext cx="401084" cy="306280"/>
            <a:chOff x="-387148" y="1281104"/>
            <a:chExt cx="567745" cy="433549"/>
          </a:xfrm>
        </p:grpSpPr>
        <p:sp>
          <p:nvSpPr>
            <p:cNvPr id="97" name="Rectangle 96">
              <a:extLst>
                <a:ext uri="{FF2B5EF4-FFF2-40B4-BE49-F238E27FC236}">
                  <a16:creationId xmlns:a16="http://schemas.microsoft.com/office/drawing/2014/main" id="{C8E77D05-0F83-40E0-BF6E-A342C8CE0238}"/>
                </a:ext>
              </a:extLst>
            </p:cNvPr>
            <p:cNvSpPr/>
            <p:nvPr/>
          </p:nvSpPr>
          <p:spPr>
            <a:xfrm>
              <a:off x="-369671" y="1474652"/>
              <a:ext cx="524637" cy="217347"/>
            </a:xfrm>
            <a:prstGeom prst="rect">
              <a:avLst/>
            </a:prstGeom>
            <a:solidFill>
              <a:schemeClr val="accent2"/>
            </a:solidFill>
            <a:ln w="6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457CBA6A-955E-45E1-BB05-92D9C7E25CA7}"/>
                </a:ext>
              </a:extLst>
            </p:cNvPr>
            <p:cNvSpPr/>
            <p:nvPr/>
          </p:nvSpPr>
          <p:spPr>
            <a:xfrm>
              <a:off x="-313379" y="1281794"/>
              <a:ext cx="374194" cy="141936"/>
            </a:xfrm>
            <a:custGeom>
              <a:avLst/>
              <a:gdLst>
                <a:gd name="connsiteX0" fmla="*/ 349027 w 403529"/>
                <a:gd name="connsiteY0" fmla="*/ 57665 h 157308"/>
                <a:gd name="connsiteX1" fmla="*/ 359286 w 403529"/>
                <a:gd name="connsiteY1" fmla="*/ 83655 h 157308"/>
                <a:gd name="connsiteX2" fmla="*/ 400323 w 403529"/>
                <a:gd name="connsiteY2" fmla="*/ 75448 h 157308"/>
                <a:gd name="connsiteX3" fmla="*/ 371597 w 403529"/>
                <a:gd name="connsiteY3" fmla="*/ 3633 h 157308"/>
                <a:gd name="connsiteX4" fmla="*/ 3633 w 403529"/>
                <a:gd name="connsiteY4" fmla="*/ 154102 h 157308"/>
                <a:gd name="connsiteX5" fmla="*/ 214289 w 403529"/>
                <a:gd name="connsiteY5" fmla="*/ 112381 h 157308"/>
                <a:gd name="connsiteX0" fmla="*/ 210656 w 396690"/>
                <a:gd name="connsiteY0" fmla="*/ 108748 h 150469"/>
                <a:gd name="connsiteX1" fmla="*/ 355653 w 396690"/>
                <a:gd name="connsiteY1" fmla="*/ 80022 h 150469"/>
                <a:gd name="connsiteX2" fmla="*/ 396690 w 396690"/>
                <a:gd name="connsiteY2" fmla="*/ 71815 h 150469"/>
                <a:gd name="connsiteX3" fmla="*/ 367964 w 396690"/>
                <a:gd name="connsiteY3" fmla="*/ 0 h 150469"/>
                <a:gd name="connsiteX4" fmla="*/ 0 w 396690"/>
                <a:gd name="connsiteY4" fmla="*/ 150469 h 150469"/>
                <a:gd name="connsiteX5" fmla="*/ 210656 w 396690"/>
                <a:gd name="connsiteY5" fmla="*/ 108748 h 150469"/>
                <a:gd name="connsiteX0" fmla="*/ 0 w 396690"/>
                <a:gd name="connsiteY0" fmla="*/ 150469 h 150469"/>
                <a:gd name="connsiteX1" fmla="*/ 355653 w 396690"/>
                <a:gd name="connsiteY1" fmla="*/ 80022 h 150469"/>
                <a:gd name="connsiteX2" fmla="*/ 396690 w 396690"/>
                <a:gd name="connsiteY2" fmla="*/ 71815 h 150469"/>
                <a:gd name="connsiteX3" fmla="*/ 367964 w 396690"/>
                <a:gd name="connsiteY3" fmla="*/ 0 h 150469"/>
                <a:gd name="connsiteX4" fmla="*/ 0 w 396690"/>
                <a:gd name="connsiteY4" fmla="*/ 150469 h 150469"/>
                <a:gd name="connsiteX0" fmla="*/ 0 w 396690"/>
                <a:gd name="connsiteY0" fmla="*/ 150469 h 150469"/>
                <a:gd name="connsiteX1" fmla="*/ 396690 w 396690"/>
                <a:gd name="connsiteY1" fmla="*/ 71815 h 150469"/>
                <a:gd name="connsiteX2" fmla="*/ 367964 w 396690"/>
                <a:gd name="connsiteY2" fmla="*/ 0 h 150469"/>
                <a:gd name="connsiteX3" fmla="*/ 0 w 396690"/>
                <a:gd name="connsiteY3" fmla="*/ 150469 h 150469"/>
              </a:gdLst>
              <a:ahLst/>
              <a:cxnLst>
                <a:cxn ang="0">
                  <a:pos x="connsiteX0" y="connsiteY0"/>
                </a:cxn>
                <a:cxn ang="0">
                  <a:pos x="connsiteX1" y="connsiteY1"/>
                </a:cxn>
                <a:cxn ang="0">
                  <a:pos x="connsiteX2" y="connsiteY2"/>
                </a:cxn>
                <a:cxn ang="0">
                  <a:pos x="connsiteX3" y="connsiteY3"/>
                </a:cxn>
              </a:cxnLst>
              <a:rect l="l" t="t" r="r" b="b"/>
              <a:pathLst>
                <a:path w="396690" h="150469">
                  <a:moveTo>
                    <a:pt x="0" y="150469"/>
                  </a:moveTo>
                  <a:lnTo>
                    <a:pt x="396690" y="71815"/>
                  </a:lnTo>
                  <a:lnTo>
                    <a:pt x="367964" y="0"/>
                  </a:lnTo>
                  <a:lnTo>
                    <a:pt x="0" y="150469"/>
                  </a:lnTo>
                  <a:close/>
                </a:path>
              </a:pathLst>
            </a:custGeom>
            <a:solidFill>
              <a:schemeClr val="accent2"/>
            </a:solidFill>
            <a:ln w="6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AE8B109F-4EDF-4C45-AA9C-CD04493353BB}"/>
                </a:ext>
              </a:extLst>
            </p:cNvPr>
            <p:cNvSpPr/>
            <p:nvPr/>
          </p:nvSpPr>
          <p:spPr>
            <a:xfrm>
              <a:off x="-219186" y="1365664"/>
              <a:ext cx="343872" cy="65806"/>
            </a:xfrm>
            <a:custGeom>
              <a:avLst/>
              <a:gdLst>
                <a:gd name="connsiteX0" fmla="*/ 213605 w 369331"/>
                <a:gd name="connsiteY0" fmla="*/ 73396 h 75234"/>
                <a:gd name="connsiteX1" fmla="*/ 321669 w 369331"/>
                <a:gd name="connsiteY1" fmla="*/ 52194 h 75234"/>
                <a:gd name="connsiteX2" fmla="*/ 326457 w 369331"/>
                <a:gd name="connsiteY2" fmla="*/ 73396 h 75234"/>
                <a:gd name="connsiteX3" fmla="*/ 368178 w 369331"/>
                <a:gd name="connsiteY3" fmla="*/ 73396 h 75234"/>
                <a:gd name="connsiteX4" fmla="*/ 354499 w 369331"/>
                <a:gd name="connsiteY4" fmla="*/ 3633 h 75234"/>
                <a:gd name="connsiteX5" fmla="*/ 3633 w 369331"/>
                <a:gd name="connsiteY5" fmla="*/ 73396 h 75234"/>
                <a:gd name="connsiteX0" fmla="*/ 209972 w 364545"/>
                <a:gd name="connsiteY0" fmla="*/ 69763 h 69763"/>
                <a:gd name="connsiteX1" fmla="*/ 322824 w 364545"/>
                <a:gd name="connsiteY1" fmla="*/ 69763 h 69763"/>
                <a:gd name="connsiteX2" fmla="*/ 364545 w 364545"/>
                <a:gd name="connsiteY2" fmla="*/ 69763 h 69763"/>
                <a:gd name="connsiteX3" fmla="*/ 350866 w 364545"/>
                <a:gd name="connsiteY3" fmla="*/ 0 h 69763"/>
                <a:gd name="connsiteX4" fmla="*/ 0 w 364545"/>
                <a:gd name="connsiteY4" fmla="*/ 69763 h 69763"/>
                <a:gd name="connsiteX5" fmla="*/ 209972 w 364545"/>
                <a:gd name="connsiteY5" fmla="*/ 69763 h 69763"/>
                <a:gd name="connsiteX0" fmla="*/ 209972 w 364545"/>
                <a:gd name="connsiteY0" fmla="*/ 69763 h 69763"/>
                <a:gd name="connsiteX1" fmla="*/ 364545 w 364545"/>
                <a:gd name="connsiteY1" fmla="*/ 69763 h 69763"/>
                <a:gd name="connsiteX2" fmla="*/ 350866 w 364545"/>
                <a:gd name="connsiteY2" fmla="*/ 0 h 69763"/>
                <a:gd name="connsiteX3" fmla="*/ 0 w 364545"/>
                <a:gd name="connsiteY3" fmla="*/ 69763 h 69763"/>
                <a:gd name="connsiteX4" fmla="*/ 209972 w 364545"/>
                <a:gd name="connsiteY4" fmla="*/ 69763 h 69763"/>
                <a:gd name="connsiteX0" fmla="*/ 0 w 364545"/>
                <a:gd name="connsiteY0" fmla="*/ 69763 h 69763"/>
                <a:gd name="connsiteX1" fmla="*/ 364545 w 364545"/>
                <a:gd name="connsiteY1" fmla="*/ 69763 h 69763"/>
                <a:gd name="connsiteX2" fmla="*/ 350866 w 364545"/>
                <a:gd name="connsiteY2" fmla="*/ 0 h 69763"/>
                <a:gd name="connsiteX3" fmla="*/ 0 w 364545"/>
                <a:gd name="connsiteY3" fmla="*/ 69763 h 69763"/>
              </a:gdLst>
              <a:ahLst/>
              <a:cxnLst>
                <a:cxn ang="0">
                  <a:pos x="connsiteX0" y="connsiteY0"/>
                </a:cxn>
                <a:cxn ang="0">
                  <a:pos x="connsiteX1" y="connsiteY1"/>
                </a:cxn>
                <a:cxn ang="0">
                  <a:pos x="connsiteX2" y="connsiteY2"/>
                </a:cxn>
                <a:cxn ang="0">
                  <a:pos x="connsiteX3" y="connsiteY3"/>
                </a:cxn>
              </a:cxnLst>
              <a:rect l="l" t="t" r="r" b="b"/>
              <a:pathLst>
                <a:path w="364545" h="69763">
                  <a:moveTo>
                    <a:pt x="0" y="69763"/>
                  </a:moveTo>
                  <a:lnTo>
                    <a:pt x="364545" y="69763"/>
                  </a:lnTo>
                  <a:lnTo>
                    <a:pt x="350866" y="0"/>
                  </a:lnTo>
                  <a:lnTo>
                    <a:pt x="0" y="69763"/>
                  </a:lnTo>
                  <a:close/>
                </a:path>
              </a:pathLst>
            </a:custGeom>
            <a:solidFill>
              <a:schemeClr val="accent2"/>
            </a:solidFill>
            <a:ln w="6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506DCD64-849A-42FA-96F9-31734543D114}"/>
                </a:ext>
              </a:extLst>
            </p:cNvPr>
            <p:cNvSpPr/>
            <p:nvPr/>
          </p:nvSpPr>
          <p:spPr bwMode="auto">
            <a:xfrm>
              <a:off x="-313600" y="1281104"/>
              <a:ext cx="374194" cy="141936"/>
            </a:xfrm>
            <a:custGeom>
              <a:avLst/>
              <a:gdLst>
                <a:gd name="connsiteX0" fmla="*/ 347098 w 374194"/>
                <a:gd name="connsiteY0" fmla="*/ 0 h 141936"/>
                <a:gd name="connsiteX1" fmla="*/ 374194 w 374194"/>
                <a:gd name="connsiteY1" fmla="*/ 67744 h 141936"/>
                <a:gd name="connsiteX2" fmla="*/ 335484 w 374194"/>
                <a:gd name="connsiteY2" fmla="*/ 75484 h 141936"/>
                <a:gd name="connsiteX3" fmla="*/ 325807 w 374194"/>
                <a:gd name="connsiteY3" fmla="*/ 50968 h 141936"/>
                <a:gd name="connsiteX4" fmla="*/ 198710 w 374194"/>
                <a:gd name="connsiteY4" fmla="*/ 102581 h 141936"/>
                <a:gd name="connsiteX5" fmla="*/ 0 w 374194"/>
                <a:gd name="connsiteY5" fmla="*/ 141936 h 141936"/>
                <a:gd name="connsiteX6" fmla="*/ 347098 w 374194"/>
                <a:gd name="connsiteY6" fmla="*/ 0 h 14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194" h="141936">
                  <a:moveTo>
                    <a:pt x="347098" y="0"/>
                  </a:moveTo>
                  <a:lnTo>
                    <a:pt x="374194" y="67744"/>
                  </a:lnTo>
                  <a:lnTo>
                    <a:pt x="335484" y="75484"/>
                  </a:lnTo>
                  <a:lnTo>
                    <a:pt x="325807" y="50968"/>
                  </a:lnTo>
                  <a:lnTo>
                    <a:pt x="198710" y="102581"/>
                  </a:lnTo>
                  <a:lnTo>
                    <a:pt x="0" y="141936"/>
                  </a:lnTo>
                  <a:lnTo>
                    <a:pt x="347098"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1" name="Freeform: Shape 100">
              <a:extLst>
                <a:ext uri="{FF2B5EF4-FFF2-40B4-BE49-F238E27FC236}">
                  <a16:creationId xmlns:a16="http://schemas.microsoft.com/office/drawing/2014/main" id="{A14710CC-E1AC-401D-9B57-7D9A88DE2BEA}"/>
                </a:ext>
              </a:extLst>
            </p:cNvPr>
            <p:cNvSpPr/>
            <p:nvPr/>
          </p:nvSpPr>
          <p:spPr bwMode="auto">
            <a:xfrm>
              <a:off x="-219406" y="1364975"/>
              <a:ext cx="343872" cy="65807"/>
            </a:xfrm>
            <a:custGeom>
              <a:avLst/>
              <a:gdLst>
                <a:gd name="connsiteX0" fmla="*/ 330969 w 343872"/>
                <a:gd name="connsiteY0" fmla="*/ 0 h 65807"/>
                <a:gd name="connsiteX1" fmla="*/ 343872 w 343872"/>
                <a:gd name="connsiteY1" fmla="*/ 65807 h 65807"/>
                <a:gd name="connsiteX2" fmla="*/ 304518 w 343872"/>
                <a:gd name="connsiteY2" fmla="*/ 65807 h 65807"/>
                <a:gd name="connsiteX3" fmla="*/ 300001 w 343872"/>
                <a:gd name="connsiteY3" fmla="*/ 45807 h 65807"/>
                <a:gd name="connsiteX4" fmla="*/ 198066 w 343872"/>
                <a:gd name="connsiteY4" fmla="*/ 65807 h 65807"/>
                <a:gd name="connsiteX5" fmla="*/ 0 w 343872"/>
                <a:gd name="connsiteY5" fmla="*/ 65807 h 65807"/>
                <a:gd name="connsiteX6" fmla="*/ 330969 w 343872"/>
                <a:gd name="connsiteY6" fmla="*/ 0 h 6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872" h="65807">
                  <a:moveTo>
                    <a:pt x="330969" y="0"/>
                  </a:moveTo>
                  <a:lnTo>
                    <a:pt x="343872" y="65807"/>
                  </a:lnTo>
                  <a:lnTo>
                    <a:pt x="304518" y="65807"/>
                  </a:lnTo>
                  <a:lnTo>
                    <a:pt x="300001" y="45807"/>
                  </a:lnTo>
                  <a:lnTo>
                    <a:pt x="198066" y="65807"/>
                  </a:lnTo>
                  <a:lnTo>
                    <a:pt x="0" y="65807"/>
                  </a:lnTo>
                  <a:lnTo>
                    <a:pt x="330969"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2" name="Freeform: Shape 101">
              <a:extLst>
                <a:ext uri="{FF2B5EF4-FFF2-40B4-BE49-F238E27FC236}">
                  <a16:creationId xmlns:a16="http://schemas.microsoft.com/office/drawing/2014/main" id="{5343D7B5-C260-4E32-9662-2911A0333ED4}"/>
                </a:ext>
              </a:extLst>
            </p:cNvPr>
            <p:cNvSpPr/>
            <p:nvPr/>
          </p:nvSpPr>
          <p:spPr bwMode="auto">
            <a:xfrm>
              <a:off x="-387148" y="1456587"/>
              <a:ext cx="567745" cy="258066"/>
            </a:xfrm>
            <a:custGeom>
              <a:avLst/>
              <a:gdLst>
                <a:gd name="connsiteX0" fmla="*/ 1 w 567745"/>
                <a:gd name="connsiteY0" fmla="*/ 0 h 258066"/>
                <a:gd name="connsiteX1" fmla="*/ 567745 w 567745"/>
                <a:gd name="connsiteY1" fmla="*/ 0 h 258066"/>
                <a:gd name="connsiteX2" fmla="*/ 567744 w 567745"/>
                <a:gd name="connsiteY2" fmla="*/ 258066 h 258066"/>
                <a:gd name="connsiteX3" fmla="*/ 0 w 567745"/>
                <a:gd name="connsiteY3" fmla="*/ 258066 h 258066"/>
                <a:gd name="connsiteX4" fmla="*/ 1 w 567745"/>
                <a:gd name="connsiteY4" fmla="*/ 0 h 258066"/>
                <a:gd name="connsiteX5" fmla="*/ 64517 w 567745"/>
                <a:gd name="connsiteY5" fmla="*/ 38710 h 258066"/>
                <a:gd name="connsiteX6" fmla="*/ 38710 w 567745"/>
                <a:gd name="connsiteY6" fmla="*/ 64516 h 258066"/>
                <a:gd name="connsiteX7" fmla="*/ 38710 w 567745"/>
                <a:gd name="connsiteY7" fmla="*/ 193549 h 258066"/>
                <a:gd name="connsiteX8" fmla="*/ 64517 w 567745"/>
                <a:gd name="connsiteY8" fmla="*/ 219356 h 258066"/>
                <a:gd name="connsiteX9" fmla="*/ 509679 w 567745"/>
                <a:gd name="connsiteY9" fmla="*/ 219355 h 258066"/>
                <a:gd name="connsiteX10" fmla="*/ 529034 w 567745"/>
                <a:gd name="connsiteY10" fmla="*/ 200000 h 258066"/>
                <a:gd name="connsiteX11" fmla="*/ 529035 w 567745"/>
                <a:gd name="connsiteY11" fmla="*/ 58064 h 258066"/>
                <a:gd name="connsiteX12" fmla="*/ 509679 w 567745"/>
                <a:gd name="connsiteY12" fmla="*/ 38710 h 258066"/>
                <a:gd name="connsiteX13" fmla="*/ 64517 w 567745"/>
                <a:gd name="connsiteY13" fmla="*/ 38710 h 25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7745" h="258066">
                  <a:moveTo>
                    <a:pt x="1" y="0"/>
                  </a:moveTo>
                  <a:lnTo>
                    <a:pt x="567745" y="0"/>
                  </a:lnTo>
                  <a:lnTo>
                    <a:pt x="567744" y="258066"/>
                  </a:lnTo>
                  <a:lnTo>
                    <a:pt x="0" y="258066"/>
                  </a:lnTo>
                  <a:lnTo>
                    <a:pt x="1" y="0"/>
                  </a:lnTo>
                  <a:close/>
                  <a:moveTo>
                    <a:pt x="64517" y="38710"/>
                  </a:moveTo>
                  <a:lnTo>
                    <a:pt x="38710" y="64516"/>
                  </a:lnTo>
                  <a:lnTo>
                    <a:pt x="38710" y="193549"/>
                  </a:lnTo>
                  <a:lnTo>
                    <a:pt x="64517" y="219356"/>
                  </a:lnTo>
                  <a:lnTo>
                    <a:pt x="509679" y="219355"/>
                  </a:lnTo>
                  <a:lnTo>
                    <a:pt x="529034" y="200000"/>
                  </a:lnTo>
                  <a:lnTo>
                    <a:pt x="529035" y="58064"/>
                  </a:lnTo>
                  <a:lnTo>
                    <a:pt x="509679" y="38710"/>
                  </a:lnTo>
                  <a:lnTo>
                    <a:pt x="64517" y="3871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3" name="Freeform: Shape 102">
              <a:extLst>
                <a:ext uri="{FF2B5EF4-FFF2-40B4-BE49-F238E27FC236}">
                  <a16:creationId xmlns:a16="http://schemas.microsoft.com/office/drawing/2014/main" id="{F0A5633B-55C1-4FE8-96A9-7BD262C1C2CE}"/>
                </a:ext>
              </a:extLst>
            </p:cNvPr>
            <p:cNvSpPr/>
            <p:nvPr/>
          </p:nvSpPr>
          <p:spPr bwMode="auto">
            <a:xfrm>
              <a:off x="-154890" y="1521103"/>
              <a:ext cx="103226" cy="129033"/>
            </a:xfrm>
            <a:custGeom>
              <a:avLst/>
              <a:gdLst>
                <a:gd name="connsiteX0" fmla="*/ 51614 w 103226"/>
                <a:gd name="connsiteY0" fmla="*/ 0 h 129033"/>
                <a:gd name="connsiteX1" fmla="*/ 88109 w 103226"/>
                <a:gd name="connsiteY1" fmla="*/ 18896 h 129033"/>
                <a:gd name="connsiteX2" fmla="*/ 103226 w 103226"/>
                <a:gd name="connsiteY2" fmla="*/ 64515 h 129033"/>
                <a:gd name="connsiteX3" fmla="*/ 51613 w 103226"/>
                <a:gd name="connsiteY3" fmla="*/ 129032 h 129033"/>
                <a:gd name="connsiteX4" fmla="*/ 0 w 103226"/>
                <a:gd name="connsiteY4" fmla="*/ 64516 h 129033"/>
                <a:gd name="connsiteX5" fmla="*/ 51614 w 103226"/>
                <a:gd name="connsiteY5" fmla="*/ 0 h 12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226" h="129033">
                  <a:moveTo>
                    <a:pt x="51614" y="0"/>
                  </a:moveTo>
                  <a:cubicBezTo>
                    <a:pt x="65866" y="0"/>
                    <a:pt x="78769" y="7222"/>
                    <a:pt x="88109" y="18896"/>
                  </a:cubicBezTo>
                  <a:cubicBezTo>
                    <a:pt x="97449" y="30572"/>
                    <a:pt x="103226" y="46700"/>
                    <a:pt x="103226" y="64515"/>
                  </a:cubicBezTo>
                  <a:cubicBezTo>
                    <a:pt x="103226" y="100148"/>
                    <a:pt x="80118" y="129033"/>
                    <a:pt x="51613" y="129032"/>
                  </a:cubicBezTo>
                  <a:cubicBezTo>
                    <a:pt x="23108" y="129032"/>
                    <a:pt x="0" y="100148"/>
                    <a:pt x="0" y="64516"/>
                  </a:cubicBezTo>
                  <a:cubicBezTo>
                    <a:pt x="0" y="28885"/>
                    <a:pt x="23109" y="0"/>
                    <a:pt x="51614" y="0"/>
                  </a:cubicBez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4" name="Freeform: Shape 103">
              <a:extLst>
                <a:ext uri="{FF2B5EF4-FFF2-40B4-BE49-F238E27FC236}">
                  <a16:creationId xmlns:a16="http://schemas.microsoft.com/office/drawing/2014/main" id="{8AA886CD-70B7-4DDA-9064-C504038409EC}"/>
                </a:ext>
              </a:extLst>
            </p:cNvPr>
            <p:cNvSpPr/>
            <p:nvPr/>
          </p:nvSpPr>
          <p:spPr bwMode="auto">
            <a:xfrm>
              <a:off x="-283922" y="1566263"/>
              <a:ext cx="38710" cy="38710"/>
            </a:xfrm>
            <a:custGeom>
              <a:avLst/>
              <a:gdLst>
                <a:gd name="connsiteX0" fmla="*/ 19356 w 38710"/>
                <a:gd name="connsiteY0" fmla="*/ 0 h 38710"/>
                <a:gd name="connsiteX1" fmla="*/ 33041 w 38710"/>
                <a:gd name="connsiteY1" fmla="*/ 5670 h 38710"/>
                <a:gd name="connsiteX2" fmla="*/ 38710 w 38710"/>
                <a:gd name="connsiteY2" fmla="*/ 19356 h 38710"/>
                <a:gd name="connsiteX3" fmla="*/ 19355 w 38710"/>
                <a:gd name="connsiteY3" fmla="*/ 38710 h 38710"/>
                <a:gd name="connsiteX4" fmla="*/ 0 w 38710"/>
                <a:gd name="connsiteY4" fmla="*/ 19355 h 38710"/>
                <a:gd name="connsiteX5" fmla="*/ 19356 w 38710"/>
                <a:gd name="connsiteY5" fmla="*/ 0 h 38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10" h="38710">
                  <a:moveTo>
                    <a:pt x="19356" y="0"/>
                  </a:moveTo>
                  <a:cubicBezTo>
                    <a:pt x="24700" y="1"/>
                    <a:pt x="29538" y="2167"/>
                    <a:pt x="33041" y="5670"/>
                  </a:cubicBezTo>
                  <a:cubicBezTo>
                    <a:pt x="36543" y="9172"/>
                    <a:pt x="38710" y="14011"/>
                    <a:pt x="38710" y="19356"/>
                  </a:cubicBezTo>
                  <a:cubicBezTo>
                    <a:pt x="38709" y="30045"/>
                    <a:pt x="30045" y="38710"/>
                    <a:pt x="19355" y="38710"/>
                  </a:cubicBezTo>
                  <a:cubicBezTo>
                    <a:pt x="8666" y="38710"/>
                    <a:pt x="0" y="30045"/>
                    <a:pt x="0" y="19355"/>
                  </a:cubicBezTo>
                  <a:cubicBezTo>
                    <a:pt x="0" y="8666"/>
                    <a:pt x="8666" y="1"/>
                    <a:pt x="19356" y="0"/>
                  </a:cubicBez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Shape 104">
              <a:extLst>
                <a:ext uri="{FF2B5EF4-FFF2-40B4-BE49-F238E27FC236}">
                  <a16:creationId xmlns:a16="http://schemas.microsoft.com/office/drawing/2014/main" id="{49D7D9A4-E92B-48A9-A8B7-25A8DA361EE6}"/>
                </a:ext>
              </a:extLst>
            </p:cNvPr>
            <p:cNvSpPr/>
            <p:nvPr/>
          </p:nvSpPr>
          <p:spPr bwMode="auto">
            <a:xfrm>
              <a:off x="38658" y="1566263"/>
              <a:ext cx="38710" cy="38710"/>
            </a:xfrm>
            <a:custGeom>
              <a:avLst/>
              <a:gdLst>
                <a:gd name="connsiteX0" fmla="*/ 19356 w 38710"/>
                <a:gd name="connsiteY0" fmla="*/ 0 h 38710"/>
                <a:gd name="connsiteX1" fmla="*/ 33041 w 38710"/>
                <a:gd name="connsiteY1" fmla="*/ 5670 h 38710"/>
                <a:gd name="connsiteX2" fmla="*/ 38710 w 38710"/>
                <a:gd name="connsiteY2" fmla="*/ 19356 h 38710"/>
                <a:gd name="connsiteX3" fmla="*/ 19355 w 38710"/>
                <a:gd name="connsiteY3" fmla="*/ 38710 h 38710"/>
                <a:gd name="connsiteX4" fmla="*/ 0 w 38710"/>
                <a:gd name="connsiteY4" fmla="*/ 19355 h 38710"/>
                <a:gd name="connsiteX5" fmla="*/ 19356 w 38710"/>
                <a:gd name="connsiteY5" fmla="*/ 0 h 38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10" h="38710">
                  <a:moveTo>
                    <a:pt x="19356" y="0"/>
                  </a:moveTo>
                  <a:cubicBezTo>
                    <a:pt x="24700" y="1"/>
                    <a:pt x="29538" y="2167"/>
                    <a:pt x="33041" y="5670"/>
                  </a:cubicBezTo>
                  <a:cubicBezTo>
                    <a:pt x="36543" y="9172"/>
                    <a:pt x="38710" y="14011"/>
                    <a:pt x="38710" y="19356"/>
                  </a:cubicBezTo>
                  <a:cubicBezTo>
                    <a:pt x="38709" y="30045"/>
                    <a:pt x="30045" y="38710"/>
                    <a:pt x="19355" y="38710"/>
                  </a:cubicBezTo>
                  <a:cubicBezTo>
                    <a:pt x="8666" y="38710"/>
                    <a:pt x="0" y="30045"/>
                    <a:pt x="0" y="19355"/>
                  </a:cubicBezTo>
                  <a:cubicBezTo>
                    <a:pt x="0" y="8666"/>
                    <a:pt x="8666" y="1"/>
                    <a:pt x="19356" y="0"/>
                  </a:cubicBez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Tree>
    <p:extLst>
      <p:ext uri="{BB962C8B-B14F-4D97-AF65-F5344CB8AC3E}">
        <p14:creationId xmlns:p14="http://schemas.microsoft.com/office/powerpoint/2010/main" val="11312707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C67AE9-1733-4285-B569-33A68F7FB594}"/>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Working With Partners</a:t>
            </a:r>
          </a:p>
        </p:txBody>
      </p:sp>
    </p:spTree>
    <p:extLst>
      <p:ext uri="{BB962C8B-B14F-4D97-AF65-F5344CB8AC3E}">
        <p14:creationId xmlns:p14="http://schemas.microsoft.com/office/powerpoint/2010/main" val="130893520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C67AE9-1733-4285-B569-33A68F7FB594}"/>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Knowledge Mining Opportunity</a:t>
            </a:r>
          </a:p>
        </p:txBody>
      </p:sp>
    </p:spTree>
    <p:extLst>
      <p:ext uri="{BB962C8B-B14F-4D97-AF65-F5344CB8AC3E}">
        <p14:creationId xmlns:p14="http://schemas.microsoft.com/office/powerpoint/2010/main" val="153189769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832DD-1B91-4E99-B058-FD47250ED2FB}"/>
              </a:ext>
            </a:extLst>
          </p:cNvPr>
          <p:cNvSpPr>
            <a:spLocks noGrp="1"/>
          </p:cNvSpPr>
          <p:nvPr>
            <p:ph type="title"/>
          </p:nvPr>
        </p:nvSpPr>
        <p:spPr>
          <a:xfrm>
            <a:off x="306333" y="569633"/>
            <a:ext cx="11885667" cy="736201"/>
          </a:xfrm>
        </p:spPr>
        <p:txBody>
          <a:bodyPr>
            <a:noAutofit/>
          </a:bodyPr>
          <a:lstStyle/>
          <a:p>
            <a:r>
              <a:rPr lang="en-US" b="1">
                <a:solidFill>
                  <a:srgbClr val="505050"/>
                </a:solidFill>
                <a:latin typeface="Segoe UI Light" panose="020B0502040204020203" pitchFamily="34" charset="0"/>
                <a:cs typeface="Segoe UI Light" panose="020B0502040204020203" pitchFamily="34" charset="0"/>
              </a:rPr>
              <a:t>Engage Early with Partners</a:t>
            </a:r>
          </a:p>
        </p:txBody>
      </p:sp>
      <p:sp>
        <p:nvSpPr>
          <p:cNvPr id="5" name="TextBox 4">
            <a:extLst>
              <a:ext uri="{FF2B5EF4-FFF2-40B4-BE49-F238E27FC236}">
                <a16:creationId xmlns:a16="http://schemas.microsoft.com/office/drawing/2014/main" id="{F1ED876F-A7B5-4731-97C2-D25151D24BE6}"/>
              </a:ext>
            </a:extLst>
          </p:cNvPr>
          <p:cNvSpPr txBox="1"/>
          <p:nvPr/>
        </p:nvSpPr>
        <p:spPr>
          <a:xfrm>
            <a:off x="344120" y="1333464"/>
            <a:ext cx="11708180" cy="778467"/>
          </a:xfrm>
          <a:prstGeom prst="rect">
            <a:avLst/>
          </a:prstGeom>
          <a:noFill/>
        </p:spPr>
        <p:txBody>
          <a:bodyPr wrap="square" lIns="179259" tIns="143407" rIns="179259" bIns="143407" rtlCol="0">
            <a:spAutoFit/>
          </a:bodyPr>
          <a:lstStyle>
            <a:defPPr>
              <a:defRPr lang="en-US"/>
            </a:defPPr>
            <a:lvl1pPr>
              <a:lnSpc>
                <a:spcPct val="90000"/>
              </a:lnSpc>
              <a:spcAft>
                <a:spcPts val="600"/>
              </a:spcAft>
              <a:defRPr>
                <a:gradFill>
                  <a:gsLst>
                    <a:gs pos="100000">
                      <a:schemeClr val="tx1"/>
                    </a:gs>
                    <a:gs pos="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100000">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A collaborative selling journey to </a:t>
            </a:r>
            <a:r>
              <a:rPr kumimoji="0" lang="en-US" sz="1765" b="1" i="0" u="none" strike="noStrike" kern="1200" cap="none" spc="0" normalizeH="0" baseline="0" noProof="0">
                <a:ln>
                  <a:noFill/>
                </a:ln>
                <a:gradFill>
                  <a:gsLst>
                    <a:gs pos="100000">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partner early in the sales cycle </a:t>
            </a:r>
            <a:r>
              <a:rPr kumimoji="0" lang="en-US" sz="1765" b="0" i="0" u="none" strike="noStrike" kern="1200" cap="none" spc="0" normalizeH="0" baseline="0" noProof="0">
                <a:ln>
                  <a:noFill/>
                </a:ln>
                <a:gradFill>
                  <a:gsLst>
                    <a:gs pos="100000">
                      <a:srgbClr val="2F2F2F"/>
                    </a:gs>
                    <a:gs pos="0">
                      <a:srgbClr val="2F2F2F"/>
                    </a:gs>
                  </a:gsLst>
                  <a:lin ang="5400000" scaled="0"/>
                </a:gradFill>
                <a:effectLst/>
                <a:uLnTx/>
                <a:uFillTx/>
                <a:latin typeface="Segoe UI" panose="020B0502040204020203" pitchFamily="34" charset="0"/>
                <a:ea typeface="+mn-ea"/>
                <a:cs typeface="Segoe UI" panose="020B0502040204020203" pitchFamily="34" charset="0"/>
              </a:rPr>
              <a:t>and to enable Microsoft and top Partners to drive joint consumption revenue, larger and more strategic projects, and customer success!</a:t>
            </a:r>
          </a:p>
        </p:txBody>
      </p:sp>
      <p:grpSp>
        <p:nvGrpSpPr>
          <p:cNvPr id="6" name="Group 5">
            <a:extLst>
              <a:ext uri="{FF2B5EF4-FFF2-40B4-BE49-F238E27FC236}">
                <a16:creationId xmlns:a16="http://schemas.microsoft.com/office/drawing/2014/main" id="{1BD9003F-7259-454D-AACB-1D13D004CBA4}"/>
              </a:ext>
            </a:extLst>
          </p:cNvPr>
          <p:cNvGrpSpPr/>
          <p:nvPr/>
        </p:nvGrpSpPr>
        <p:grpSpPr>
          <a:xfrm>
            <a:off x="4188436" y="3882423"/>
            <a:ext cx="1638540" cy="745033"/>
            <a:chOff x="3891767" y="3752290"/>
            <a:chExt cx="1638772" cy="745139"/>
          </a:xfrm>
        </p:grpSpPr>
        <p:grpSp>
          <p:nvGrpSpPr>
            <p:cNvPr id="19" name="Group 18"/>
            <p:cNvGrpSpPr/>
            <p:nvPr/>
          </p:nvGrpSpPr>
          <p:grpSpPr>
            <a:xfrm>
              <a:off x="4178541" y="3752290"/>
              <a:ext cx="354343" cy="446654"/>
              <a:chOff x="9049397" y="3538221"/>
              <a:chExt cx="843714" cy="1063508"/>
            </a:xfrm>
            <a:noFill/>
          </p:grpSpPr>
          <p:sp>
            <p:nvSpPr>
              <p:cNvPr id="20" name="Delay 472"/>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grp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1" name="Group 20"/>
              <p:cNvGrpSpPr/>
              <p:nvPr/>
            </p:nvGrpSpPr>
            <p:grpSpPr>
              <a:xfrm>
                <a:off x="9049397" y="3679725"/>
                <a:ext cx="843714" cy="922004"/>
                <a:chOff x="7480331" y="4348086"/>
                <a:chExt cx="144649" cy="158071"/>
              </a:xfrm>
              <a:grpFill/>
            </p:grpSpPr>
            <p:sp>
              <p:nvSpPr>
                <p:cNvPr id="22" name="Oval 9">
                  <a:extLst>
                    <a:ext uri="{FF2B5EF4-FFF2-40B4-BE49-F238E27FC236}">
                      <a16:creationId xmlns:a16="http://schemas.microsoft.com/office/drawing/2014/main" id="{BF544115-29A6-4A08-8D58-E21F1E164DF9}"/>
                    </a:ext>
                  </a:extLst>
                </p:cNvPr>
                <p:cNvSpPr>
                  <a:spLocks noChangeArrowheads="1"/>
                </p:cNvSpPr>
                <p:nvPr/>
              </p:nvSpPr>
              <p:spPr bwMode="auto">
                <a:xfrm>
                  <a:off x="7502206" y="4348086"/>
                  <a:ext cx="99632" cy="86327"/>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42" h="503534">
                      <a:moveTo>
                        <a:pt x="664" y="213294"/>
                      </a:moveTo>
                      <a:cubicBezTo>
                        <a:pt x="-12193" y="134453"/>
                        <a:pt x="165391" y="78861"/>
                        <a:pt x="213764" y="30488"/>
                      </a:cubicBezTo>
                      <a:cubicBezTo>
                        <a:pt x="262137" y="-17885"/>
                        <a:pt x="250084" y="-1278"/>
                        <a:pt x="311314" y="29190"/>
                      </a:cubicBezTo>
                      <a:cubicBezTo>
                        <a:pt x="372544" y="59658"/>
                        <a:pt x="581142" y="52999"/>
                        <a:pt x="581142" y="213294"/>
                      </a:cubicBezTo>
                      <a:cubicBezTo>
                        <a:pt x="581142" y="373589"/>
                        <a:pt x="451198" y="503534"/>
                        <a:pt x="290903" y="503534"/>
                      </a:cubicBezTo>
                      <a:cubicBezTo>
                        <a:pt x="130608" y="503534"/>
                        <a:pt x="13521" y="292135"/>
                        <a:pt x="664" y="213294"/>
                      </a:cubicBezTo>
                      <a:close/>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Freeform 10">
                  <a:extLst>
                    <a:ext uri="{FF2B5EF4-FFF2-40B4-BE49-F238E27FC236}">
                      <a16:creationId xmlns:a16="http://schemas.microsoft.com/office/drawing/2014/main" id="{8A130C13-A7B2-4973-993E-AAD24BFD8990}"/>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8" name="TextBox 27">
              <a:extLst>
                <a:ext uri="{FF2B5EF4-FFF2-40B4-BE49-F238E27FC236}">
                  <a16:creationId xmlns:a16="http://schemas.microsoft.com/office/drawing/2014/main" id="{B4514D88-187C-4FF8-81A6-9647A4B28806}"/>
                </a:ext>
              </a:extLst>
            </p:cNvPr>
            <p:cNvSpPr txBox="1"/>
            <p:nvPr/>
          </p:nvSpPr>
          <p:spPr>
            <a:xfrm>
              <a:off x="3891767" y="4228044"/>
              <a:ext cx="927891" cy="253944"/>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0"/>
                  </a:gradFill>
                  <a:effectLst/>
                  <a:uLnTx/>
                  <a:uFillTx/>
                  <a:latin typeface="Segoe UI" panose="020B0502040204020203" pitchFamily="34" charset="0"/>
                  <a:ea typeface="Segoe UI Semibold" charset="0"/>
                  <a:cs typeface="Segoe UI" panose="020B0502040204020203" pitchFamily="34" charset="0"/>
                </a:rPr>
                <a:t>Microsoft</a:t>
              </a:r>
            </a:p>
          </p:txBody>
        </p:sp>
        <p:sp>
          <p:nvSpPr>
            <p:cNvPr id="29" name="TextBox 28">
              <a:extLst>
                <a:ext uri="{FF2B5EF4-FFF2-40B4-BE49-F238E27FC236}">
                  <a16:creationId xmlns:a16="http://schemas.microsoft.com/office/drawing/2014/main" id="{B4514D88-187C-4FF8-81A6-9647A4B28806}"/>
                </a:ext>
              </a:extLst>
            </p:cNvPr>
            <p:cNvSpPr txBox="1"/>
            <p:nvPr/>
          </p:nvSpPr>
          <p:spPr>
            <a:xfrm>
              <a:off x="4602648" y="4243485"/>
              <a:ext cx="927891" cy="253944"/>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8272"/>
                      </a:gs>
                      <a:gs pos="100000">
                        <a:srgbClr val="008272"/>
                      </a:gs>
                    </a:gsLst>
                    <a:lin ang="5400000" scaled="0"/>
                  </a:gradFill>
                  <a:effectLst/>
                  <a:uLnTx/>
                  <a:uFillTx/>
                  <a:latin typeface="Segoe UI" panose="020B0502040204020203" pitchFamily="34" charset="0"/>
                  <a:ea typeface="Segoe UI Semibold" charset="0"/>
                  <a:cs typeface="Segoe UI" panose="020B0502040204020203" pitchFamily="34" charset="0"/>
                </a:rPr>
                <a:t>Partner</a:t>
              </a:r>
            </a:p>
          </p:txBody>
        </p:sp>
        <p:grpSp>
          <p:nvGrpSpPr>
            <p:cNvPr id="32" name="Group 31">
              <a:extLst>
                <a:ext uri="{FF2B5EF4-FFF2-40B4-BE49-F238E27FC236}">
                  <a16:creationId xmlns:a16="http://schemas.microsoft.com/office/drawing/2014/main" id="{966986C6-C168-4CB1-B5E9-75EC6F5C8F41}"/>
                </a:ext>
              </a:extLst>
            </p:cNvPr>
            <p:cNvGrpSpPr/>
            <p:nvPr/>
          </p:nvGrpSpPr>
          <p:grpSpPr>
            <a:xfrm>
              <a:off x="4851513" y="3756694"/>
              <a:ext cx="399759" cy="446653"/>
              <a:chOff x="709535" y="3658062"/>
              <a:chExt cx="1430415" cy="1598221"/>
            </a:xfrm>
          </p:grpSpPr>
          <p:sp>
            <p:nvSpPr>
              <p:cNvPr id="35" name="Freeform 5">
                <a:extLst>
                  <a:ext uri="{FF2B5EF4-FFF2-40B4-BE49-F238E27FC236}">
                    <a16:creationId xmlns:a16="http://schemas.microsoft.com/office/drawing/2014/main" id="{4A6326CC-D657-4E54-B69A-DB9903D8A5DF}"/>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Trapezoid 22">
                <a:extLst>
                  <a:ext uri="{FF2B5EF4-FFF2-40B4-BE49-F238E27FC236}">
                    <a16:creationId xmlns:a16="http://schemas.microsoft.com/office/drawing/2014/main" id="{583C3FF7-A3BD-4D85-B938-42ECD43A4192}"/>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Trapezoid 39">
                <a:extLst>
                  <a:ext uri="{FF2B5EF4-FFF2-40B4-BE49-F238E27FC236}">
                    <a16:creationId xmlns:a16="http://schemas.microsoft.com/office/drawing/2014/main" id="{91D5CB77-3E9E-4D30-92E7-902504316FB3}"/>
                  </a:ext>
                </a:extLst>
              </p:cNvPr>
              <p:cNvSpPr/>
              <p:nvPr/>
            </p:nvSpPr>
            <p:spPr bwMode="auto">
              <a:xfrm>
                <a:off x="1304538" y="4754251"/>
                <a:ext cx="240408" cy="498694"/>
              </a:xfrm>
              <a:prstGeom prst="trapezoid">
                <a:avLst>
                  <a:gd name="adj" fmla="val 3160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87" name="Rectangle: Rounded Corners 86">
            <a:extLst>
              <a:ext uri="{FF2B5EF4-FFF2-40B4-BE49-F238E27FC236}">
                <a16:creationId xmlns:a16="http://schemas.microsoft.com/office/drawing/2014/main" id="{2BE10528-521B-4003-8F94-AEC0873A01F3}"/>
              </a:ext>
            </a:extLst>
          </p:cNvPr>
          <p:cNvSpPr/>
          <p:nvPr/>
        </p:nvSpPr>
        <p:spPr bwMode="auto">
          <a:xfrm>
            <a:off x="4208205" y="3378684"/>
            <a:ext cx="1599972" cy="1599973"/>
          </a:xfrm>
          <a:prstGeom prst="roundRect">
            <a:avLst>
              <a:gd name="adj" fmla="val 50000"/>
            </a:avLst>
          </a:prstGeom>
          <a:noFill/>
          <a:ln w="12700">
            <a:solidFill>
              <a:schemeClr val="tx1">
                <a:lumMod val="75000"/>
                <a:lumOff val="2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8963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ct val="0"/>
              </a:spcAft>
              <a:buClrTx/>
              <a:buSzTx/>
              <a:buFontTx/>
              <a:buNone/>
              <a:tabLst/>
              <a:defRPr/>
            </a:pPr>
            <a:endParaRPr kumimoji="0" lang="en-US" sz="137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6" name="Group 35">
            <a:extLst>
              <a:ext uri="{FF2B5EF4-FFF2-40B4-BE49-F238E27FC236}">
                <a16:creationId xmlns:a16="http://schemas.microsoft.com/office/drawing/2014/main" id="{60AC6D39-E49A-410A-A776-056BC81DBC26}"/>
              </a:ext>
            </a:extLst>
          </p:cNvPr>
          <p:cNvGrpSpPr>
            <a:grpSpLocks noChangeAspect="1"/>
          </p:cNvGrpSpPr>
          <p:nvPr/>
        </p:nvGrpSpPr>
        <p:grpSpPr>
          <a:xfrm>
            <a:off x="6056038" y="3376305"/>
            <a:ext cx="1724516" cy="1599973"/>
            <a:chOff x="6816528" y="2940673"/>
            <a:chExt cx="2425937" cy="2250738"/>
          </a:xfrm>
        </p:grpSpPr>
        <p:sp>
          <p:nvSpPr>
            <p:cNvPr id="114" name="Rectangle: Rounded Corners 113">
              <a:extLst>
                <a:ext uri="{FF2B5EF4-FFF2-40B4-BE49-F238E27FC236}">
                  <a16:creationId xmlns:a16="http://schemas.microsoft.com/office/drawing/2014/main" id="{CF956ED5-B73C-4910-B756-D53D53E49089}"/>
                </a:ext>
              </a:extLst>
            </p:cNvPr>
            <p:cNvSpPr/>
            <p:nvPr/>
          </p:nvSpPr>
          <p:spPr bwMode="auto">
            <a:xfrm>
              <a:off x="6927308" y="2940673"/>
              <a:ext cx="2250738" cy="2250738"/>
            </a:xfrm>
            <a:prstGeom prst="roundRect">
              <a:avLst>
                <a:gd name="adj" fmla="val 50000"/>
              </a:avLst>
            </a:prstGeom>
            <a:noFill/>
            <a:ln w="12700">
              <a:solidFill>
                <a:schemeClr val="tx1">
                  <a:lumMod val="75000"/>
                  <a:lumOff val="2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8963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ct val="0"/>
                </a:spcAft>
                <a:buClrTx/>
                <a:buSzTx/>
                <a:buFontTx/>
                <a:buNone/>
                <a:tabLst/>
                <a:defRPr/>
              </a:pPr>
              <a:endParaRPr kumimoji="0" lang="en-US" sz="137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B7D1D29F-3666-4B51-88D4-49AA1FB0D0BA}"/>
                </a:ext>
              </a:extLst>
            </p:cNvPr>
            <p:cNvGrpSpPr/>
            <p:nvPr/>
          </p:nvGrpSpPr>
          <p:grpSpPr>
            <a:xfrm>
              <a:off x="6816528" y="3649299"/>
              <a:ext cx="2425937" cy="1112522"/>
              <a:chOff x="6836700" y="3649299"/>
              <a:chExt cx="2425937" cy="1112522"/>
            </a:xfrm>
          </p:grpSpPr>
          <p:grpSp>
            <p:nvGrpSpPr>
              <p:cNvPr id="101" name="Group 100">
                <a:extLst>
                  <a:ext uri="{FF2B5EF4-FFF2-40B4-BE49-F238E27FC236}">
                    <a16:creationId xmlns:a16="http://schemas.microsoft.com/office/drawing/2014/main" id="{69712120-81CE-4D78-A044-2F7C86206FFB}"/>
                  </a:ext>
                </a:extLst>
              </p:cNvPr>
              <p:cNvGrpSpPr/>
              <p:nvPr/>
            </p:nvGrpSpPr>
            <p:grpSpPr>
              <a:xfrm>
                <a:off x="7240058" y="3649299"/>
                <a:ext cx="498396" cy="628234"/>
                <a:chOff x="9049397" y="3538221"/>
                <a:chExt cx="843714" cy="1063508"/>
              </a:xfrm>
              <a:noFill/>
            </p:grpSpPr>
            <p:sp>
              <p:nvSpPr>
                <p:cNvPr id="110" name="Delay 472">
                  <a:extLst>
                    <a:ext uri="{FF2B5EF4-FFF2-40B4-BE49-F238E27FC236}">
                      <a16:creationId xmlns:a16="http://schemas.microsoft.com/office/drawing/2014/main" id="{CF5522EF-5F31-4311-86FE-3C7E04639DC2}"/>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grp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C00102C3-469E-4CA7-BB32-F6ED8ACEB03A}"/>
                    </a:ext>
                  </a:extLst>
                </p:cNvPr>
                <p:cNvGrpSpPr/>
                <p:nvPr/>
              </p:nvGrpSpPr>
              <p:grpSpPr>
                <a:xfrm>
                  <a:off x="9049397" y="3679725"/>
                  <a:ext cx="843714" cy="922004"/>
                  <a:chOff x="7480331" y="4348086"/>
                  <a:chExt cx="144649" cy="158071"/>
                </a:xfrm>
                <a:grpFill/>
              </p:grpSpPr>
              <p:sp>
                <p:nvSpPr>
                  <p:cNvPr id="112" name="Oval 9">
                    <a:extLst>
                      <a:ext uri="{FF2B5EF4-FFF2-40B4-BE49-F238E27FC236}">
                        <a16:creationId xmlns:a16="http://schemas.microsoft.com/office/drawing/2014/main" id="{A43870CD-6BD7-46AF-93F3-35E8BD034EC2}"/>
                      </a:ext>
                    </a:extLst>
                  </p:cNvPr>
                  <p:cNvSpPr>
                    <a:spLocks noChangeArrowheads="1"/>
                  </p:cNvSpPr>
                  <p:nvPr/>
                </p:nvSpPr>
                <p:spPr bwMode="auto">
                  <a:xfrm>
                    <a:off x="7502206" y="4348086"/>
                    <a:ext cx="99632" cy="86327"/>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42" h="503534">
                        <a:moveTo>
                          <a:pt x="664" y="213294"/>
                        </a:moveTo>
                        <a:cubicBezTo>
                          <a:pt x="-12193" y="134453"/>
                          <a:pt x="165391" y="78861"/>
                          <a:pt x="213764" y="30488"/>
                        </a:cubicBezTo>
                        <a:cubicBezTo>
                          <a:pt x="262137" y="-17885"/>
                          <a:pt x="250084" y="-1278"/>
                          <a:pt x="311314" y="29190"/>
                        </a:cubicBezTo>
                        <a:cubicBezTo>
                          <a:pt x="372544" y="59658"/>
                          <a:pt x="581142" y="52999"/>
                          <a:pt x="581142" y="213294"/>
                        </a:cubicBezTo>
                        <a:cubicBezTo>
                          <a:pt x="581142" y="373589"/>
                          <a:pt x="451198" y="503534"/>
                          <a:pt x="290903" y="503534"/>
                        </a:cubicBezTo>
                        <a:cubicBezTo>
                          <a:pt x="130608" y="503534"/>
                          <a:pt x="13521" y="292135"/>
                          <a:pt x="664" y="213294"/>
                        </a:cubicBezTo>
                        <a:close/>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3" name="Freeform 10">
                    <a:extLst>
                      <a:ext uri="{FF2B5EF4-FFF2-40B4-BE49-F238E27FC236}">
                        <a16:creationId xmlns:a16="http://schemas.microsoft.com/office/drawing/2014/main" id="{E04A399B-6E51-49C9-8BA5-53C9A0720496}"/>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02" name="TextBox 101">
                <a:extLst>
                  <a:ext uri="{FF2B5EF4-FFF2-40B4-BE49-F238E27FC236}">
                    <a16:creationId xmlns:a16="http://schemas.microsoft.com/office/drawing/2014/main" id="{B94776EE-0C61-4534-B80A-A350947087BC}"/>
                  </a:ext>
                </a:extLst>
              </p:cNvPr>
              <p:cNvSpPr txBox="1"/>
              <p:nvPr/>
            </p:nvSpPr>
            <p:spPr>
              <a:xfrm>
                <a:off x="6836700" y="4318464"/>
                <a:ext cx="1305113" cy="357181"/>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0"/>
                    </a:gradFill>
                    <a:effectLst/>
                    <a:uLnTx/>
                    <a:uFillTx/>
                    <a:latin typeface="Segoe UI" panose="020B0502040204020203" pitchFamily="34" charset="0"/>
                    <a:ea typeface="Segoe UI Semibold" charset="0"/>
                    <a:cs typeface="Segoe UI" panose="020B0502040204020203" pitchFamily="34" charset="0"/>
                  </a:rPr>
                  <a:t>Microsoft</a:t>
                </a:r>
              </a:p>
            </p:txBody>
          </p:sp>
          <p:sp>
            <p:nvSpPr>
              <p:cNvPr id="103" name="TextBox 102">
                <a:extLst>
                  <a:ext uri="{FF2B5EF4-FFF2-40B4-BE49-F238E27FC236}">
                    <a16:creationId xmlns:a16="http://schemas.microsoft.com/office/drawing/2014/main" id="{E09CE4B9-1081-4B2D-AFAF-0DEBB303030B}"/>
                  </a:ext>
                </a:extLst>
              </p:cNvPr>
              <p:cNvSpPr txBox="1"/>
              <p:nvPr/>
            </p:nvSpPr>
            <p:spPr>
              <a:xfrm>
                <a:off x="7957525" y="4356603"/>
                <a:ext cx="1305112" cy="405218"/>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8272"/>
                        </a:gs>
                        <a:gs pos="100000">
                          <a:srgbClr val="008272"/>
                        </a:gs>
                      </a:gsLst>
                      <a:lin ang="5400000" scaled="0"/>
                    </a:gradFill>
                    <a:effectLst/>
                    <a:uLnTx/>
                    <a:uFillTx/>
                    <a:latin typeface="Segoe UI" panose="020B0502040204020203" pitchFamily="34" charset="0"/>
                    <a:ea typeface="Segoe UI Semibold" charset="0"/>
                    <a:cs typeface="Segoe UI" panose="020B0502040204020203" pitchFamily="34" charset="0"/>
                  </a:rPr>
                  <a:t>Partner</a:t>
                </a:r>
              </a:p>
            </p:txBody>
          </p:sp>
          <p:grpSp>
            <p:nvGrpSpPr>
              <p:cNvPr id="106" name="Group 105">
                <a:extLst>
                  <a:ext uri="{FF2B5EF4-FFF2-40B4-BE49-F238E27FC236}">
                    <a16:creationId xmlns:a16="http://schemas.microsoft.com/office/drawing/2014/main" id="{D2951C1A-BA7F-4F7C-9FDC-349560564474}"/>
                  </a:ext>
                </a:extLst>
              </p:cNvPr>
              <p:cNvGrpSpPr/>
              <p:nvPr/>
            </p:nvGrpSpPr>
            <p:grpSpPr>
              <a:xfrm>
                <a:off x="8352561" y="3655494"/>
                <a:ext cx="562275" cy="628233"/>
                <a:chOff x="709535" y="3658062"/>
                <a:chExt cx="1430415" cy="1598221"/>
              </a:xfrm>
            </p:grpSpPr>
            <p:sp>
              <p:nvSpPr>
                <p:cNvPr id="107" name="Freeform 5">
                  <a:extLst>
                    <a:ext uri="{FF2B5EF4-FFF2-40B4-BE49-F238E27FC236}">
                      <a16:creationId xmlns:a16="http://schemas.microsoft.com/office/drawing/2014/main" id="{2079952C-76FE-48D5-BA25-7DC9F16FCC25}"/>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8" name="Trapezoid 22">
                  <a:extLst>
                    <a:ext uri="{FF2B5EF4-FFF2-40B4-BE49-F238E27FC236}">
                      <a16:creationId xmlns:a16="http://schemas.microsoft.com/office/drawing/2014/main" id="{B0EA6E54-A224-41C0-ACDE-13ED8F992C77}"/>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Trapezoid 108">
                  <a:extLst>
                    <a:ext uri="{FF2B5EF4-FFF2-40B4-BE49-F238E27FC236}">
                      <a16:creationId xmlns:a16="http://schemas.microsoft.com/office/drawing/2014/main" id="{81A5910B-7242-4919-9DB9-3BA7AD668CB4}"/>
                    </a:ext>
                  </a:extLst>
                </p:cNvPr>
                <p:cNvSpPr/>
                <p:nvPr/>
              </p:nvSpPr>
              <p:spPr bwMode="auto">
                <a:xfrm>
                  <a:off x="1304538" y="4754251"/>
                  <a:ext cx="240408" cy="498694"/>
                </a:xfrm>
                <a:prstGeom prst="trapezoid">
                  <a:avLst>
                    <a:gd name="adj" fmla="val 3160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15" name="Group 114">
                <a:extLst>
                  <a:ext uri="{FF2B5EF4-FFF2-40B4-BE49-F238E27FC236}">
                    <a16:creationId xmlns:a16="http://schemas.microsoft.com/office/drawing/2014/main" id="{930222A0-54CB-479F-9049-0872864167D5}"/>
                  </a:ext>
                </a:extLst>
              </p:cNvPr>
              <p:cNvGrpSpPr/>
              <p:nvPr/>
            </p:nvGrpSpPr>
            <p:grpSpPr>
              <a:xfrm>
                <a:off x="7874246" y="3814280"/>
                <a:ext cx="451018" cy="332424"/>
                <a:chOff x="5351278" y="2144794"/>
                <a:chExt cx="487523" cy="359330"/>
              </a:xfrm>
            </p:grpSpPr>
            <p:sp>
              <p:nvSpPr>
                <p:cNvPr id="116" name="arrow_16">
                  <a:extLst>
                    <a:ext uri="{FF2B5EF4-FFF2-40B4-BE49-F238E27FC236}">
                      <a16:creationId xmlns:a16="http://schemas.microsoft.com/office/drawing/2014/main" id="{C524AE24-B512-4C89-B176-0EA528A2F1D8}"/>
                    </a:ext>
                  </a:extLst>
                </p:cNvPr>
                <p:cNvSpPr>
                  <a:spLocks noChangeAspect="1" noEditPoints="1"/>
                </p:cNvSpPr>
                <p:nvPr/>
              </p:nvSpPr>
              <p:spPr bwMode="auto">
                <a:xfrm>
                  <a:off x="5351278" y="2144794"/>
                  <a:ext cx="487523" cy="359330"/>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270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7" name="Rectangle 13">
                  <a:extLst>
                    <a:ext uri="{FF2B5EF4-FFF2-40B4-BE49-F238E27FC236}">
                      <a16:creationId xmlns:a16="http://schemas.microsoft.com/office/drawing/2014/main" id="{5C35951F-D626-4C80-82A0-8C93117DB0A8}"/>
                    </a:ext>
                  </a:extLst>
                </p:cNvPr>
                <p:cNvSpPr/>
                <p:nvPr/>
              </p:nvSpPr>
              <p:spPr bwMode="auto">
                <a:xfrm rot="18759500">
                  <a:off x="5355639" y="2168472"/>
                  <a:ext cx="91029" cy="91029"/>
                </a:xfrm>
                <a:custGeom>
                  <a:avLst/>
                  <a:gdLst>
                    <a:gd name="connsiteX0" fmla="*/ 0 w 281080"/>
                    <a:gd name="connsiteY0" fmla="*/ 0 h 281080"/>
                    <a:gd name="connsiteX1" fmla="*/ 281080 w 281080"/>
                    <a:gd name="connsiteY1" fmla="*/ 0 h 281080"/>
                    <a:gd name="connsiteX2" fmla="*/ 281080 w 281080"/>
                    <a:gd name="connsiteY2" fmla="*/ 281080 h 281080"/>
                    <a:gd name="connsiteX3" fmla="*/ 0 w 281080"/>
                    <a:gd name="connsiteY3" fmla="*/ 281080 h 281080"/>
                    <a:gd name="connsiteX4" fmla="*/ 0 w 281080"/>
                    <a:gd name="connsiteY4" fmla="*/ 0 h 281080"/>
                    <a:gd name="connsiteX0" fmla="*/ 281080 w 372520"/>
                    <a:gd name="connsiteY0" fmla="*/ 281080 h 372520"/>
                    <a:gd name="connsiteX1" fmla="*/ 0 w 372520"/>
                    <a:gd name="connsiteY1" fmla="*/ 281080 h 372520"/>
                    <a:gd name="connsiteX2" fmla="*/ 0 w 372520"/>
                    <a:gd name="connsiteY2" fmla="*/ 0 h 372520"/>
                    <a:gd name="connsiteX3" fmla="*/ 281080 w 372520"/>
                    <a:gd name="connsiteY3" fmla="*/ 0 h 372520"/>
                    <a:gd name="connsiteX4" fmla="*/ 372520 w 372520"/>
                    <a:gd name="connsiteY4" fmla="*/ 372520 h 372520"/>
                    <a:gd name="connsiteX0" fmla="*/ 281080 w 281080"/>
                    <a:gd name="connsiteY0" fmla="*/ 281080 h 281080"/>
                    <a:gd name="connsiteX1" fmla="*/ 0 w 281080"/>
                    <a:gd name="connsiteY1" fmla="*/ 281080 h 281080"/>
                    <a:gd name="connsiteX2" fmla="*/ 0 w 281080"/>
                    <a:gd name="connsiteY2" fmla="*/ 0 h 281080"/>
                    <a:gd name="connsiteX3" fmla="*/ 281080 w 281080"/>
                    <a:gd name="connsiteY3" fmla="*/ 0 h 281080"/>
                    <a:gd name="connsiteX0" fmla="*/ 0 w 281080"/>
                    <a:gd name="connsiteY0" fmla="*/ 281080 h 281080"/>
                    <a:gd name="connsiteX1" fmla="*/ 0 w 281080"/>
                    <a:gd name="connsiteY1" fmla="*/ 0 h 281080"/>
                    <a:gd name="connsiteX2" fmla="*/ 281080 w 281080"/>
                    <a:gd name="connsiteY2" fmla="*/ 0 h 281080"/>
                  </a:gdLst>
                  <a:ahLst/>
                  <a:cxnLst>
                    <a:cxn ang="0">
                      <a:pos x="connsiteX0" y="connsiteY0"/>
                    </a:cxn>
                    <a:cxn ang="0">
                      <a:pos x="connsiteX1" y="connsiteY1"/>
                    </a:cxn>
                    <a:cxn ang="0">
                      <a:pos x="connsiteX2" y="connsiteY2"/>
                    </a:cxn>
                  </a:cxnLst>
                  <a:rect l="l" t="t" r="r" b="b"/>
                  <a:pathLst>
                    <a:path w="281080" h="281080">
                      <a:moveTo>
                        <a:pt x="0" y="281080"/>
                      </a:moveTo>
                      <a:lnTo>
                        <a:pt x="0" y="0"/>
                      </a:lnTo>
                      <a:lnTo>
                        <a:pt x="281080" y="0"/>
                      </a:lnTo>
                    </a:path>
                  </a:pathLst>
                </a:custGeom>
                <a:no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8" name="Rectangle 13">
                  <a:extLst>
                    <a:ext uri="{FF2B5EF4-FFF2-40B4-BE49-F238E27FC236}">
                      <a16:creationId xmlns:a16="http://schemas.microsoft.com/office/drawing/2014/main" id="{B20B1348-6847-49AC-880E-88CBEC325DE0}"/>
                    </a:ext>
                  </a:extLst>
                </p:cNvPr>
                <p:cNvSpPr/>
                <p:nvPr/>
              </p:nvSpPr>
              <p:spPr bwMode="auto">
                <a:xfrm rot="18759500">
                  <a:off x="5355639" y="2389373"/>
                  <a:ext cx="91029" cy="91029"/>
                </a:xfrm>
                <a:custGeom>
                  <a:avLst/>
                  <a:gdLst>
                    <a:gd name="connsiteX0" fmla="*/ 0 w 281080"/>
                    <a:gd name="connsiteY0" fmla="*/ 0 h 281080"/>
                    <a:gd name="connsiteX1" fmla="*/ 281080 w 281080"/>
                    <a:gd name="connsiteY1" fmla="*/ 0 h 281080"/>
                    <a:gd name="connsiteX2" fmla="*/ 281080 w 281080"/>
                    <a:gd name="connsiteY2" fmla="*/ 281080 h 281080"/>
                    <a:gd name="connsiteX3" fmla="*/ 0 w 281080"/>
                    <a:gd name="connsiteY3" fmla="*/ 281080 h 281080"/>
                    <a:gd name="connsiteX4" fmla="*/ 0 w 281080"/>
                    <a:gd name="connsiteY4" fmla="*/ 0 h 281080"/>
                    <a:gd name="connsiteX0" fmla="*/ 281080 w 372520"/>
                    <a:gd name="connsiteY0" fmla="*/ 281080 h 372520"/>
                    <a:gd name="connsiteX1" fmla="*/ 0 w 372520"/>
                    <a:gd name="connsiteY1" fmla="*/ 281080 h 372520"/>
                    <a:gd name="connsiteX2" fmla="*/ 0 w 372520"/>
                    <a:gd name="connsiteY2" fmla="*/ 0 h 372520"/>
                    <a:gd name="connsiteX3" fmla="*/ 281080 w 372520"/>
                    <a:gd name="connsiteY3" fmla="*/ 0 h 372520"/>
                    <a:gd name="connsiteX4" fmla="*/ 372520 w 372520"/>
                    <a:gd name="connsiteY4" fmla="*/ 372520 h 372520"/>
                    <a:gd name="connsiteX0" fmla="*/ 281080 w 281080"/>
                    <a:gd name="connsiteY0" fmla="*/ 281080 h 281080"/>
                    <a:gd name="connsiteX1" fmla="*/ 0 w 281080"/>
                    <a:gd name="connsiteY1" fmla="*/ 281080 h 281080"/>
                    <a:gd name="connsiteX2" fmla="*/ 0 w 281080"/>
                    <a:gd name="connsiteY2" fmla="*/ 0 h 281080"/>
                    <a:gd name="connsiteX3" fmla="*/ 281080 w 281080"/>
                    <a:gd name="connsiteY3" fmla="*/ 0 h 281080"/>
                    <a:gd name="connsiteX0" fmla="*/ 0 w 281080"/>
                    <a:gd name="connsiteY0" fmla="*/ 281080 h 281080"/>
                    <a:gd name="connsiteX1" fmla="*/ 0 w 281080"/>
                    <a:gd name="connsiteY1" fmla="*/ 0 h 281080"/>
                    <a:gd name="connsiteX2" fmla="*/ 281080 w 281080"/>
                    <a:gd name="connsiteY2" fmla="*/ 0 h 281080"/>
                  </a:gdLst>
                  <a:ahLst/>
                  <a:cxnLst>
                    <a:cxn ang="0">
                      <a:pos x="connsiteX0" y="connsiteY0"/>
                    </a:cxn>
                    <a:cxn ang="0">
                      <a:pos x="connsiteX1" y="connsiteY1"/>
                    </a:cxn>
                    <a:cxn ang="0">
                      <a:pos x="connsiteX2" y="connsiteY2"/>
                    </a:cxn>
                  </a:cxnLst>
                  <a:rect l="l" t="t" r="r" b="b"/>
                  <a:pathLst>
                    <a:path w="281080" h="281080">
                      <a:moveTo>
                        <a:pt x="0" y="281080"/>
                      </a:moveTo>
                      <a:lnTo>
                        <a:pt x="0" y="0"/>
                      </a:lnTo>
                      <a:lnTo>
                        <a:pt x="281080" y="0"/>
                      </a:lnTo>
                    </a:path>
                  </a:pathLst>
                </a:custGeom>
                <a:noFill/>
                <a:ln w="15875"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121" name="Rectangle 120">
            <a:extLst>
              <a:ext uri="{FF2B5EF4-FFF2-40B4-BE49-F238E27FC236}">
                <a16:creationId xmlns:a16="http://schemas.microsoft.com/office/drawing/2014/main" id="{92CDBBD8-1F5C-4822-B35A-482C150736C4}"/>
              </a:ext>
            </a:extLst>
          </p:cNvPr>
          <p:cNvSpPr/>
          <p:nvPr/>
        </p:nvSpPr>
        <p:spPr bwMode="auto">
          <a:xfrm>
            <a:off x="3980443" y="2329908"/>
            <a:ext cx="2055495" cy="10077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79259" rIns="137121" bIns="73131"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rPr>
              <a:t>Opportunity is identified </a:t>
            </a:r>
            <a:b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rPr>
            </a:br>
            <a:r>
              <a:rPr kumimoji="0" lang="en-US" sz="1175" b="0" i="1"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rPr>
              <a:t>by Microsoft or Partner </a:t>
            </a:r>
            <a:endParaRPr kumimoji="0" lang="en-US" sz="1273" b="0" i="1"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endParaRPr>
          </a:p>
        </p:txBody>
      </p:sp>
      <p:sp>
        <p:nvSpPr>
          <p:cNvPr id="122" name="Rectangle 121">
            <a:extLst>
              <a:ext uri="{FF2B5EF4-FFF2-40B4-BE49-F238E27FC236}">
                <a16:creationId xmlns:a16="http://schemas.microsoft.com/office/drawing/2014/main" id="{E6D1A10E-2680-46C0-8294-E34A8F6DC9F5}"/>
              </a:ext>
            </a:extLst>
          </p:cNvPr>
          <p:cNvSpPr/>
          <p:nvPr/>
        </p:nvSpPr>
        <p:spPr bwMode="auto">
          <a:xfrm>
            <a:off x="6077225" y="2261141"/>
            <a:ext cx="1805748" cy="9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79259" rIns="137121" bIns="73131"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mn-ea"/>
                <a:cs typeface="Segoe UI" panose="020B0502040204020203" pitchFamily="34" charset="0"/>
              </a:rPr>
              <a:t>Joint sales &amp; strategy meetings </a:t>
            </a:r>
            <a:r>
              <a:rPr kumimoji="0" lang="en-US" sz="1200" b="0" i="1"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mn-ea"/>
                <a:cs typeface="Segoe UI" panose="020B0502040204020203" pitchFamily="34" charset="0"/>
              </a:rPr>
              <a:t>locally to identify opportunities </a:t>
            </a:r>
            <a:endParaRPr kumimoji="0" lang="en-US" sz="1200" b="0" i="1"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endParaRPr>
          </a:p>
        </p:txBody>
      </p:sp>
      <p:sp>
        <p:nvSpPr>
          <p:cNvPr id="123" name="Rectangle 122">
            <a:extLst>
              <a:ext uri="{FF2B5EF4-FFF2-40B4-BE49-F238E27FC236}">
                <a16:creationId xmlns:a16="http://schemas.microsoft.com/office/drawing/2014/main" id="{3FF997A8-810C-49AB-9CE9-D1A020BBB478}"/>
              </a:ext>
            </a:extLst>
          </p:cNvPr>
          <p:cNvSpPr/>
          <p:nvPr/>
        </p:nvSpPr>
        <p:spPr bwMode="auto">
          <a:xfrm>
            <a:off x="7924260" y="2221392"/>
            <a:ext cx="1805747" cy="895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79259" rIns="137121" bIns="73131"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mn-ea"/>
                <a:cs typeface="Segoe UI" panose="020B0502040204020203" pitchFamily="34" charset="0"/>
              </a:rPr>
              <a:t>Engage together with customers</a:t>
            </a:r>
          </a:p>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mn-ea"/>
                <a:cs typeface="Segoe UI" panose="020B0502040204020203" pitchFamily="34" charset="0"/>
              </a:rPr>
              <a:t>and stay aligned to progress opportunities</a:t>
            </a:r>
          </a:p>
          <a:p>
            <a:pPr marL="0" marR="0" lvl="0" indent="0" algn="ctr" defTabSz="913576" rtl="0" eaLnBrk="1" fontAlgn="base" latinLnBrk="0" hangingPunct="1">
              <a:lnSpc>
                <a:spcPct val="100000"/>
              </a:lnSpc>
              <a:spcBef>
                <a:spcPct val="0"/>
              </a:spcBef>
              <a:spcAft>
                <a:spcPct val="0"/>
              </a:spcAft>
              <a:buClrTx/>
              <a:buSzTx/>
              <a:buFontTx/>
              <a:buNone/>
              <a:tabLst/>
              <a:defRPr/>
            </a:pPr>
            <a:b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rPr>
            </a:br>
            <a:endPar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endParaRPr>
          </a:p>
        </p:txBody>
      </p:sp>
      <p:grpSp>
        <p:nvGrpSpPr>
          <p:cNvPr id="13" name="Group 12">
            <a:extLst>
              <a:ext uri="{FF2B5EF4-FFF2-40B4-BE49-F238E27FC236}">
                <a16:creationId xmlns:a16="http://schemas.microsoft.com/office/drawing/2014/main" id="{406A01FB-02BF-4E51-A6E3-3FF34DA37CFF}"/>
              </a:ext>
            </a:extLst>
          </p:cNvPr>
          <p:cNvGrpSpPr/>
          <p:nvPr/>
        </p:nvGrpSpPr>
        <p:grpSpPr>
          <a:xfrm>
            <a:off x="306333" y="2379100"/>
            <a:ext cx="3926975" cy="3591976"/>
            <a:chOff x="-43990" y="1947070"/>
            <a:chExt cx="3695691" cy="3380423"/>
          </a:xfrm>
        </p:grpSpPr>
        <p:sp>
          <p:nvSpPr>
            <p:cNvPr id="124" name="Oval 123">
              <a:extLst>
                <a:ext uri="{FF2B5EF4-FFF2-40B4-BE49-F238E27FC236}">
                  <a16:creationId xmlns:a16="http://schemas.microsoft.com/office/drawing/2014/main" id="{46BFB52D-730E-48D3-8562-264EC87E01AB}"/>
                </a:ext>
              </a:extLst>
            </p:cNvPr>
            <p:cNvSpPr/>
            <p:nvPr/>
          </p:nvSpPr>
          <p:spPr bwMode="auto">
            <a:xfrm>
              <a:off x="-43990" y="1947070"/>
              <a:ext cx="3380423" cy="3380423"/>
            </a:xfrm>
            <a:prstGeom prst="ellipse">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8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Pentagon 66"/>
            <p:cNvSpPr/>
            <p:nvPr/>
          </p:nvSpPr>
          <p:spPr bwMode="auto">
            <a:xfrm>
              <a:off x="282362" y="2653076"/>
              <a:ext cx="2727916" cy="1791512"/>
            </a:xfrm>
            <a:prstGeom prst="homePlate">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Semibold" charset="0"/>
                  <a:cs typeface="Segoe UI" panose="020B0502040204020203" pitchFamily="34" charset="0"/>
                </a:rPr>
                <a:t>Successful Partnerships &amp; Sales happen when -</a:t>
              </a:r>
            </a:p>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1371" b="0" i="1" u="none" strike="noStrike" kern="1200" cap="none" spc="0" normalizeH="0" baseline="0" noProof="0">
                  <a:ln>
                    <a:noFill/>
                  </a:ln>
                  <a:gradFill>
                    <a:gsLst>
                      <a:gs pos="0">
                        <a:srgbClr val="FFFFFF"/>
                      </a:gs>
                      <a:gs pos="100000">
                        <a:srgbClr val="FFFFFF"/>
                      </a:gs>
                    </a:gsLst>
                    <a:lin ang="5400000" scaled="0"/>
                  </a:gradFill>
                  <a:effectLst/>
                  <a:uLnTx/>
                  <a:uFillTx/>
                  <a:latin typeface="Segoe UI" charset="0"/>
                  <a:ea typeface="Segoe UI" charset="0"/>
                  <a:cs typeface="Segoe UI" charset="0"/>
                </a:rPr>
                <a:t>We engage early, strategize to uncover key opportunities, and consistently align and stay connected throughout the sales cycle to close.</a:t>
              </a:r>
              <a:endParaRPr kumimoji="0" lang="en-US" sz="1371" b="1" i="1" u="none" strike="noStrike" kern="1200" cap="none" spc="0" normalizeH="0" baseline="0" noProof="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cxnSp>
          <p:nvCxnSpPr>
            <p:cNvPr id="7" name="Straight Arrow Connector 6">
              <a:extLst>
                <a:ext uri="{FF2B5EF4-FFF2-40B4-BE49-F238E27FC236}">
                  <a16:creationId xmlns:a16="http://schemas.microsoft.com/office/drawing/2014/main" id="{FDFFA97C-2865-4616-B4A8-E639ACEADCB6}"/>
                </a:ext>
              </a:extLst>
            </p:cNvPr>
            <p:cNvCxnSpPr>
              <a:cxnSpLocks/>
            </p:cNvCxnSpPr>
            <p:nvPr/>
          </p:nvCxnSpPr>
          <p:spPr>
            <a:xfrm>
              <a:off x="1948290" y="2273717"/>
              <a:ext cx="1703411" cy="0"/>
            </a:xfrm>
            <a:prstGeom prst="straightConnector1">
              <a:avLst/>
            </a:prstGeom>
            <a:ln w="12700">
              <a:solidFill>
                <a:schemeClr val="accent1"/>
              </a:solidFill>
              <a:prstDash val="dash"/>
              <a:headEnd type="none"/>
              <a:tailEnd type="arrow" w="lg" len="lg"/>
            </a:ln>
          </p:spPr>
          <p:style>
            <a:lnRef idx="1">
              <a:schemeClr val="accent1"/>
            </a:lnRef>
            <a:fillRef idx="0">
              <a:schemeClr val="accent1"/>
            </a:fillRef>
            <a:effectRef idx="0">
              <a:schemeClr val="accent1"/>
            </a:effectRef>
            <a:fontRef idx="minor">
              <a:schemeClr val="tx1"/>
            </a:fontRef>
          </p:style>
        </p:cxnSp>
      </p:grpSp>
      <p:sp>
        <p:nvSpPr>
          <p:cNvPr id="61" name="Rectangle 60">
            <a:extLst>
              <a:ext uri="{FF2B5EF4-FFF2-40B4-BE49-F238E27FC236}">
                <a16:creationId xmlns:a16="http://schemas.microsoft.com/office/drawing/2014/main" id="{C7A9F585-D862-493A-8661-78422ACB1CBC}"/>
              </a:ext>
            </a:extLst>
          </p:cNvPr>
          <p:cNvSpPr/>
          <p:nvPr/>
        </p:nvSpPr>
        <p:spPr bwMode="auto">
          <a:xfrm>
            <a:off x="10020601" y="2379101"/>
            <a:ext cx="1429248" cy="7501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79259" rIns="137121" bIns="73131"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rPr>
              <a:t>Win Together!</a:t>
            </a:r>
            <a:br>
              <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rPr>
            </a:br>
            <a:endParaRPr kumimoji="0" lang="en-US" sz="1371" b="1" i="0" u="none" strike="noStrike" kern="1200" cap="none" spc="0" normalizeH="0" baseline="0" noProof="0">
              <a:ln>
                <a:noFill/>
              </a:ln>
              <a:gradFill>
                <a:gsLst>
                  <a:gs pos="0">
                    <a:srgbClr val="2F2F2F"/>
                  </a:gs>
                  <a:gs pos="100000">
                    <a:srgbClr val="2F2F2F"/>
                  </a:gs>
                </a:gsLst>
                <a:lin ang="5400000" scaled="0"/>
              </a:gradFill>
              <a:effectLst/>
              <a:uLnTx/>
              <a:uFillTx/>
              <a:latin typeface="Segoe UI" panose="020B0502040204020203" pitchFamily="34" charset="0"/>
              <a:ea typeface="Segoe UI Semibold" charset="0"/>
              <a:cs typeface="Segoe UI" panose="020B0502040204020203" pitchFamily="34" charset="0"/>
            </a:endParaRPr>
          </a:p>
        </p:txBody>
      </p:sp>
      <p:grpSp>
        <p:nvGrpSpPr>
          <p:cNvPr id="62" name="Group 61">
            <a:extLst>
              <a:ext uri="{FF2B5EF4-FFF2-40B4-BE49-F238E27FC236}">
                <a16:creationId xmlns:a16="http://schemas.microsoft.com/office/drawing/2014/main" id="{4D0FD6AE-EB71-4023-AA00-687735AA87F1}"/>
              </a:ext>
            </a:extLst>
          </p:cNvPr>
          <p:cNvGrpSpPr>
            <a:grpSpLocks noChangeAspect="1"/>
          </p:cNvGrpSpPr>
          <p:nvPr/>
        </p:nvGrpSpPr>
        <p:grpSpPr>
          <a:xfrm>
            <a:off x="9856489" y="3361014"/>
            <a:ext cx="1741306" cy="1599973"/>
            <a:chOff x="9285535" y="2949819"/>
            <a:chExt cx="2449556" cy="2250738"/>
          </a:xfrm>
        </p:grpSpPr>
        <p:sp>
          <p:nvSpPr>
            <p:cNvPr id="63" name="Rectangle: Rounded Corners 62">
              <a:extLst>
                <a:ext uri="{FF2B5EF4-FFF2-40B4-BE49-F238E27FC236}">
                  <a16:creationId xmlns:a16="http://schemas.microsoft.com/office/drawing/2014/main" id="{4C6E64DF-05BE-409B-B7B9-0E6606769A5A}"/>
                </a:ext>
              </a:extLst>
            </p:cNvPr>
            <p:cNvSpPr/>
            <p:nvPr/>
          </p:nvSpPr>
          <p:spPr bwMode="auto">
            <a:xfrm>
              <a:off x="9396315" y="2949819"/>
              <a:ext cx="2250738" cy="2250738"/>
            </a:xfrm>
            <a:prstGeom prst="roundRect">
              <a:avLst>
                <a:gd name="adj" fmla="val 50000"/>
              </a:avLst>
            </a:prstGeom>
            <a:noFill/>
            <a:ln w="12700">
              <a:solidFill>
                <a:schemeClr val="tx1">
                  <a:lumMod val="75000"/>
                  <a:lumOff val="2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8963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ct val="0"/>
                </a:spcAft>
                <a:buClrTx/>
                <a:buSzTx/>
                <a:buFontTx/>
                <a:buNone/>
                <a:tabLst/>
                <a:defRPr/>
              </a:pPr>
              <a:endParaRPr kumimoji="0" lang="en-US" sz="137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63">
              <a:extLst>
                <a:ext uri="{FF2B5EF4-FFF2-40B4-BE49-F238E27FC236}">
                  <a16:creationId xmlns:a16="http://schemas.microsoft.com/office/drawing/2014/main" id="{5699CAE3-ADCC-40B4-A709-8C46FAA180A1}"/>
                </a:ext>
              </a:extLst>
            </p:cNvPr>
            <p:cNvGrpSpPr/>
            <p:nvPr/>
          </p:nvGrpSpPr>
          <p:grpSpPr>
            <a:xfrm>
              <a:off x="9285535" y="3658445"/>
              <a:ext cx="2449556" cy="1026346"/>
              <a:chOff x="9285535" y="3658445"/>
              <a:chExt cx="2449556" cy="1026346"/>
            </a:xfrm>
          </p:grpSpPr>
          <p:sp>
            <p:nvSpPr>
              <p:cNvPr id="65" name="Commitments_EC4D">
                <a:extLst>
                  <a:ext uri="{FF2B5EF4-FFF2-40B4-BE49-F238E27FC236}">
                    <a16:creationId xmlns:a16="http://schemas.microsoft.com/office/drawing/2014/main" id="{1BF801DE-15A8-422E-97BC-FEB64C8324A6}"/>
                  </a:ext>
                </a:extLst>
              </p:cNvPr>
              <p:cNvSpPr>
                <a:spLocks noChangeAspect="1" noEditPoints="1"/>
              </p:cNvSpPr>
              <p:nvPr/>
            </p:nvSpPr>
            <p:spPr bwMode="auto">
              <a:xfrm>
                <a:off x="10339889" y="3812838"/>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66" name="Group 65">
                <a:extLst>
                  <a:ext uri="{FF2B5EF4-FFF2-40B4-BE49-F238E27FC236}">
                    <a16:creationId xmlns:a16="http://schemas.microsoft.com/office/drawing/2014/main" id="{F4A7F7D2-CB0F-4D6E-9689-E4D0C69D0523}"/>
                  </a:ext>
                </a:extLst>
              </p:cNvPr>
              <p:cNvGrpSpPr/>
              <p:nvPr/>
            </p:nvGrpSpPr>
            <p:grpSpPr>
              <a:xfrm>
                <a:off x="9688893" y="3658445"/>
                <a:ext cx="498396" cy="628234"/>
                <a:chOff x="9049397" y="3538221"/>
                <a:chExt cx="843714" cy="1063508"/>
              </a:xfrm>
              <a:noFill/>
            </p:grpSpPr>
            <p:sp>
              <p:nvSpPr>
                <p:cNvPr id="76" name="Delay 472">
                  <a:extLst>
                    <a:ext uri="{FF2B5EF4-FFF2-40B4-BE49-F238E27FC236}">
                      <a16:creationId xmlns:a16="http://schemas.microsoft.com/office/drawing/2014/main" id="{73839D17-BDB4-4D25-9E30-BA7FBA4CC4F4}"/>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grp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7" name="Group 76">
                  <a:extLst>
                    <a:ext uri="{FF2B5EF4-FFF2-40B4-BE49-F238E27FC236}">
                      <a16:creationId xmlns:a16="http://schemas.microsoft.com/office/drawing/2014/main" id="{146F5A74-AE1B-4BC6-A101-12C9DE01355C}"/>
                    </a:ext>
                  </a:extLst>
                </p:cNvPr>
                <p:cNvGrpSpPr/>
                <p:nvPr/>
              </p:nvGrpSpPr>
              <p:grpSpPr>
                <a:xfrm>
                  <a:off x="9049397" y="3679725"/>
                  <a:ext cx="843714" cy="922004"/>
                  <a:chOff x="7480331" y="4348086"/>
                  <a:chExt cx="144649" cy="158071"/>
                </a:xfrm>
                <a:grpFill/>
              </p:grpSpPr>
              <p:sp>
                <p:nvSpPr>
                  <p:cNvPr id="78" name="Oval 9">
                    <a:extLst>
                      <a:ext uri="{FF2B5EF4-FFF2-40B4-BE49-F238E27FC236}">
                        <a16:creationId xmlns:a16="http://schemas.microsoft.com/office/drawing/2014/main" id="{A07C3893-8B8B-47C2-8C35-9350951E5E92}"/>
                      </a:ext>
                    </a:extLst>
                  </p:cNvPr>
                  <p:cNvSpPr>
                    <a:spLocks noChangeArrowheads="1"/>
                  </p:cNvSpPr>
                  <p:nvPr/>
                </p:nvSpPr>
                <p:spPr bwMode="auto">
                  <a:xfrm>
                    <a:off x="7502206" y="4348086"/>
                    <a:ext cx="99632" cy="86327"/>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42" h="503534">
                        <a:moveTo>
                          <a:pt x="664" y="213294"/>
                        </a:moveTo>
                        <a:cubicBezTo>
                          <a:pt x="-12193" y="134453"/>
                          <a:pt x="165391" y="78861"/>
                          <a:pt x="213764" y="30488"/>
                        </a:cubicBezTo>
                        <a:cubicBezTo>
                          <a:pt x="262137" y="-17885"/>
                          <a:pt x="250084" y="-1278"/>
                          <a:pt x="311314" y="29190"/>
                        </a:cubicBezTo>
                        <a:cubicBezTo>
                          <a:pt x="372544" y="59658"/>
                          <a:pt x="581142" y="52999"/>
                          <a:pt x="581142" y="213294"/>
                        </a:cubicBezTo>
                        <a:cubicBezTo>
                          <a:pt x="581142" y="373589"/>
                          <a:pt x="451198" y="503534"/>
                          <a:pt x="290903" y="503534"/>
                        </a:cubicBezTo>
                        <a:cubicBezTo>
                          <a:pt x="130608" y="503534"/>
                          <a:pt x="13521" y="292135"/>
                          <a:pt x="664" y="213294"/>
                        </a:cubicBezTo>
                        <a:close/>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Freeform 10">
                    <a:extLst>
                      <a:ext uri="{FF2B5EF4-FFF2-40B4-BE49-F238E27FC236}">
                        <a16:creationId xmlns:a16="http://schemas.microsoft.com/office/drawing/2014/main" id="{4C240290-E598-4D7B-804D-1311C9B80F0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69" name="TextBox 68">
                <a:extLst>
                  <a:ext uri="{FF2B5EF4-FFF2-40B4-BE49-F238E27FC236}">
                    <a16:creationId xmlns:a16="http://schemas.microsoft.com/office/drawing/2014/main" id="{D787DB78-C7CB-4A06-81DF-7313A0E2C071}"/>
                  </a:ext>
                </a:extLst>
              </p:cNvPr>
              <p:cNvSpPr txBox="1"/>
              <p:nvPr/>
            </p:nvSpPr>
            <p:spPr>
              <a:xfrm>
                <a:off x="9285535" y="4327610"/>
                <a:ext cx="1305113" cy="357181"/>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0"/>
                    </a:gradFill>
                    <a:effectLst/>
                    <a:uLnTx/>
                    <a:uFillTx/>
                    <a:latin typeface="Segoe UI" panose="020B0502040204020203" pitchFamily="34" charset="0"/>
                    <a:ea typeface="Segoe UI Semibold" charset="0"/>
                    <a:cs typeface="Segoe UI" panose="020B0502040204020203" pitchFamily="34" charset="0"/>
                  </a:rPr>
                  <a:t>Microsoft</a:t>
                </a:r>
              </a:p>
            </p:txBody>
          </p:sp>
          <p:sp>
            <p:nvSpPr>
              <p:cNvPr id="71" name="TextBox 70">
                <a:extLst>
                  <a:ext uri="{FF2B5EF4-FFF2-40B4-BE49-F238E27FC236}">
                    <a16:creationId xmlns:a16="http://schemas.microsoft.com/office/drawing/2014/main" id="{841EA641-8AF3-4674-BA81-F81A7ECD5460}"/>
                  </a:ext>
                </a:extLst>
              </p:cNvPr>
              <p:cNvSpPr txBox="1"/>
              <p:nvPr/>
            </p:nvSpPr>
            <p:spPr>
              <a:xfrm>
                <a:off x="10429978" y="4327610"/>
                <a:ext cx="1305113" cy="357181"/>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8272"/>
                        </a:gs>
                        <a:gs pos="100000">
                          <a:srgbClr val="008272"/>
                        </a:gs>
                      </a:gsLst>
                      <a:lin ang="5400000" scaled="0"/>
                    </a:gradFill>
                    <a:effectLst/>
                    <a:uLnTx/>
                    <a:uFillTx/>
                    <a:latin typeface="Segoe UI" panose="020B0502040204020203" pitchFamily="34" charset="0"/>
                    <a:ea typeface="Segoe UI Semibold" charset="0"/>
                    <a:cs typeface="Segoe UI" panose="020B0502040204020203" pitchFamily="34" charset="0"/>
                  </a:rPr>
                  <a:t>Partner</a:t>
                </a:r>
              </a:p>
            </p:txBody>
          </p:sp>
          <p:grpSp>
            <p:nvGrpSpPr>
              <p:cNvPr id="72" name="Group 71">
                <a:extLst>
                  <a:ext uri="{FF2B5EF4-FFF2-40B4-BE49-F238E27FC236}">
                    <a16:creationId xmlns:a16="http://schemas.microsoft.com/office/drawing/2014/main" id="{E2C45DCD-B68C-4FE0-B7B8-851CAD003722}"/>
                  </a:ext>
                </a:extLst>
              </p:cNvPr>
              <p:cNvGrpSpPr/>
              <p:nvPr/>
            </p:nvGrpSpPr>
            <p:grpSpPr>
              <a:xfrm>
                <a:off x="10801396" y="3664640"/>
                <a:ext cx="562275" cy="628233"/>
                <a:chOff x="709535" y="3658062"/>
                <a:chExt cx="1430415" cy="1598221"/>
              </a:xfrm>
            </p:grpSpPr>
            <p:sp>
              <p:nvSpPr>
                <p:cNvPr id="73" name="Freeform 5">
                  <a:extLst>
                    <a:ext uri="{FF2B5EF4-FFF2-40B4-BE49-F238E27FC236}">
                      <a16:creationId xmlns:a16="http://schemas.microsoft.com/office/drawing/2014/main" id="{1453A47C-17B8-45A9-A761-8A22C652491E}"/>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4" name="Trapezoid 22">
                  <a:extLst>
                    <a:ext uri="{FF2B5EF4-FFF2-40B4-BE49-F238E27FC236}">
                      <a16:creationId xmlns:a16="http://schemas.microsoft.com/office/drawing/2014/main" id="{E9698E4D-DFCD-4412-8483-5D915D793957}"/>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Trapezoid 74">
                  <a:extLst>
                    <a:ext uri="{FF2B5EF4-FFF2-40B4-BE49-F238E27FC236}">
                      <a16:creationId xmlns:a16="http://schemas.microsoft.com/office/drawing/2014/main" id="{D03719A4-F10F-4F21-AD53-734B795DDACA}"/>
                    </a:ext>
                  </a:extLst>
                </p:cNvPr>
                <p:cNvSpPr/>
                <p:nvPr/>
              </p:nvSpPr>
              <p:spPr bwMode="auto">
                <a:xfrm>
                  <a:off x="1304538" y="4754251"/>
                  <a:ext cx="240408" cy="498694"/>
                </a:xfrm>
                <a:prstGeom prst="trapezoid">
                  <a:avLst>
                    <a:gd name="adj" fmla="val 3160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nvGrpSpPr>
          <p:cNvPr id="4" name="Group 3">
            <a:extLst>
              <a:ext uri="{FF2B5EF4-FFF2-40B4-BE49-F238E27FC236}">
                <a16:creationId xmlns:a16="http://schemas.microsoft.com/office/drawing/2014/main" id="{E4451ED3-AA2A-4758-83EA-9BB5834314BE}"/>
              </a:ext>
            </a:extLst>
          </p:cNvPr>
          <p:cNvGrpSpPr/>
          <p:nvPr/>
        </p:nvGrpSpPr>
        <p:grpSpPr>
          <a:xfrm>
            <a:off x="8005659" y="3353295"/>
            <a:ext cx="1616375" cy="1599973"/>
            <a:chOff x="9276494" y="2918946"/>
            <a:chExt cx="1616605" cy="1600200"/>
          </a:xfrm>
        </p:grpSpPr>
        <p:sp>
          <p:nvSpPr>
            <p:cNvPr id="129" name="Rectangle: Rounded Corners 128">
              <a:extLst>
                <a:ext uri="{FF2B5EF4-FFF2-40B4-BE49-F238E27FC236}">
                  <a16:creationId xmlns:a16="http://schemas.microsoft.com/office/drawing/2014/main" id="{CF00C7B9-5887-4904-9274-8F034A739828}"/>
                </a:ext>
              </a:extLst>
            </p:cNvPr>
            <p:cNvSpPr/>
            <p:nvPr/>
          </p:nvSpPr>
          <p:spPr bwMode="auto">
            <a:xfrm>
              <a:off x="9290484" y="2918946"/>
              <a:ext cx="1602615" cy="1600200"/>
            </a:xfrm>
            <a:prstGeom prst="roundRect">
              <a:avLst>
                <a:gd name="adj" fmla="val 50000"/>
              </a:avLst>
            </a:prstGeom>
            <a:noFill/>
            <a:ln w="12700">
              <a:solidFill>
                <a:schemeClr val="tx1">
                  <a:lumMod val="75000"/>
                  <a:lumOff val="2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89630" numCol="1" spcCol="0" rtlCol="0" fromWordArt="0" anchor="t" anchorCtr="0" forceAA="0" compatLnSpc="1">
              <a:prstTxWarp prst="textNoShape">
                <a:avLst/>
              </a:prstTxWarp>
              <a:noAutofit/>
            </a:bodyPr>
            <a:lstStyle/>
            <a:p>
              <a:pPr marL="0" marR="0" lvl="0" indent="0" algn="l" defTabSz="913576" rtl="0" eaLnBrk="1" fontAlgn="base" latinLnBrk="0" hangingPunct="1">
                <a:lnSpc>
                  <a:spcPct val="100000"/>
                </a:lnSpc>
                <a:spcBef>
                  <a:spcPct val="0"/>
                </a:spcBef>
                <a:spcAft>
                  <a:spcPct val="0"/>
                </a:spcAft>
                <a:buClrTx/>
                <a:buSzTx/>
                <a:buFontTx/>
                <a:buNone/>
                <a:tabLst/>
                <a:defRPr/>
              </a:pPr>
              <a:endParaRPr kumimoji="0" lang="en-US" sz="137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 name="Group 2">
              <a:extLst>
                <a:ext uri="{FF2B5EF4-FFF2-40B4-BE49-F238E27FC236}">
                  <a16:creationId xmlns:a16="http://schemas.microsoft.com/office/drawing/2014/main" id="{07153EDE-1F1D-4570-8DE0-67A359A59BAE}"/>
                </a:ext>
              </a:extLst>
            </p:cNvPr>
            <p:cNvGrpSpPr/>
            <p:nvPr/>
          </p:nvGrpSpPr>
          <p:grpSpPr>
            <a:xfrm>
              <a:off x="9276494" y="3231862"/>
              <a:ext cx="1579003" cy="922453"/>
              <a:chOff x="9276494" y="3231862"/>
              <a:chExt cx="1579003" cy="922453"/>
            </a:xfrm>
          </p:grpSpPr>
          <p:grpSp>
            <p:nvGrpSpPr>
              <p:cNvPr id="131" name="Group 130">
                <a:extLst>
                  <a:ext uri="{FF2B5EF4-FFF2-40B4-BE49-F238E27FC236}">
                    <a16:creationId xmlns:a16="http://schemas.microsoft.com/office/drawing/2014/main" id="{52B8B240-8B2E-4A5C-894B-475BAF715ABC}"/>
                  </a:ext>
                </a:extLst>
              </p:cNvPr>
              <p:cNvGrpSpPr/>
              <p:nvPr/>
            </p:nvGrpSpPr>
            <p:grpSpPr>
              <a:xfrm>
                <a:off x="9563701" y="3423516"/>
                <a:ext cx="354878" cy="447327"/>
                <a:chOff x="9049397" y="3538221"/>
                <a:chExt cx="843714" cy="1063508"/>
              </a:xfrm>
              <a:noFill/>
            </p:grpSpPr>
            <p:sp>
              <p:nvSpPr>
                <p:cNvPr id="142" name="Delay 472">
                  <a:extLst>
                    <a:ext uri="{FF2B5EF4-FFF2-40B4-BE49-F238E27FC236}">
                      <a16:creationId xmlns:a16="http://schemas.microsoft.com/office/drawing/2014/main" id="{67B05219-ECF5-47B8-8FCF-46AF5167DD38}"/>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grp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3" name="Group 142">
                  <a:extLst>
                    <a:ext uri="{FF2B5EF4-FFF2-40B4-BE49-F238E27FC236}">
                      <a16:creationId xmlns:a16="http://schemas.microsoft.com/office/drawing/2014/main" id="{03EF75C7-D71B-4FC9-804D-880AA5A85967}"/>
                    </a:ext>
                  </a:extLst>
                </p:cNvPr>
                <p:cNvGrpSpPr/>
                <p:nvPr/>
              </p:nvGrpSpPr>
              <p:grpSpPr>
                <a:xfrm>
                  <a:off x="9049397" y="3679725"/>
                  <a:ext cx="843714" cy="922004"/>
                  <a:chOff x="7480331" y="4348086"/>
                  <a:chExt cx="144649" cy="158071"/>
                </a:xfrm>
                <a:grpFill/>
              </p:grpSpPr>
              <p:sp>
                <p:nvSpPr>
                  <p:cNvPr id="144" name="Oval 9">
                    <a:extLst>
                      <a:ext uri="{FF2B5EF4-FFF2-40B4-BE49-F238E27FC236}">
                        <a16:creationId xmlns:a16="http://schemas.microsoft.com/office/drawing/2014/main" id="{1F5AA75A-575D-497D-9A29-5AB150B9DA33}"/>
                      </a:ext>
                    </a:extLst>
                  </p:cNvPr>
                  <p:cNvSpPr>
                    <a:spLocks noChangeArrowheads="1"/>
                  </p:cNvSpPr>
                  <p:nvPr/>
                </p:nvSpPr>
                <p:spPr bwMode="auto">
                  <a:xfrm>
                    <a:off x="7502206" y="4348086"/>
                    <a:ext cx="99632" cy="86327"/>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42" h="503534">
                        <a:moveTo>
                          <a:pt x="664" y="213294"/>
                        </a:moveTo>
                        <a:cubicBezTo>
                          <a:pt x="-12193" y="134453"/>
                          <a:pt x="165391" y="78861"/>
                          <a:pt x="213764" y="30488"/>
                        </a:cubicBezTo>
                        <a:cubicBezTo>
                          <a:pt x="262137" y="-17885"/>
                          <a:pt x="250084" y="-1278"/>
                          <a:pt x="311314" y="29190"/>
                        </a:cubicBezTo>
                        <a:cubicBezTo>
                          <a:pt x="372544" y="59658"/>
                          <a:pt x="581142" y="52999"/>
                          <a:pt x="581142" y="213294"/>
                        </a:cubicBezTo>
                        <a:cubicBezTo>
                          <a:pt x="581142" y="373589"/>
                          <a:pt x="451198" y="503534"/>
                          <a:pt x="290903" y="503534"/>
                        </a:cubicBezTo>
                        <a:cubicBezTo>
                          <a:pt x="130608" y="503534"/>
                          <a:pt x="13521" y="292135"/>
                          <a:pt x="664" y="213294"/>
                        </a:cubicBezTo>
                        <a:close/>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Freeform 10">
                    <a:extLst>
                      <a:ext uri="{FF2B5EF4-FFF2-40B4-BE49-F238E27FC236}">
                        <a16:creationId xmlns:a16="http://schemas.microsoft.com/office/drawing/2014/main" id="{36CA6B42-C69F-4237-83AB-BCA19F2AA0BF}"/>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32" name="TextBox 131">
                <a:extLst>
                  <a:ext uri="{FF2B5EF4-FFF2-40B4-BE49-F238E27FC236}">
                    <a16:creationId xmlns:a16="http://schemas.microsoft.com/office/drawing/2014/main" id="{87DC61AA-0B11-43D6-AA39-8821B1B14785}"/>
                  </a:ext>
                </a:extLst>
              </p:cNvPr>
              <p:cNvSpPr txBox="1"/>
              <p:nvPr/>
            </p:nvSpPr>
            <p:spPr>
              <a:xfrm>
                <a:off x="9276494" y="3899988"/>
                <a:ext cx="929292" cy="254327"/>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0"/>
                    </a:gradFill>
                    <a:effectLst/>
                    <a:uLnTx/>
                    <a:uFillTx/>
                    <a:latin typeface="Segoe UI" panose="020B0502040204020203" pitchFamily="34" charset="0"/>
                    <a:ea typeface="Segoe UI Semibold" charset="0"/>
                    <a:cs typeface="Segoe UI" panose="020B0502040204020203" pitchFamily="34" charset="0"/>
                  </a:rPr>
                  <a:t>Microsoft</a:t>
                </a:r>
              </a:p>
            </p:txBody>
          </p:sp>
          <p:sp>
            <p:nvSpPr>
              <p:cNvPr id="133" name="TextBox 132">
                <a:extLst>
                  <a:ext uri="{FF2B5EF4-FFF2-40B4-BE49-F238E27FC236}">
                    <a16:creationId xmlns:a16="http://schemas.microsoft.com/office/drawing/2014/main" id="{D8899C41-566D-4DC1-B6C1-27B2BAC0FF7C}"/>
                  </a:ext>
                </a:extLst>
              </p:cNvPr>
              <p:cNvSpPr txBox="1"/>
              <p:nvPr/>
            </p:nvSpPr>
            <p:spPr>
              <a:xfrm>
                <a:off x="9926205" y="3899988"/>
                <a:ext cx="929292" cy="254327"/>
              </a:xfrm>
              <a:prstGeom prst="rect">
                <a:avLst/>
              </a:prstGeom>
              <a:noFill/>
            </p:spPr>
            <p:txBody>
              <a:bodyPr wrap="square" lIns="0" tIns="0" rIns="0" bIns="0" rtlCol="0" anchor="ctr">
                <a:no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900" b="1" i="0" u="none" strike="noStrike" kern="1200" cap="none" spc="0" normalizeH="0" baseline="0" noProof="0">
                    <a:ln>
                      <a:noFill/>
                    </a:ln>
                    <a:gradFill>
                      <a:gsLst>
                        <a:gs pos="0">
                          <a:srgbClr val="008272"/>
                        </a:gs>
                        <a:gs pos="100000">
                          <a:srgbClr val="008272"/>
                        </a:gs>
                      </a:gsLst>
                      <a:lin ang="5400000" scaled="0"/>
                    </a:gradFill>
                    <a:effectLst/>
                    <a:uLnTx/>
                    <a:uFillTx/>
                    <a:latin typeface="Segoe UI" panose="020B0502040204020203" pitchFamily="34" charset="0"/>
                    <a:ea typeface="Segoe UI Semibold" charset="0"/>
                    <a:cs typeface="Segoe UI" panose="020B0502040204020203" pitchFamily="34" charset="0"/>
                  </a:rPr>
                  <a:t>Partner</a:t>
                </a:r>
              </a:p>
            </p:txBody>
          </p:sp>
          <p:grpSp>
            <p:nvGrpSpPr>
              <p:cNvPr id="134" name="Group 133">
                <a:extLst>
                  <a:ext uri="{FF2B5EF4-FFF2-40B4-BE49-F238E27FC236}">
                    <a16:creationId xmlns:a16="http://schemas.microsoft.com/office/drawing/2014/main" id="{2A095F91-ADDB-43FD-96B0-FAA061CBB134}"/>
                  </a:ext>
                </a:extLst>
              </p:cNvPr>
              <p:cNvGrpSpPr/>
              <p:nvPr/>
            </p:nvGrpSpPr>
            <p:grpSpPr>
              <a:xfrm>
                <a:off x="10190669" y="3427927"/>
                <a:ext cx="400362" cy="447327"/>
                <a:chOff x="709535" y="3658062"/>
                <a:chExt cx="1430415" cy="1598221"/>
              </a:xfrm>
            </p:grpSpPr>
            <p:sp>
              <p:nvSpPr>
                <p:cNvPr id="139" name="Freeform 5">
                  <a:extLst>
                    <a:ext uri="{FF2B5EF4-FFF2-40B4-BE49-F238E27FC236}">
                      <a16:creationId xmlns:a16="http://schemas.microsoft.com/office/drawing/2014/main" id="{EF090C6B-DDC1-45C8-B3A3-11A51AEA38C5}"/>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0" name="Trapezoid 22">
                  <a:extLst>
                    <a:ext uri="{FF2B5EF4-FFF2-40B4-BE49-F238E27FC236}">
                      <a16:creationId xmlns:a16="http://schemas.microsoft.com/office/drawing/2014/main" id="{232567F7-CC6A-4A9C-A3E7-D1BCA9D91B62}"/>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Trapezoid 140">
                  <a:extLst>
                    <a:ext uri="{FF2B5EF4-FFF2-40B4-BE49-F238E27FC236}">
                      <a16:creationId xmlns:a16="http://schemas.microsoft.com/office/drawing/2014/main" id="{1C5EC3AB-35CC-4A54-BA34-FA970EF61B25}"/>
                    </a:ext>
                  </a:extLst>
                </p:cNvPr>
                <p:cNvSpPr/>
                <p:nvPr/>
              </p:nvSpPr>
              <p:spPr bwMode="auto">
                <a:xfrm>
                  <a:off x="1304538" y="4754251"/>
                  <a:ext cx="240408" cy="498694"/>
                </a:xfrm>
                <a:prstGeom prst="trapezoid">
                  <a:avLst>
                    <a:gd name="adj" fmla="val 3160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5" name="check">
                <a:extLst>
                  <a:ext uri="{FF2B5EF4-FFF2-40B4-BE49-F238E27FC236}">
                    <a16:creationId xmlns:a16="http://schemas.microsoft.com/office/drawing/2014/main" id="{674BA54C-2FCE-4855-9C7F-AC56D01E256E}"/>
                  </a:ext>
                </a:extLst>
              </p:cNvPr>
              <p:cNvSpPr>
                <a:spLocks noChangeAspect="1"/>
              </p:cNvSpPr>
              <p:nvPr/>
            </p:nvSpPr>
            <p:spPr bwMode="auto">
              <a:xfrm>
                <a:off x="9678544" y="3231862"/>
                <a:ext cx="155395" cy="109728"/>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6" name="check">
                <a:extLst>
                  <a:ext uri="{FF2B5EF4-FFF2-40B4-BE49-F238E27FC236}">
                    <a16:creationId xmlns:a16="http://schemas.microsoft.com/office/drawing/2014/main" id="{DE86AEE7-6545-4ED2-8E59-43FE403CA403}"/>
                  </a:ext>
                </a:extLst>
              </p:cNvPr>
              <p:cNvSpPr>
                <a:spLocks noChangeAspect="1"/>
              </p:cNvSpPr>
              <p:nvPr/>
            </p:nvSpPr>
            <p:spPr bwMode="auto">
              <a:xfrm>
                <a:off x="10319060" y="3246908"/>
                <a:ext cx="155395" cy="109728"/>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cxnSp>
        <p:nvCxnSpPr>
          <p:cNvPr id="89" name="Straight Arrow Connector 88">
            <a:extLst>
              <a:ext uri="{FF2B5EF4-FFF2-40B4-BE49-F238E27FC236}">
                <a16:creationId xmlns:a16="http://schemas.microsoft.com/office/drawing/2014/main" id="{737474C5-FD4F-4315-B454-0216DA115BE7}"/>
              </a:ext>
            </a:extLst>
          </p:cNvPr>
          <p:cNvCxnSpPr>
            <a:cxnSpLocks/>
          </p:cNvCxnSpPr>
          <p:nvPr/>
        </p:nvCxnSpPr>
        <p:spPr>
          <a:xfrm>
            <a:off x="7791558" y="4162331"/>
            <a:ext cx="202649" cy="0"/>
          </a:xfrm>
          <a:prstGeom prst="straightConnector1">
            <a:avLst/>
          </a:prstGeom>
          <a:ln w="12700">
            <a:solidFill>
              <a:schemeClr val="accent1"/>
            </a:solidFill>
            <a:prstDash val="dash"/>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4F73CD8D-4782-43E7-87F7-9FD2D22DD7BF}"/>
              </a:ext>
            </a:extLst>
          </p:cNvPr>
          <p:cNvCxnSpPr>
            <a:cxnSpLocks/>
          </p:cNvCxnSpPr>
          <p:nvPr/>
        </p:nvCxnSpPr>
        <p:spPr>
          <a:xfrm>
            <a:off x="9692690" y="4165848"/>
            <a:ext cx="202649" cy="0"/>
          </a:xfrm>
          <a:prstGeom prst="straightConnector1">
            <a:avLst/>
          </a:prstGeom>
          <a:ln w="12700">
            <a:solidFill>
              <a:schemeClr val="accent1"/>
            </a:solidFill>
            <a:prstDash val="dash"/>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32E0B757-FB1E-452C-AC77-9D884AFF77CC}"/>
              </a:ext>
            </a:extLst>
          </p:cNvPr>
          <p:cNvCxnSpPr>
            <a:cxnSpLocks/>
          </p:cNvCxnSpPr>
          <p:nvPr/>
        </p:nvCxnSpPr>
        <p:spPr>
          <a:xfrm>
            <a:off x="5889989" y="4163266"/>
            <a:ext cx="202649" cy="0"/>
          </a:xfrm>
          <a:prstGeom prst="straightConnector1">
            <a:avLst/>
          </a:prstGeom>
          <a:ln w="12700">
            <a:solidFill>
              <a:schemeClr val="accent1"/>
            </a:solidFill>
            <a:prstDash val="dash"/>
            <a:headEnd type="none"/>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28490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269241" y="1785555"/>
            <a:ext cx="2824563"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Built on Microsoft</a:t>
            </a:r>
            <a:endParaRPr lang="en-US">
              <a:solidFill>
                <a:prstClr val="black"/>
              </a:solidFill>
              <a:latin typeface="Segoe UI"/>
            </a:endParaRPr>
          </a:p>
          <a:p>
            <a:pPr defTabSz="932472" fontAlgn="base">
              <a:spcBef>
                <a:spcPct val="0"/>
              </a:spcBef>
              <a:spcAft>
                <a:spcPts val="588"/>
              </a:spcAft>
              <a:defRPr/>
            </a:pPr>
            <a:endParaRPr lang="en-US" sz="1600" b="1" i="1">
              <a:solidFill>
                <a:schemeClr val="tx1"/>
              </a:solidFill>
              <a:latin typeface="Segoe UI Light"/>
              <a:cs typeface="Segoe UI Light"/>
            </a:endParaRPr>
          </a:p>
          <a:p>
            <a:pPr defTabSz="932472" fontAlgn="base">
              <a:spcBef>
                <a:spcPct val="0"/>
              </a:spcBef>
              <a:spcAft>
                <a:spcPts val="588"/>
              </a:spcAft>
              <a:defRPr/>
            </a:pPr>
            <a:r>
              <a:rPr lang="en-US" sz="1600" b="1" i="1">
                <a:solidFill>
                  <a:schemeClr val="tx1"/>
                </a:solidFill>
                <a:latin typeface="Segoe UI Light"/>
                <a:cs typeface="Segoe UI Light"/>
              </a:rPr>
              <a:t>Accenture Aspire + Azure Cognitive Services is Transforming Unstructured Data Preparation for Azure Search</a:t>
            </a:r>
            <a:endParaRPr lang="en-US">
              <a:solidFill>
                <a:schemeClr val="tx1"/>
              </a:solidFill>
            </a:endParaRPr>
          </a:p>
          <a:p>
            <a:pPr defTabSz="932472" fontAlgn="base">
              <a:defRPr/>
            </a:pPr>
            <a:r>
              <a:rPr lang="en-US" sz="1400">
                <a:solidFill>
                  <a:srgbClr val="FFFFFF"/>
                </a:solidFill>
                <a:latin typeface="Segoe UI Light"/>
                <a:cs typeface="Segoe UI Light"/>
              </a:rPr>
              <a:t>Back </a:t>
            </a:r>
            <a:endParaRPr lang="en-US" sz="1400">
              <a:solidFill>
                <a:srgbClr val="FFFFFF"/>
              </a:solidFill>
              <a:latin typeface="Segoe UI Light"/>
              <a:ea typeface="Segoe UI" pitchFamily="34" charset="0"/>
              <a:cs typeface="Segoe UI Light"/>
            </a:endParaRPr>
          </a:p>
          <a:p>
            <a:pPr defTabSz="932472" fontAlgn="base">
              <a:defRPr/>
            </a:pPr>
            <a:r>
              <a:rPr lang="en-US" sz="1200">
                <a:solidFill>
                  <a:schemeClr val="tx1"/>
                </a:solidFill>
                <a:latin typeface="Segoe UI Light"/>
                <a:ea typeface="Segoe UI" pitchFamily="34" charset="0"/>
                <a:cs typeface="Segoe UI Light"/>
              </a:rPr>
              <a:t>Accenture's Aspire is a search engine independent content processing framework designed specifically for unstructured and semi-structured data.  Aspire utilizes Azure Cognitive Services, a set of intelligent on-demand services that can be connected to websites/applications via APIs for customized business requirements.</a:t>
            </a:r>
            <a:endParaRPr lang="en-US" sz="1200">
              <a:ln>
                <a:solidFill>
                  <a:srgbClr val="FFFFFF">
                    <a:alpha val="0"/>
                  </a:srgbClr>
                </a:solidFill>
              </a:ln>
              <a:solidFill>
                <a:schemeClr val="tx1"/>
              </a:solidFill>
              <a:latin typeface="Segoe UI Light"/>
              <a:ea typeface="Segoe UI" pitchFamily="34" charset="0"/>
              <a:cs typeface="Segoe UI" pitchFamily="34" charset="0"/>
            </a:endParaRPr>
          </a:p>
          <a:p>
            <a:pPr defTabSz="932472" fontAlgn="base">
              <a:defRPr/>
            </a:pPr>
            <a:endParaRPr lang="en-US" sz="1400">
              <a:ln>
                <a:solidFill>
                  <a:srgbClr val="FFFFFF">
                    <a:alpha val="0"/>
                  </a:srgbClr>
                </a:solidFill>
              </a:ln>
              <a:solidFill>
                <a:schemeClr val="tx1"/>
              </a:solidFill>
              <a:latin typeface="Segoe UI Light"/>
              <a:ea typeface="Segoe UI" pitchFamily="34" charset="0"/>
              <a:cs typeface="Segoe UI" pitchFamily="34" charset="0"/>
            </a:endParaRPr>
          </a:p>
          <a:p>
            <a:pPr defTabSz="932472" fontAlgn="base">
              <a:spcBef>
                <a:spcPct val="0"/>
              </a:spcBef>
              <a:spcAft>
                <a:spcPts val="588"/>
              </a:spcAft>
              <a:defRPr/>
            </a:pPr>
            <a:endParaRPr lang="en-IN" sz="1961">
              <a:solidFill>
                <a:srgbClr val="FFFFFF"/>
              </a:solidFill>
              <a:latin typeface="Segoe UI Light"/>
              <a:ea typeface="Segoe UI" pitchFamily="34" charset="0"/>
              <a:cs typeface="Segoe UI Light"/>
            </a:endParaRPr>
          </a:p>
          <a:p>
            <a:pPr marL="171450" indent="-171450" defTabSz="932472" fontAlgn="base">
              <a:spcBef>
                <a:spcPct val="0"/>
              </a:spcBef>
              <a:spcAft>
                <a:spcPts val="300"/>
              </a:spcAft>
              <a:buFont typeface="Arial" panose="020B0604020202020204" pitchFamily="34" charset="0"/>
              <a:buChar char="•"/>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756664"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Customer value prop</a:t>
            </a:r>
            <a:endParaRPr lang="en-US">
              <a:solidFill>
                <a:prstClr val="black"/>
              </a:solidFill>
              <a:latin typeface="Segoe UI"/>
            </a:endParaRPr>
          </a:p>
          <a:p>
            <a:pPr marL="167640" indent="-167640" defTabSz="914102" fontAlgn="base">
              <a:spcBef>
                <a:spcPct val="0"/>
              </a:spcBef>
              <a:spcAft>
                <a:spcPts val="1176"/>
              </a:spcAft>
              <a:buFont typeface="Arial" panose="020B0604020202020204" pitchFamily="34" charset="0"/>
              <a:buChar char="•"/>
              <a:defRPr/>
            </a:pPr>
            <a:r>
              <a:rPr lang="en-US" sz="1200">
                <a:solidFill>
                  <a:srgbClr val="434343"/>
                </a:solidFill>
                <a:latin typeface="+mj-lt"/>
              </a:rPr>
              <a:t>By integrating Accenture's Aspire with Microsoft Azure Cognitive Services, we can accelerate unstructured content acquisition, and significantly enhance content processing and enrichment in Azure Search. </a:t>
            </a:r>
            <a:endParaRPr lang="en-US" sz="1050">
              <a:solidFill>
                <a:srgbClr val="434343"/>
              </a:solidFill>
              <a:latin typeface="+mj-lt"/>
              <a:cs typeface="Segoe UI Light"/>
            </a:endParaRPr>
          </a:p>
          <a:p>
            <a:pPr marL="167640" indent="-167640" defTabSz="914102" fontAlgn="base">
              <a:spcBef>
                <a:spcPct val="0"/>
              </a:spcBef>
              <a:spcAft>
                <a:spcPts val="1176"/>
              </a:spcAft>
              <a:buFont typeface="Arial" panose="020B0604020202020204" pitchFamily="34" charset="0"/>
              <a:buChar char="•"/>
              <a:defRPr/>
            </a:pPr>
            <a:r>
              <a:rPr lang="en-US" sz="1200">
                <a:solidFill>
                  <a:srgbClr val="434343"/>
                </a:solidFill>
                <a:latin typeface="Segoe UI Light"/>
                <a:cs typeface="Segoe UI Light"/>
              </a:rPr>
              <a:t>Combining Azure Cognitive Services with </a:t>
            </a:r>
            <a:r>
              <a:rPr lang="en-US" sz="1200" err="1">
                <a:solidFill>
                  <a:srgbClr val="434343"/>
                </a:solidFill>
                <a:latin typeface="Segoe UI Light"/>
                <a:cs typeface="Segoe UI Light"/>
              </a:rPr>
              <a:t>Aspire's</a:t>
            </a:r>
            <a:r>
              <a:rPr lang="en-US" sz="1200">
                <a:solidFill>
                  <a:srgbClr val="434343"/>
                </a:solidFill>
                <a:latin typeface="Segoe UI Light"/>
                <a:cs typeface="Segoe UI Light"/>
              </a:rPr>
              <a:t> sophisticated content processing capabilities provides a high-performing data </a:t>
            </a:r>
            <a:r>
              <a:rPr lang="en-US" sz="1200" err="1">
                <a:solidFill>
                  <a:srgbClr val="434343"/>
                </a:solidFill>
                <a:latin typeface="Segoe UI Light"/>
                <a:cs typeface="Segoe UI Light"/>
              </a:rPr>
              <a:t>preperation</a:t>
            </a:r>
            <a:r>
              <a:rPr lang="en-US" sz="1200">
                <a:solidFill>
                  <a:srgbClr val="434343"/>
                </a:solidFill>
                <a:latin typeface="Segoe UI Light"/>
                <a:cs typeface="Segoe UI Light"/>
              </a:rPr>
              <a:t> experience.</a:t>
            </a:r>
          </a:p>
          <a:p>
            <a:pPr defTabSz="914102" fontAlgn="base">
              <a:spcBef>
                <a:spcPct val="0"/>
              </a:spcBef>
              <a:spcAft>
                <a:spcPct val="0"/>
              </a:spcAft>
              <a:defRPr/>
            </a:pPr>
            <a:endParaRPr lang="en-US" sz="980">
              <a:solidFill>
                <a:prstClr val="black"/>
              </a:solidFill>
              <a:latin typeface="Segoe UI"/>
              <a:cs typeface="Segoe UI"/>
            </a:endParaRP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marL="50800" indent="-50800" algn="ctr" defTabSz="896382">
              <a:lnSpc>
                <a:spcPts val="7548"/>
              </a:lnSpc>
              <a:defRPr/>
            </a:pPr>
            <a:r>
              <a:rPr lang="en-US" sz="4800">
                <a:solidFill>
                  <a:srgbClr val="00BCF2"/>
                </a:solidFill>
                <a:latin typeface="Segoe UI Light"/>
                <a:cs typeface="Segoe UI Light"/>
              </a:rPr>
              <a:t>Accenture</a:t>
            </a:r>
          </a:p>
        </p:txBody>
      </p:sp>
      <p:sp>
        <p:nvSpPr>
          <p:cNvPr id="12" name="Title 1">
            <a:extLst>
              <a:ext uri="{FF2B5EF4-FFF2-40B4-BE49-F238E27FC236}">
                <a16:creationId xmlns:a16="http://schemas.microsoft.com/office/drawing/2014/main" id="{C68CE6E5-9738-4B57-9567-0545B0EC830F}"/>
              </a:ext>
            </a:extLst>
          </p:cNvPr>
          <p:cNvSpPr txBox="1">
            <a:spLocks/>
          </p:cNvSpPr>
          <p:nvPr/>
        </p:nvSpPr>
        <p:spPr>
          <a:xfrm>
            <a:off x="268080" y="569633"/>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000" b="1">
                <a:solidFill>
                  <a:srgbClr val="505050"/>
                </a:solidFill>
              </a:rPr>
              <a:t>Key SI Partner – Solution Benefits &amp; Value</a:t>
            </a:r>
          </a:p>
        </p:txBody>
      </p:sp>
      <p:pic>
        <p:nvPicPr>
          <p:cNvPr id="2" name="Picture 2">
            <a:extLst>
              <a:ext uri="{FF2B5EF4-FFF2-40B4-BE49-F238E27FC236}">
                <a16:creationId xmlns:a16="http://schemas.microsoft.com/office/drawing/2014/main" id="{79B12EDD-5FF7-49BB-AA5B-3D56AA0C78DE}"/>
              </a:ext>
            </a:extLst>
          </p:cNvPr>
          <p:cNvPicPr>
            <a:picLocks noChangeAspect="1"/>
          </p:cNvPicPr>
          <p:nvPr/>
        </p:nvPicPr>
        <p:blipFill>
          <a:blip r:embed="rId3"/>
          <a:stretch>
            <a:fillRect/>
          </a:stretch>
        </p:blipFill>
        <p:spPr>
          <a:xfrm>
            <a:off x="9845800" y="629301"/>
            <a:ext cx="1774825" cy="695267"/>
          </a:xfrm>
          <a:prstGeom prst="rect">
            <a:avLst/>
          </a:prstGeom>
        </p:spPr>
      </p:pic>
      <p:pic>
        <p:nvPicPr>
          <p:cNvPr id="4" name="Picture 5" descr="A screenshot of a cell phone&#10;&#10;Description generated with very high confidence">
            <a:extLst>
              <a:ext uri="{FF2B5EF4-FFF2-40B4-BE49-F238E27FC236}">
                <a16:creationId xmlns:a16="http://schemas.microsoft.com/office/drawing/2014/main" id="{19138CB4-A887-4EE4-995B-6ED437929836}"/>
              </a:ext>
            </a:extLst>
          </p:cNvPr>
          <p:cNvPicPr>
            <a:picLocks noChangeAspect="1"/>
          </p:cNvPicPr>
          <p:nvPr/>
        </p:nvPicPr>
        <p:blipFill>
          <a:blip r:embed="rId4"/>
          <a:stretch>
            <a:fillRect/>
          </a:stretch>
        </p:blipFill>
        <p:spPr>
          <a:xfrm>
            <a:off x="3285067" y="3681828"/>
            <a:ext cx="5658908" cy="2870428"/>
          </a:xfrm>
          <a:prstGeom prst="rect">
            <a:avLst/>
          </a:prstGeom>
        </p:spPr>
      </p:pic>
    </p:spTree>
    <p:extLst>
      <p:ext uri="{BB962C8B-B14F-4D97-AF65-F5344CB8AC3E}">
        <p14:creationId xmlns:p14="http://schemas.microsoft.com/office/powerpoint/2010/main" val="4118819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269241" y="1785555"/>
            <a:ext cx="2824563"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Built on Microsoft</a:t>
            </a:r>
            <a:endParaRPr lang="en-US">
              <a:solidFill>
                <a:prstClr val="black"/>
              </a:solidFill>
              <a:latin typeface="Segoe UI"/>
            </a:endParaRPr>
          </a:p>
          <a:p>
            <a:pPr defTabSz="914102" fontAlgn="base">
              <a:spcBef>
                <a:spcPct val="0"/>
              </a:spcBef>
              <a:spcAft>
                <a:spcPct val="0"/>
              </a:spcAft>
              <a:defRPr/>
            </a:pPr>
            <a:endParaRPr lang="en-US" sz="1000">
              <a:solidFill>
                <a:srgbClr val="434343"/>
              </a:solidFill>
              <a:latin typeface="Segoe UI"/>
              <a:ea typeface="Segoe UI" pitchFamily="34" charset="0"/>
              <a:cs typeface="Segoe UI" pitchFamily="34" charset="0"/>
            </a:endParaRPr>
          </a:p>
          <a:p>
            <a:pPr marL="17145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Microsoft Azure</a:t>
            </a:r>
            <a:r>
              <a:rPr lang="en-US" sz="1050">
                <a:solidFill>
                  <a:prstClr val="black"/>
                </a:solidFill>
                <a:latin typeface="Segoe UI Light"/>
                <a:ea typeface="Segoe UI" pitchFamily="34" charset="0"/>
                <a:cs typeface="Segoe UI Light"/>
              </a:rPr>
              <a:t> Search</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Azure Cognitive Services</a:t>
            </a: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Azure Data Lake</a:t>
            </a: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Azure Machine Learning</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Azure Data Factory.</a:t>
            </a: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OSS Data Science</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Azure Blob Storage</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Cosmos DB</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Analytics, ML</a:t>
            </a:r>
            <a:endParaRPr lang="en-US" sz="1050">
              <a:solidFill>
                <a:prstClr val="black"/>
              </a:solidFill>
              <a:latin typeface="Segoe UI Light"/>
              <a:ea typeface="Segoe UI" pitchFamily="34" charset="0"/>
              <a:cs typeface="Segoe UI Light"/>
            </a:endParaRP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Power BI</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indent="-171450" defTabSz="932472" fontAlgn="base">
              <a:spcBef>
                <a:spcPct val="0"/>
              </a:spcBef>
              <a:spcAft>
                <a:spcPts val="300"/>
              </a:spcAft>
              <a:buFont typeface="Arial" panose="020B0604020202020204" pitchFamily="34" charset="0"/>
              <a:buChar char="•"/>
              <a:defRPr/>
            </a:pPr>
            <a:r>
              <a:rPr lang="en-US" sz="1050">
                <a:solidFill>
                  <a:prstClr val="black"/>
                </a:solidFill>
                <a:latin typeface="Segoe UI Light"/>
                <a:ea typeface="Segoe UI" pitchFamily="34" charset="0"/>
                <a:cs typeface="Segoe UI Light"/>
              </a:rPr>
              <a:t>Azure Bot Framework</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marL="171450" lvl="0" indent="-171450" defTabSz="932472" fontAlgn="base">
              <a:spcBef>
                <a:spcPct val="0"/>
              </a:spcBef>
              <a:spcAft>
                <a:spcPts val="300"/>
              </a:spcAft>
              <a:buFont typeface="Arial" panose="020B0604020202020204" pitchFamily="34" charset="0"/>
              <a:buChar char="•"/>
              <a:defRPr/>
            </a:pPr>
            <a:endParaRPr lang="en-US" sz="1050">
              <a:solidFill>
                <a:srgbClr val="000000"/>
              </a:solidFill>
              <a:latin typeface="Segoe UI Light"/>
              <a:ea typeface="Segoe UI" pitchFamily="34" charset="0"/>
              <a:cs typeface="Segoe UI Light"/>
            </a:endParaRPr>
          </a:p>
          <a:p>
            <a:pPr defTabSz="914102" fontAlgn="base">
              <a:spcBef>
                <a:spcPct val="0"/>
              </a:spcBef>
              <a:spcAft>
                <a:spcPts val="300"/>
              </a:spcAft>
              <a:defRPr/>
            </a:pPr>
            <a:r>
              <a:rPr lang="en-US" sz="1600" b="1">
                <a:solidFill>
                  <a:schemeClr val="accent2"/>
                </a:solidFill>
                <a:latin typeface="Segoe UI Light"/>
                <a:cs typeface="Segoe UI Light"/>
              </a:rPr>
              <a:t>Why EY?</a:t>
            </a:r>
          </a:p>
          <a:p>
            <a:pPr marL="171450" indent="-171450" defTabSz="914102" fontAlgn="base">
              <a:spcBef>
                <a:spcPct val="0"/>
              </a:spcBef>
              <a:spcAft>
                <a:spcPts val="300"/>
              </a:spcAft>
              <a:buFont typeface="Arial,Sans-Serif" panose="020B0604020202020204" pitchFamily="34" charset="0"/>
              <a:buChar char="•"/>
              <a:defRPr/>
            </a:pPr>
            <a:r>
              <a:rPr lang="en-US" sz="1050">
                <a:solidFill>
                  <a:schemeClr val="accent1"/>
                </a:solidFill>
                <a:latin typeface="Segoe UI Light"/>
                <a:cs typeface="Segoe UI Light"/>
              </a:rPr>
              <a:t>EY reads more business documents than any company in the world</a:t>
            </a:r>
          </a:p>
          <a:p>
            <a:pPr marL="171450" indent="-171450" defTabSz="914102" fontAlgn="base">
              <a:spcBef>
                <a:spcPct val="0"/>
              </a:spcBef>
              <a:spcAft>
                <a:spcPts val="300"/>
              </a:spcAft>
              <a:buFont typeface="Arial,Sans-Serif" panose="020B0604020202020204" pitchFamily="34" charset="0"/>
              <a:buChar char="•"/>
              <a:defRPr/>
            </a:pPr>
            <a:r>
              <a:rPr lang="en-US" sz="1050">
                <a:solidFill>
                  <a:schemeClr val="accent1"/>
                </a:solidFill>
                <a:latin typeface="Segoe UI Light"/>
                <a:cs typeface="Segoe UI Light"/>
              </a:rPr>
              <a:t>Deep expertise interpreting and analyzing business documents and making the appropriate decisions</a:t>
            </a:r>
          </a:p>
          <a:p>
            <a:pPr marL="171450" indent="-171450" defTabSz="914102" fontAlgn="base">
              <a:spcBef>
                <a:spcPct val="0"/>
              </a:spcBef>
              <a:spcAft>
                <a:spcPts val="300"/>
              </a:spcAft>
              <a:buFont typeface="Arial,Sans-Serif" panose="020B0604020202020204" pitchFamily="34" charset="0"/>
              <a:buChar char="•"/>
              <a:defRPr/>
            </a:pPr>
            <a:r>
              <a:rPr lang="en-US" sz="1050">
                <a:solidFill>
                  <a:schemeClr val="accent1"/>
                </a:solidFill>
                <a:latin typeface="Segoe UI Light"/>
                <a:cs typeface="Segoe UI Light"/>
              </a:rPr>
              <a:t>EY has access to massive amounts of robot training data</a:t>
            </a:r>
          </a:p>
          <a:p>
            <a:pPr marL="171450" indent="-171450" defTabSz="914102" fontAlgn="base">
              <a:spcBef>
                <a:spcPct val="0"/>
              </a:spcBef>
              <a:spcAft>
                <a:spcPts val="300"/>
              </a:spcAft>
              <a:buFont typeface="Arial,Sans-Serif" panose="020B0604020202020204" pitchFamily="34" charset="0"/>
              <a:buChar char="•"/>
              <a:defRPr/>
            </a:pPr>
            <a:r>
              <a:rPr lang="en-US" sz="1050">
                <a:solidFill>
                  <a:schemeClr val="accent1"/>
                </a:solidFill>
                <a:latin typeface="Segoe UI Light"/>
                <a:cs typeface="Segoe UI Light"/>
              </a:rPr>
              <a:t>Cross industry solutions</a:t>
            </a:r>
          </a:p>
          <a:p>
            <a:pPr defTabSz="914102" fontAlgn="base">
              <a:spcBef>
                <a:spcPct val="0"/>
              </a:spcBef>
              <a:spcAft>
                <a:spcPts val="300"/>
              </a:spcAft>
              <a:defRPr/>
            </a:pPr>
            <a:endParaRPr lang="en-US" sz="1050">
              <a:solidFill>
                <a:srgbClr val="002050"/>
              </a:solidFill>
              <a:latin typeface="Segoe UI Light"/>
              <a:ea typeface="Segoe UI" pitchFamily="34" charset="0"/>
              <a:cs typeface="Segoe UI Light"/>
            </a:endParaRPr>
          </a:p>
          <a:p>
            <a:pPr defTabSz="914102" fontAlgn="base">
              <a:spcBef>
                <a:spcPct val="0"/>
              </a:spcBef>
              <a:spcAft>
                <a:spcPts val="300"/>
              </a:spcAft>
              <a:defRPr/>
            </a:pPr>
            <a:endParaRPr lang="en-IN" sz="1961">
              <a:solidFill>
                <a:srgbClr val="FFFFFF"/>
              </a:solidFill>
              <a:latin typeface="Segoe UI Light"/>
              <a:ea typeface="Segoe UI" pitchFamily="34" charset="0"/>
              <a:cs typeface="Segoe UI Light"/>
            </a:endParaRPr>
          </a:p>
          <a:p>
            <a:pPr defTabSz="914102" fontAlgn="base">
              <a:spcBef>
                <a:spcPct val="0"/>
              </a:spcBef>
              <a:spcAft>
                <a:spcPts val="588"/>
              </a:spcAft>
              <a:defRPr/>
            </a:pPr>
            <a:endParaRPr lang="en-IN" sz="1961">
              <a:solidFill>
                <a:srgbClr val="FFFFFF"/>
              </a:solidFill>
              <a:latin typeface="Segoe UI Light"/>
              <a:ea typeface="Segoe UI" pitchFamily="34" charset="0"/>
              <a:cs typeface="Segoe UI Light"/>
            </a:endParaRPr>
          </a:p>
          <a:p>
            <a:pPr defTabSz="914102" fontAlgn="base">
              <a:spcBef>
                <a:spcPct val="0"/>
              </a:spcBef>
              <a:spcAft>
                <a:spcPts val="588"/>
              </a:spcAft>
              <a:defRPr/>
            </a:pPr>
            <a:endParaRPr lang="en-IN" sz="1961">
              <a:solidFill>
                <a:srgbClr val="FFFFFF"/>
              </a:solidFill>
              <a:latin typeface="Segoe UI Light"/>
              <a:ea typeface="Segoe UI" pitchFamily="34" charset="0"/>
              <a:cs typeface="Segoe UI Light"/>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790783"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Customer Value Prop</a:t>
            </a:r>
            <a:endParaRPr lang="en-US">
              <a:solidFill>
                <a:prstClr val="black"/>
              </a:solidFill>
              <a:latin typeface="Segoe UI"/>
            </a:endParaRPr>
          </a:p>
          <a:p>
            <a:pPr marL="167640" indent="-167640" defTabSz="914102" fontAlgn="base">
              <a:spcBef>
                <a:spcPct val="0"/>
              </a:spcBef>
              <a:spcAft>
                <a:spcPts val="1176"/>
              </a:spcAft>
              <a:buFont typeface="Arial" panose="020B0604020202020204" pitchFamily="34" charset="0"/>
              <a:buChar char="•"/>
              <a:defRPr/>
            </a:pPr>
            <a:r>
              <a:rPr lang="en-US" sz="1100">
                <a:solidFill>
                  <a:srgbClr val="434343"/>
                </a:solidFill>
                <a:latin typeface="+mj-lt"/>
                <a:cs typeface="Segoe UI Light"/>
              </a:rPr>
              <a:t>Deep learning makes possible humanlike reading and interpreting of documents.</a:t>
            </a:r>
          </a:p>
          <a:p>
            <a:pPr marL="167640" indent="-167640" defTabSz="914102" fontAlgn="base">
              <a:spcBef>
                <a:spcPct val="0"/>
              </a:spcBef>
              <a:spcAft>
                <a:spcPts val="1176"/>
              </a:spcAft>
              <a:buFont typeface="Arial" panose="020B0604020202020204" pitchFamily="34" charset="0"/>
              <a:buChar char="•"/>
              <a:defRPr/>
            </a:pPr>
            <a:r>
              <a:rPr lang="en-US" sz="1100">
                <a:solidFill>
                  <a:srgbClr val="434343"/>
                </a:solidFill>
                <a:latin typeface="+mj-lt"/>
                <a:cs typeface="Segoe UI Light"/>
              </a:rPr>
              <a:t>Deep learning makes human competitive reading and interpretation of business documents possible.</a:t>
            </a:r>
          </a:p>
          <a:p>
            <a:pPr marL="167640" indent="-167640" defTabSz="914102" fontAlgn="base">
              <a:spcBef>
                <a:spcPct val="0"/>
              </a:spcBef>
              <a:spcAft>
                <a:spcPts val="1176"/>
              </a:spcAft>
              <a:buFont typeface="Arial" panose="020B0604020202020204" pitchFamily="34" charset="0"/>
              <a:buChar char="•"/>
              <a:defRPr/>
            </a:pPr>
            <a:r>
              <a:rPr lang="en-US" sz="1100">
                <a:solidFill>
                  <a:srgbClr val="434343"/>
                </a:solidFill>
                <a:latin typeface="+mj-lt"/>
                <a:cs typeface="Segoe UI Light"/>
              </a:rPr>
              <a:t>EY's Document Intelligence Platform enables organizations to process structured documents by extracting relevant data elements into a format that enables automation which enables efficiencies in an adaptable and scalable architecture.</a:t>
            </a: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marL="51356" indent="-51356" algn="ctr" defTabSz="896382">
              <a:lnSpc>
                <a:spcPts val="7548"/>
              </a:lnSpc>
              <a:defRPr/>
            </a:pPr>
            <a:r>
              <a:rPr lang="en-US" sz="4800">
                <a:solidFill>
                  <a:srgbClr val="00BCF2"/>
                </a:solidFill>
                <a:latin typeface="Segoe UI Light"/>
              </a:rPr>
              <a:t>EY</a:t>
            </a:r>
            <a:endParaRPr lang="en-US" sz="6000">
              <a:solidFill>
                <a:srgbClr val="00BCF2"/>
              </a:solidFill>
              <a:latin typeface="Segoe UI Light"/>
            </a:endParaRPr>
          </a:p>
        </p:txBody>
      </p:sp>
      <p:sp>
        <p:nvSpPr>
          <p:cNvPr id="12" name="Title 1">
            <a:extLst>
              <a:ext uri="{FF2B5EF4-FFF2-40B4-BE49-F238E27FC236}">
                <a16:creationId xmlns:a16="http://schemas.microsoft.com/office/drawing/2014/main" id="{5CB033A5-2E3A-4627-93DD-52F03B2613BC}"/>
              </a:ext>
            </a:extLst>
          </p:cNvPr>
          <p:cNvSpPr txBox="1">
            <a:spLocks/>
          </p:cNvSpPr>
          <p:nvPr/>
        </p:nvSpPr>
        <p:spPr>
          <a:xfrm>
            <a:off x="268080" y="569633"/>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000" b="1">
                <a:solidFill>
                  <a:srgbClr val="505050"/>
                </a:solidFill>
              </a:rPr>
              <a:t>Key SI Partner – Solution Benefits &amp; Value</a:t>
            </a:r>
          </a:p>
        </p:txBody>
      </p:sp>
      <p:pic>
        <p:nvPicPr>
          <p:cNvPr id="5" name="Picture 4">
            <a:extLst>
              <a:ext uri="{FF2B5EF4-FFF2-40B4-BE49-F238E27FC236}">
                <a16:creationId xmlns:a16="http://schemas.microsoft.com/office/drawing/2014/main" id="{9FE6B100-5475-4986-92CE-F2FEC9EDBE2D}"/>
              </a:ext>
            </a:extLst>
          </p:cNvPr>
          <p:cNvPicPr>
            <a:picLocks noChangeAspect="1"/>
          </p:cNvPicPr>
          <p:nvPr/>
        </p:nvPicPr>
        <p:blipFill>
          <a:blip r:embed="rId3"/>
          <a:stretch>
            <a:fillRect/>
          </a:stretch>
        </p:blipFill>
        <p:spPr>
          <a:xfrm>
            <a:off x="3239178" y="3707294"/>
            <a:ext cx="5677665" cy="2850874"/>
          </a:xfrm>
          <a:prstGeom prst="rect">
            <a:avLst/>
          </a:prstGeom>
        </p:spPr>
      </p:pic>
      <p:pic>
        <p:nvPicPr>
          <p:cNvPr id="2" name="Picture 2" descr="A close up of a logo&#10;&#10;Description generated with very high confidence">
            <a:extLst>
              <a:ext uri="{FF2B5EF4-FFF2-40B4-BE49-F238E27FC236}">
                <a16:creationId xmlns:a16="http://schemas.microsoft.com/office/drawing/2014/main" id="{2856AB80-CA7B-4FA6-9563-6ED84D077057}"/>
              </a:ext>
            </a:extLst>
          </p:cNvPr>
          <p:cNvPicPr>
            <a:picLocks noChangeAspect="1"/>
          </p:cNvPicPr>
          <p:nvPr/>
        </p:nvPicPr>
        <p:blipFill>
          <a:blip r:embed="rId4"/>
          <a:stretch>
            <a:fillRect/>
          </a:stretch>
        </p:blipFill>
        <p:spPr>
          <a:xfrm>
            <a:off x="9713506" y="490553"/>
            <a:ext cx="1690160" cy="905841"/>
          </a:xfrm>
          <a:prstGeom prst="rect">
            <a:avLst/>
          </a:prstGeom>
        </p:spPr>
      </p:pic>
    </p:spTree>
    <p:extLst>
      <p:ext uri="{BB962C8B-B14F-4D97-AF65-F5344CB8AC3E}">
        <p14:creationId xmlns:p14="http://schemas.microsoft.com/office/powerpoint/2010/main" val="121453713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86139" y="1785555"/>
            <a:ext cx="3014870"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Built on Microsoft</a:t>
            </a:r>
            <a:endParaRPr lang="en-US">
              <a:solidFill>
                <a:prstClr val="black"/>
              </a:solidFill>
              <a:latin typeface="Segoe UI"/>
            </a:endParaRPr>
          </a:p>
          <a:p>
            <a:r>
              <a:rPr lang="en-US" sz="1200">
                <a:solidFill>
                  <a:schemeClr val="tx1"/>
                </a:solidFill>
              </a:rPr>
              <a:t>Capgemini’s approach to knowledge management integrates innovative processes, tools and solutions. </a:t>
            </a:r>
          </a:p>
          <a:p>
            <a:endParaRPr lang="en-US" sz="1200">
              <a:solidFill>
                <a:schemeClr val="tx1"/>
              </a:solidFill>
            </a:endParaRPr>
          </a:p>
          <a:p>
            <a:r>
              <a:rPr lang="en-US" sz="1200">
                <a:solidFill>
                  <a:schemeClr val="tx1"/>
                </a:solidFill>
              </a:rPr>
              <a:t>To ensure cost-effectiveness and rapid adoption, Capgemini’s customized processes can include:</a:t>
            </a:r>
          </a:p>
          <a:p>
            <a:endParaRPr lang="en-US" sz="1200">
              <a:solidFill>
                <a:schemeClr val="tx1"/>
              </a:solidFill>
            </a:endParaRPr>
          </a:p>
          <a:p>
            <a:r>
              <a:rPr lang="en-US" sz="1200" b="1">
                <a:solidFill>
                  <a:schemeClr val="tx1"/>
                </a:solidFill>
              </a:rPr>
              <a:t>Integrated architecture framework</a:t>
            </a:r>
            <a:r>
              <a:rPr lang="en-US" sz="1200">
                <a:solidFill>
                  <a:schemeClr val="tx1"/>
                </a:solidFill>
              </a:rPr>
              <a:t>, to approach and govern all enterprise information management initiatives</a:t>
            </a:r>
          </a:p>
          <a:p>
            <a:endParaRPr lang="en-US" sz="1200">
              <a:solidFill>
                <a:schemeClr val="tx1"/>
              </a:solidFill>
            </a:endParaRPr>
          </a:p>
          <a:p>
            <a:r>
              <a:rPr lang="en-US" sz="1200" b="1">
                <a:solidFill>
                  <a:schemeClr val="tx1"/>
                </a:solidFill>
              </a:rPr>
              <a:t>Knowledge management roadmap and scorecards</a:t>
            </a:r>
            <a:r>
              <a:rPr lang="en-US" sz="1200">
                <a:solidFill>
                  <a:schemeClr val="tx1"/>
                </a:solidFill>
              </a:rPr>
              <a:t>, to assess your business and technology needs</a:t>
            </a:r>
          </a:p>
          <a:p>
            <a:endParaRPr lang="en-US" sz="1200">
              <a:solidFill>
                <a:schemeClr val="tx1"/>
              </a:solidFill>
            </a:endParaRPr>
          </a:p>
          <a:p>
            <a:r>
              <a:rPr lang="en-US" sz="1200" b="1">
                <a:solidFill>
                  <a:schemeClr val="tx1"/>
                </a:solidFill>
              </a:rPr>
              <a:t>Rapid design and visualization toolkit, </a:t>
            </a:r>
            <a:r>
              <a:rPr lang="en-US" sz="1200">
                <a:solidFill>
                  <a:schemeClr val="tx1"/>
                </a:solidFill>
              </a:rPr>
              <a:t>to rapidly validate requirements and compress design time cycles</a:t>
            </a:r>
          </a:p>
          <a:p>
            <a:pPr defTabSz="932472" fontAlgn="base">
              <a:defRPr/>
            </a:pPr>
            <a:endParaRPr lang="en-US" sz="1400">
              <a:ln>
                <a:solidFill>
                  <a:srgbClr val="FFFFFF">
                    <a:alpha val="0"/>
                  </a:srgbClr>
                </a:solidFill>
              </a:ln>
              <a:solidFill>
                <a:schemeClr val="tx1"/>
              </a:solidFill>
              <a:latin typeface="Segoe UI Light"/>
              <a:ea typeface="Segoe UI" pitchFamily="34" charset="0"/>
              <a:cs typeface="Segoe UI" pitchFamily="34" charset="0"/>
            </a:endParaRPr>
          </a:p>
          <a:p>
            <a:pPr defTabSz="932472" fontAlgn="base">
              <a:spcBef>
                <a:spcPct val="0"/>
              </a:spcBef>
              <a:spcAft>
                <a:spcPts val="588"/>
              </a:spcAft>
              <a:defRPr/>
            </a:pPr>
            <a:endParaRPr lang="en-IN" sz="1961">
              <a:solidFill>
                <a:srgbClr val="FFFFFF"/>
              </a:solidFill>
              <a:latin typeface="Segoe UI Light"/>
              <a:ea typeface="Segoe UI" pitchFamily="34" charset="0"/>
              <a:cs typeface="Segoe UI Light"/>
            </a:endParaRPr>
          </a:p>
          <a:p>
            <a:pPr marL="171450" indent="-171450" defTabSz="932472" fontAlgn="base">
              <a:spcBef>
                <a:spcPct val="0"/>
              </a:spcBef>
              <a:spcAft>
                <a:spcPts val="300"/>
              </a:spcAft>
              <a:buFont typeface="Arial" panose="020B0604020202020204" pitchFamily="34" charset="0"/>
              <a:buChar char="•"/>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756664"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Customer value proposition</a:t>
            </a:r>
            <a:endParaRPr lang="en-US">
              <a:ln>
                <a:solidFill>
                  <a:srgbClr val="FFFFFF">
                    <a:alpha val="0"/>
                  </a:srgbClr>
                </a:solidFill>
              </a:ln>
            </a:endParaRPr>
          </a:p>
          <a:p>
            <a:pPr defTabSz="914102" fontAlgn="base">
              <a:spcBef>
                <a:spcPct val="0"/>
              </a:spcBef>
              <a:spcAft>
                <a:spcPts val="588"/>
              </a:spcAft>
              <a:defRPr/>
            </a:pPr>
            <a:r>
              <a:rPr lang="en-US" sz="1200">
                <a:ln>
                  <a:solidFill>
                    <a:srgbClr val="FFFFFF">
                      <a:alpha val="0"/>
                    </a:srgbClr>
                  </a:solidFill>
                </a:ln>
                <a:solidFill>
                  <a:schemeClr val="tx1"/>
                </a:solidFill>
                <a:latin typeface="Segoe UI Light"/>
                <a:ea typeface="Segoe UI" pitchFamily="34" charset="0"/>
                <a:cs typeface="Segoe UI" pitchFamily="34" charset="0"/>
              </a:rPr>
              <a:t>Controlling</a:t>
            </a:r>
            <a:r>
              <a:rPr lang="en-US" sz="1200">
                <a:solidFill>
                  <a:schemeClr val="tx1"/>
                </a:solidFill>
                <a:latin typeface="Segoe UI Light"/>
                <a:cs typeface="Segoe UI Light"/>
              </a:rPr>
              <a:t> and leveraging information assets that are not stored in documents is proving a challenge for many organizations. Capgemini’s Knowledge Management solutions help you manage your intellectual or “human” knowledge to reduce information loss caused by attrition or staff turnover.</a:t>
            </a:r>
            <a:endParaRPr lang="en-US">
              <a:solidFill>
                <a:schemeClr val="tx1"/>
              </a:solidFill>
            </a:endParaRPr>
          </a:p>
          <a:p>
            <a:pPr defTabSz="914102" fontAlgn="base">
              <a:spcBef>
                <a:spcPct val="0"/>
              </a:spcBef>
              <a:spcAft>
                <a:spcPct val="0"/>
              </a:spcAft>
              <a:defRPr/>
            </a:pPr>
            <a:endParaRPr lang="en-US" sz="980">
              <a:solidFill>
                <a:prstClr val="black"/>
              </a:solidFill>
              <a:latin typeface="Segoe UI"/>
              <a:cs typeface="Segoe UI"/>
            </a:endParaRP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marL="50800" indent="-50800" algn="ctr" defTabSz="896382">
              <a:lnSpc>
                <a:spcPts val="7548"/>
              </a:lnSpc>
              <a:defRPr/>
            </a:pPr>
            <a:r>
              <a:rPr lang="en-US" sz="4000">
                <a:solidFill>
                  <a:srgbClr val="00BCF2"/>
                </a:solidFill>
                <a:latin typeface="Segoe UI Light"/>
                <a:cs typeface="Segoe UI Light"/>
              </a:rPr>
              <a:t>Capgemini</a:t>
            </a:r>
          </a:p>
        </p:txBody>
      </p:sp>
      <p:sp>
        <p:nvSpPr>
          <p:cNvPr id="12" name="Title 1">
            <a:extLst>
              <a:ext uri="{FF2B5EF4-FFF2-40B4-BE49-F238E27FC236}">
                <a16:creationId xmlns:a16="http://schemas.microsoft.com/office/drawing/2014/main" id="{C68CE6E5-9738-4B57-9567-0545B0EC830F}"/>
              </a:ext>
            </a:extLst>
          </p:cNvPr>
          <p:cNvSpPr txBox="1">
            <a:spLocks/>
          </p:cNvSpPr>
          <p:nvPr/>
        </p:nvSpPr>
        <p:spPr>
          <a:xfrm>
            <a:off x="268080" y="569633"/>
            <a:ext cx="10042111"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000" b="1">
                <a:solidFill>
                  <a:srgbClr val="505050"/>
                </a:solidFill>
              </a:rPr>
              <a:t>Key SI Partner – Solution Benefits &amp; Value</a:t>
            </a:r>
            <a:r>
              <a:rPr lang="en-US" sz="4000" b="1">
                <a:solidFill>
                  <a:srgbClr val="505050"/>
                </a:solidFill>
                <a:cs typeface="Segoe UI Light"/>
              </a:rPr>
              <a:t> </a:t>
            </a:r>
            <a:r>
              <a:rPr lang="en-US" sz="4400" b="1">
                <a:solidFill>
                  <a:srgbClr val="505050"/>
                </a:solidFill>
                <a:cs typeface="Segoe UI Light"/>
              </a:rPr>
              <a:t> </a:t>
            </a:r>
            <a:endParaRPr lang="en-US" sz="4400" b="1">
              <a:solidFill>
                <a:srgbClr val="505050"/>
              </a:solidFill>
            </a:endParaRPr>
          </a:p>
        </p:txBody>
      </p:sp>
      <p:pic>
        <p:nvPicPr>
          <p:cNvPr id="3" name="Picture 2">
            <a:extLst>
              <a:ext uri="{FF2B5EF4-FFF2-40B4-BE49-F238E27FC236}">
                <a16:creationId xmlns:a16="http://schemas.microsoft.com/office/drawing/2014/main" id="{B0C8F4D8-182D-465C-91A4-B06F5117E072}"/>
              </a:ext>
            </a:extLst>
          </p:cNvPr>
          <p:cNvPicPr>
            <a:picLocks noChangeAspect="1"/>
          </p:cNvPicPr>
          <p:nvPr/>
        </p:nvPicPr>
        <p:blipFill>
          <a:blip r:embed="rId3"/>
          <a:stretch>
            <a:fillRect/>
          </a:stretch>
        </p:blipFill>
        <p:spPr>
          <a:xfrm>
            <a:off x="3182620" y="3578458"/>
            <a:ext cx="5756664" cy="3062730"/>
          </a:xfrm>
          <a:prstGeom prst="rect">
            <a:avLst/>
          </a:prstGeom>
        </p:spPr>
      </p:pic>
      <p:pic>
        <p:nvPicPr>
          <p:cNvPr id="2" name="Picture 3" descr="A close up of a sign&#10;&#10;Description generated with very high confidence">
            <a:extLst>
              <a:ext uri="{FF2B5EF4-FFF2-40B4-BE49-F238E27FC236}">
                <a16:creationId xmlns:a16="http://schemas.microsoft.com/office/drawing/2014/main" id="{0A6AFD65-3A4F-4F0A-AB61-8D77030E62E0}"/>
              </a:ext>
            </a:extLst>
          </p:cNvPr>
          <p:cNvPicPr>
            <a:picLocks noChangeAspect="1"/>
          </p:cNvPicPr>
          <p:nvPr/>
        </p:nvPicPr>
        <p:blipFill>
          <a:blip r:embed="rId4"/>
          <a:stretch>
            <a:fillRect/>
          </a:stretch>
        </p:blipFill>
        <p:spPr>
          <a:xfrm>
            <a:off x="9592110" y="671605"/>
            <a:ext cx="2319867" cy="626534"/>
          </a:xfrm>
          <a:prstGeom prst="rect">
            <a:avLst/>
          </a:prstGeom>
        </p:spPr>
      </p:pic>
    </p:spTree>
    <p:extLst>
      <p:ext uri="{BB962C8B-B14F-4D97-AF65-F5344CB8AC3E}">
        <p14:creationId xmlns:p14="http://schemas.microsoft.com/office/powerpoint/2010/main" val="362986927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76179" y="1785555"/>
            <a:ext cx="3014870"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Built on Microsoft</a:t>
            </a:r>
            <a:endParaRPr lang="en-US">
              <a:solidFill>
                <a:prstClr val="black"/>
              </a:solidFill>
              <a:latin typeface="Segoe UI"/>
            </a:endParaRPr>
          </a:p>
          <a:p>
            <a:r>
              <a:rPr lang="en-US" sz="1200">
                <a:solidFill>
                  <a:schemeClr val="tx1"/>
                </a:solidFill>
                <a:latin typeface="Segoe UI Light"/>
                <a:cs typeface="Segoe UI Light"/>
              </a:rPr>
              <a:t>Wipro's Semantic Data Hub combines image processing, natural language processing, Machine Learning and rules to automatically classify and extract information in </a:t>
            </a:r>
            <a:r>
              <a:rPr lang="en-US" sz="1200" err="1">
                <a:solidFill>
                  <a:schemeClr val="tx1"/>
                </a:solidFill>
                <a:latin typeface="Segoe UI Light"/>
                <a:cs typeface="Segoe UI Light"/>
              </a:rPr>
              <a:t>realtime</a:t>
            </a:r>
            <a:r>
              <a:rPr lang="en-US" sz="1200">
                <a:solidFill>
                  <a:schemeClr val="tx1"/>
                </a:solidFill>
                <a:latin typeface="Segoe UI Light"/>
                <a:cs typeface="Segoe UI Light"/>
              </a:rPr>
              <a:t> from disparate sources and varying formats with little or no human interventions and deliver to users to make business decisions faster.</a:t>
            </a:r>
          </a:p>
          <a:p>
            <a:endParaRPr lang="en-US" sz="1200">
              <a:solidFill>
                <a:schemeClr val="tx1"/>
              </a:solidFill>
              <a:latin typeface="Segoe UI Light"/>
              <a:cs typeface="Segoe UI Light"/>
            </a:endParaRPr>
          </a:p>
          <a:p>
            <a:r>
              <a:rPr lang="en-US" sz="1200">
                <a:solidFill>
                  <a:schemeClr val="tx1"/>
                </a:solidFill>
                <a:latin typeface="Segoe UI Light"/>
                <a:cs typeface="Segoe UI Light"/>
              </a:rPr>
              <a:t>Solutions Include:</a:t>
            </a:r>
          </a:p>
          <a:p>
            <a:endParaRPr lang="en-US" sz="1200">
              <a:solidFill>
                <a:schemeClr val="tx1"/>
              </a:solidFill>
              <a:latin typeface="Segoe UI Light"/>
              <a:cs typeface="Segoe UI Light"/>
            </a:endParaRPr>
          </a:p>
          <a:p>
            <a:r>
              <a:rPr lang="en-US" sz="1200" b="1">
                <a:solidFill>
                  <a:schemeClr val="tx1"/>
                </a:solidFill>
                <a:latin typeface="Segoe UI Light"/>
                <a:cs typeface="Segoe UI Light"/>
              </a:rPr>
              <a:t>Media and Image Analytics: </a:t>
            </a:r>
            <a:r>
              <a:rPr lang="en-US" sz="1200">
                <a:solidFill>
                  <a:schemeClr val="tx1"/>
                </a:solidFill>
                <a:latin typeface="Segoe UI Light"/>
                <a:cs typeface="Segoe UI Light"/>
              </a:rPr>
              <a:t>Extracting meaningful information from images</a:t>
            </a:r>
          </a:p>
          <a:p>
            <a:r>
              <a:rPr lang="en-US" sz="1200" b="1">
                <a:solidFill>
                  <a:schemeClr val="tx1"/>
                </a:solidFill>
                <a:latin typeface="Segoe UI Light"/>
                <a:cs typeface="Segoe UI Light"/>
              </a:rPr>
              <a:t>Information Extraction &amp; Insights: </a:t>
            </a:r>
            <a:r>
              <a:rPr lang="en-US" sz="1200">
                <a:solidFill>
                  <a:schemeClr val="tx1"/>
                </a:solidFill>
                <a:latin typeface="Segoe UI Light"/>
                <a:cs typeface="Segoe UI Light"/>
              </a:rPr>
              <a:t>Extracts information from documents</a:t>
            </a:r>
            <a:endParaRPr lang="en-US" sz="1200" b="1">
              <a:solidFill>
                <a:schemeClr val="tx1"/>
              </a:solidFill>
              <a:latin typeface="Segoe UI Light"/>
              <a:cs typeface="Segoe UI Light"/>
            </a:endParaRPr>
          </a:p>
          <a:p>
            <a:r>
              <a:rPr lang="en-US" sz="1200" b="1">
                <a:solidFill>
                  <a:schemeClr val="tx1"/>
                </a:solidFill>
                <a:latin typeface="Segoe UI Light"/>
                <a:cs typeface="Segoe UI Light"/>
              </a:rPr>
              <a:t>Smart Data Lake: </a:t>
            </a:r>
            <a:r>
              <a:rPr lang="en-US" sz="1200">
                <a:solidFill>
                  <a:schemeClr val="tx1"/>
                </a:solidFill>
                <a:latin typeface="Segoe UI Light"/>
                <a:cs typeface="Segoe UI Light"/>
              </a:rPr>
              <a:t>Intelligent data catalog service</a:t>
            </a:r>
            <a:endParaRPr lang="en-US" sz="1200" b="1">
              <a:solidFill>
                <a:schemeClr val="tx1"/>
              </a:solidFill>
              <a:latin typeface="Segoe UI Light"/>
              <a:cs typeface="Segoe UI Light"/>
            </a:endParaRPr>
          </a:p>
          <a:p>
            <a:r>
              <a:rPr lang="en-US" sz="1200" b="1">
                <a:solidFill>
                  <a:schemeClr val="tx1"/>
                </a:solidFill>
                <a:latin typeface="Segoe UI Light"/>
                <a:cs typeface="Segoe UI Light"/>
              </a:rPr>
              <a:t>Video Analytics: </a:t>
            </a:r>
            <a:r>
              <a:rPr lang="en-US" sz="1200">
                <a:solidFill>
                  <a:schemeClr val="tx1"/>
                </a:solidFill>
                <a:latin typeface="Segoe UI Light"/>
                <a:cs typeface="Segoe UI Light"/>
              </a:rPr>
              <a:t>Real time video analysis and detection service</a:t>
            </a:r>
          </a:p>
          <a:p>
            <a:pPr defTabSz="932472" fontAlgn="base">
              <a:defRPr/>
            </a:pPr>
            <a:endParaRPr lang="en-US" sz="1400">
              <a:ln>
                <a:solidFill>
                  <a:srgbClr val="FFFFFF">
                    <a:alpha val="0"/>
                  </a:srgbClr>
                </a:solidFill>
              </a:ln>
              <a:solidFill>
                <a:schemeClr val="tx1"/>
              </a:solidFill>
              <a:latin typeface="Segoe UI Light"/>
              <a:ea typeface="Segoe UI" pitchFamily="34" charset="0"/>
              <a:cs typeface="Segoe UI" pitchFamily="34" charset="0"/>
            </a:endParaRPr>
          </a:p>
          <a:p>
            <a:pPr defTabSz="932472" fontAlgn="base">
              <a:spcBef>
                <a:spcPct val="0"/>
              </a:spcBef>
              <a:spcAft>
                <a:spcPts val="588"/>
              </a:spcAft>
              <a:defRPr/>
            </a:pPr>
            <a:endParaRPr lang="en-IN" sz="1961">
              <a:solidFill>
                <a:srgbClr val="FFFFFF"/>
              </a:solidFill>
              <a:latin typeface="Segoe UI Light"/>
              <a:ea typeface="Segoe UI" pitchFamily="34" charset="0"/>
              <a:cs typeface="Segoe UI Light"/>
            </a:endParaRPr>
          </a:p>
          <a:p>
            <a:pPr marL="171450" indent="-171450" defTabSz="932472" fontAlgn="base">
              <a:spcBef>
                <a:spcPct val="0"/>
              </a:spcBef>
              <a:spcAft>
                <a:spcPts val="300"/>
              </a:spcAft>
              <a:buFont typeface="Arial" panose="020B0604020202020204" pitchFamily="34" charset="0"/>
              <a:buChar char="•"/>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756664"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Customer value proposition</a:t>
            </a:r>
            <a:endParaRPr lang="en-US">
              <a:ln>
                <a:solidFill>
                  <a:srgbClr val="FFFFFF">
                    <a:alpha val="0"/>
                  </a:srgbClr>
                </a:solidFill>
              </a:ln>
            </a:endParaRPr>
          </a:p>
          <a:p>
            <a:pPr defTabSz="914102" fontAlgn="base">
              <a:spcBef>
                <a:spcPct val="0"/>
              </a:spcBef>
              <a:spcAft>
                <a:spcPts val="588"/>
              </a:spcAft>
              <a:defRPr/>
            </a:pPr>
            <a:r>
              <a:rPr lang="en-US" sz="1200">
                <a:solidFill>
                  <a:schemeClr val="tx1"/>
                </a:solidFill>
                <a:latin typeface="Segoe UI Light"/>
                <a:cs typeface="Segoe UI Light"/>
              </a:rPr>
              <a:t>Collects and organizes all data assets by making data simple and accessible creating a trusted analytics foundation understanding underlying ideas and concepts.</a:t>
            </a:r>
          </a:p>
          <a:p>
            <a:pPr defTabSz="914102" fontAlgn="base">
              <a:spcBef>
                <a:spcPct val="0"/>
              </a:spcBef>
              <a:spcAft>
                <a:spcPts val="588"/>
              </a:spcAft>
              <a:defRPr/>
            </a:pPr>
            <a:endParaRPr lang="en-US" sz="1200">
              <a:solidFill>
                <a:schemeClr val="tx1"/>
              </a:solidFill>
              <a:latin typeface="Segoe UI Light"/>
              <a:cs typeface="Segoe UI Light"/>
            </a:endParaRPr>
          </a:p>
          <a:p>
            <a:pPr defTabSz="914102" fontAlgn="base">
              <a:spcBef>
                <a:spcPct val="0"/>
              </a:spcBef>
              <a:spcAft>
                <a:spcPts val="588"/>
              </a:spcAft>
              <a:defRPr/>
            </a:pPr>
            <a:endParaRPr lang="en-US" sz="1200">
              <a:solidFill>
                <a:schemeClr val="tx1"/>
              </a:solidFill>
              <a:latin typeface="Segoe UI Light"/>
              <a:cs typeface="Segoe UI Light"/>
            </a:endParaRPr>
          </a:p>
          <a:p>
            <a:pPr defTabSz="914102" fontAlgn="base">
              <a:spcBef>
                <a:spcPct val="0"/>
              </a:spcBef>
              <a:spcAft>
                <a:spcPts val="588"/>
              </a:spcAft>
              <a:defRPr/>
            </a:pPr>
            <a:endParaRPr lang="en-US" sz="1200">
              <a:solidFill>
                <a:srgbClr val="434343"/>
              </a:solidFill>
              <a:latin typeface="Segoe UI Light"/>
              <a:cs typeface="Segoe UI Light"/>
            </a:endParaRPr>
          </a:p>
          <a:p>
            <a:pPr defTabSz="914102" fontAlgn="base">
              <a:spcBef>
                <a:spcPct val="0"/>
              </a:spcBef>
              <a:spcAft>
                <a:spcPts val="588"/>
              </a:spcAft>
              <a:defRPr/>
            </a:pPr>
            <a:endParaRPr lang="en-US" sz="1200">
              <a:solidFill>
                <a:srgbClr val="434343"/>
              </a:solidFill>
              <a:latin typeface="Segoe UI Light"/>
              <a:cs typeface="Segoe UI Light"/>
            </a:endParaRPr>
          </a:p>
          <a:p>
            <a:pPr defTabSz="914102" fontAlgn="base">
              <a:spcBef>
                <a:spcPct val="0"/>
              </a:spcBef>
              <a:spcAft>
                <a:spcPct val="0"/>
              </a:spcAft>
              <a:defRPr/>
            </a:pPr>
            <a:endParaRPr lang="en-US" sz="980">
              <a:solidFill>
                <a:prstClr val="black"/>
              </a:solidFill>
              <a:latin typeface="Segoe UI"/>
              <a:cs typeface="Segoe UI"/>
            </a:endParaRP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algn="ctr" defTabSz="914102" fontAlgn="base">
              <a:spcBef>
                <a:spcPct val="0"/>
              </a:spcBef>
              <a:spcAft>
                <a:spcPts val="1764"/>
              </a:spcAft>
              <a:defRPr/>
            </a:pPr>
            <a:r>
              <a:rPr lang="en-IN" sz="4000" b="1">
                <a:solidFill>
                  <a:schemeClr val="accent3"/>
                </a:solidFill>
                <a:latin typeface="Segoe UI Light"/>
                <a:ea typeface="Segoe UI" pitchFamily="34" charset="0"/>
                <a:cs typeface="Segoe UI Light"/>
              </a:rPr>
              <a:t>Wipro</a:t>
            </a:r>
          </a:p>
        </p:txBody>
      </p:sp>
      <p:sp>
        <p:nvSpPr>
          <p:cNvPr id="12" name="Title 1">
            <a:extLst>
              <a:ext uri="{FF2B5EF4-FFF2-40B4-BE49-F238E27FC236}">
                <a16:creationId xmlns:a16="http://schemas.microsoft.com/office/drawing/2014/main" id="{C68CE6E5-9738-4B57-9567-0545B0EC830F}"/>
              </a:ext>
            </a:extLst>
          </p:cNvPr>
          <p:cNvSpPr txBox="1">
            <a:spLocks/>
          </p:cNvSpPr>
          <p:nvPr/>
        </p:nvSpPr>
        <p:spPr>
          <a:xfrm>
            <a:off x="268080" y="569633"/>
            <a:ext cx="10042111"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000" b="1">
                <a:solidFill>
                  <a:srgbClr val="505050"/>
                </a:solidFill>
              </a:rPr>
              <a:t>Key SI Partner – Solution Benefits &amp; Value</a:t>
            </a:r>
            <a:r>
              <a:rPr lang="en-US" sz="4000" b="1">
                <a:solidFill>
                  <a:srgbClr val="505050"/>
                </a:solidFill>
                <a:cs typeface="Segoe UI Light"/>
              </a:rPr>
              <a:t> </a:t>
            </a:r>
            <a:r>
              <a:rPr lang="en-US" sz="4400" b="1">
                <a:solidFill>
                  <a:srgbClr val="505050"/>
                </a:solidFill>
                <a:cs typeface="Segoe UI Light"/>
              </a:rPr>
              <a:t> </a:t>
            </a:r>
            <a:endParaRPr lang="en-US" sz="4400" b="1">
              <a:solidFill>
                <a:srgbClr val="505050"/>
              </a:solidFill>
            </a:endParaRPr>
          </a:p>
        </p:txBody>
      </p:sp>
      <p:pic>
        <p:nvPicPr>
          <p:cNvPr id="2" name="Picture 1">
            <a:extLst>
              <a:ext uri="{FF2B5EF4-FFF2-40B4-BE49-F238E27FC236}">
                <a16:creationId xmlns:a16="http://schemas.microsoft.com/office/drawing/2014/main" id="{3427ACD7-6F9E-4A74-A29F-638E55D516CD}"/>
              </a:ext>
            </a:extLst>
          </p:cNvPr>
          <p:cNvPicPr>
            <a:picLocks noChangeAspect="1"/>
          </p:cNvPicPr>
          <p:nvPr/>
        </p:nvPicPr>
        <p:blipFill>
          <a:blip r:embed="rId3"/>
          <a:stretch>
            <a:fillRect/>
          </a:stretch>
        </p:blipFill>
        <p:spPr>
          <a:xfrm>
            <a:off x="10181172" y="216152"/>
            <a:ext cx="1600810" cy="1316537"/>
          </a:xfrm>
          <a:prstGeom prst="rect">
            <a:avLst/>
          </a:prstGeom>
        </p:spPr>
      </p:pic>
      <p:pic>
        <p:nvPicPr>
          <p:cNvPr id="6" name="Picture 6" descr="A picture containing text&#10;&#10;Description generated with high confidence">
            <a:extLst>
              <a:ext uri="{FF2B5EF4-FFF2-40B4-BE49-F238E27FC236}">
                <a16:creationId xmlns:a16="http://schemas.microsoft.com/office/drawing/2014/main" id="{AE97E0DB-6A99-4880-80EA-2C1067A70B95}"/>
              </a:ext>
            </a:extLst>
          </p:cNvPr>
          <p:cNvPicPr>
            <a:picLocks noChangeAspect="1"/>
          </p:cNvPicPr>
          <p:nvPr/>
        </p:nvPicPr>
        <p:blipFill>
          <a:blip r:embed="rId4"/>
          <a:stretch>
            <a:fillRect/>
          </a:stretch>
        </p:blipFill>
        <p:spPr>
          <a:xfrm>
            <a:off x="3185460" y="3147331"/>
            <a:ext cx="5766295" cy="3446986"/>
          </a:xfrm>
          <a:prstGeom prst="rect">
            <a:avLst/>
          </a:prstGeom>
        </p:spPr>
      </p:pic>
    </p:spTree>
    <p:extLst>
      <p:ext uri="{BB962C8B-B14F-4D97-AF65-F5344CB8AC3E}">
        <p14:creationId xmlns:p14="http://schemas.microsoft.com/office/powerpoint/2010/main" val="200752657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56779EC-9AFF-4B78-9AEF-A7D47285B663}"/>
              </a:ext>
            </a:extLst>
          </p:cNvPr>
          <p:cNvSpPr/>
          <p:nvPr/>
        </p:nvSpPr>
        <p:spPr>
          <a:xfrm>
            <a:off x="2955822" y="4164473"/>
            <a:ext cx="6272708" cy="2088283"/>
          </a:xfrm>
          <a:prstGeom prst="rect">
            <a:avLst/>
          </a:prstGeom>
          <a:solidFill>
            <a:schemeClr val="bg1">
              <a:lumMod val="8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Rectangle 37">
            <a:extLst>
              <a:ext uri="{FF2B5EF4-FFF2-40B4-BE49-F238E27FC236}">
                <a16:creationId xmlns:a16="http://schemas.microsoft.com/office/drawing/2014/main" id="{7CA01887-22D6-42EF-8E06-98F71D0A1283}"/>
              </a:ext>
            </a:extLst>
          </p:cNvPr>
          <p:cNvSpPr/>
          <p:nvPr/>
        </p:nvSpPr>
        <p:spPr>
          <a:xfrm>
            <a:off x="2955823" y="1238712"/>
            <a:ext cx="6272708" cy="2645595"/>
          </a:xfrm>
          <a:prstGeom prst="rect">
            <a:avLst/>
          </a:prstGeom>
          <a:solidFill>
            <a:schemeClr val="bg1">
              <a:lumMod val="8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Rectangle 36">
            <a:extLst>
              <a:ext uri="{FF2B5EF4-FFF2-40B4-BE49-F238E27FC236}">
                <a16:creationId xmlns:a16="http://schemas.microsoft.com/office/drawing/2014/main" id="{6317DE98-0BEE-49CB-9001-B5FDF15B5745}"/>
              </a:ext>
            </a:extLst>
          </p:cNvPr>
          <p:cNvSpPr/>
          <p:nvPr/>
        </p:nvSpPr>
        <p:spPr>
          <a:xfrm>
            <a:off x="9431731" y="1238710"/>
            <a:ext cx="2282343" cy="5014047"/>
          </a:xfrm>
          <a:prstGeom prst="rect">
            <a:avLst/>
          </a:prstGeom>
          <a:solidFill>
            <a:srgbClr val="D40E8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325D1426-04BB-4716-8155-5455C26E77B5}"/>
              </a:ext>
            </a:extLst>
          </p:cNvPr>
          <p:cNvSpPr/>
          <p:nvPr/>
        </p:nvSpPr>
        <p:spPr>
          <a:xfrm>
            <a:off x="477927" y="1238710"/>
            <a:ext cx="2256175" cy="5014047"/>
          </a:xfrm>
          <a:prstGeom prst="rect">
            <a:avLst/>
          </a:prstGeom>
          <a:solidFill>
            <a:schemeClr val="bg1">
              <a:lumMod val="8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81655B7C-02C3-4F48-8944-0B6D98B0BE9E}"/>
              </a:ext>
            </a:extLst>
          </p:cNvPr>
          <p:cNvSpPr>
            <a:spLocks noGrp="1"/>
          </p:cNvSpPr>
          <p:nvPr>
            <p:ph type="title"/>
          </p:nvPr>
        </p:nvSpPr>
        <p:spPr/>
        <p:txBody>
          <a:bodyPr/>
          <a:lstStyle/>
          <a:p>
            <a:r>
              <a:rPr lang="en-US" sz="3600" b="1">
                <a:solidFill>
                  <a:schemeClr val="tx1"/>
                </a:solidFill>
              </a:rPr>
              <a:t>Key SI Partner: Solution Benefits and Value</a:t>
            </a:r>
          </a:p>
        </p:txBody>
      </p:sp>
      <p:sp>
        <p:nvSpPr>
          <p:cNvPr id="25" name="TextBox 24">
            <a:extLst>
              <a:ext uri="{FF2B5EF4-FFF2-40B4-BE49-F238E27FC236}">
                <a16:creationId xmlns:a16="http://schemas.microsoft.com/office/drawing/2014/main" id="{FEC9B1A6-5AF3-41C6-A2FE-C390CD555607}"/>
              </a:ext>
            </a:extLst>
          </p:cNvPr>
          <p:cNvSpPr txBox="1"/>
          <p:nvPr/>
        </p:nvSpPr>
        <p:spPr>
          <a:xfrm>
            <a:off x="477927" y="1238710"/>
            <a:ext cx="2256175" cy="5387244"/>
          </a:xfrm>
          <a:prstGeom prst="rect">
            <a:avLst/>
          </a:prstGeom>
          <a:noFill/>
        </p:spPr>
        <p:txBody>
          <a:bodyPr wrap="square" rtlCol="0">
            <a:spAutoFit/>
          </a:bodyPr>
          <a:lstStyle/>
          <a:p>
            <a:r>
              <a:rPr lang="en-US" sz="2400"/>
              <a:t>Built on Microsoft</a:t>
            </a:r>
          </a:p>
          <a:p>
            <a:endParaRPr lang="en-US" sz="800"/>
          </a:p>
          <a:p>
            <a:r>
              <a:rPr lang="en-US" sz="1467"/>
              <a:t>Leveraging Azure tooling lets us go further, faster:</a:t>
            </a:r>
          </a:p>
          <a:p>
            <a:endParaRPr lang="en-US" sz="800"/>
          </a:p>
          <a:p>
            <a:pPr marL="228594" indent="-228594">
              <a:buFont typeface="Arial" panose="020B0604020202020204" pitchFamily="34" charset="0"/>
              <a:buChar char="•"/>
            </a:pPr>
            <a:r>
              <a:rPr lang="en-US" sz="1467"/>
              <a:t>Cognitive Services</a:t>
            </a:r>
          </a:p>
          <a:p>
            <a:pPr marL="228594" indent="-228594">
              <a:buFont typeface="Arial" panose="020B0604020202020204" pitchFamily="34" charset="0"/>
              <a:buChar char="•"/>
            </a:pPr>
            <a:r>
              <a:rPr lang="en-US" sz="1467"/>
              <a:t>Search</a:t>
            </a:r>
          </a:p>
          <a:p>
            <a:pPr marL="228594" indent="-228594">
              <a:buFont typeface="Arial" panose="020B0604020202020204" pitchFamily="34" charset="0"/>
              <a:buChar char="•"/>
            </a:pPr>
            <a:r>
              <a:rPr lang="en-US" sz="1467"/>
              <a:t>Cosmos</a:t>
            </a:r>
          </a:p>
          <a:p>
            <a:pPr marL="228594" indent="-228594">
              <a:buFont typeface="Arial" panose="020B0604020202020204" pitchFamily="34" charset="0"/>
              <a:buChar char="•"/>
            </a:pPr>
            <a:r>
              <a:rPr lang="en-US" sz="1467"/>
              <a:t>Data Factory</a:t>
            </a:r>
          </a:p>
          <a:p>
            <a:pPr marL="228594" indent="-228594">
              <a:buFont typeface="Arial" panose="020B0604020202020204" pitchFamily="34" charset="0"/>
              <a:buChar char="•"/>
            </a:pPr>
            <a:r>
              <a:rPr lang="en-US" sz="1467"/>
              <a:t>Data Lake</a:t>
            </a:r>
          </a:p>
          <a:p>
            <a:pPr marL="228594" indent="-228594">
              <a:buFont typeface="Arial" panose="020B0604020202020204" pitchFamily="34" charset="0"/>
              <a:buChar char="•"/>
            </a:pPr>
            <a:r>
              <a:rPr lang="en-US" sz="1467"/>
              <a:t>Databricks</a:t>
            </a:r>
          </a:p>
          <a:p>
            <a:pPr marL="228594" indent="-228594">
              <a:buFont typeface="Arial" panose="020B0604020202020204" pitchFamily="34" charset="0"/>
              <a:buChar char="•"/>
            </a:pPr>
            <a:r>
              <a:rPr lang="en-US" sz="1467"/>
              <a:t>Functions</a:t>
            </a:r>
          </a:p>
          <a:p>
            <a:pPr marL="228594" indent="-228594">
              <a:buFont typeface="Arial" panose="020B0604020202020204" pitchFamily="34" charset="0"/>
              <a:buChar char="•"/>
            </a:pPr>
            <a:r>
              <a:rPr lang="en-US" sz="1467"/>
              <a:t>Logic Apps</a:t>
            </a:r>
          </a:p>
          <a:p>
            <a:pPr marL="228594" indent="-228594">
              <a:buFont typeface="Arial" panose="020B0604020202020204" pitchFamily="34" charset="0"/>
              <a:buChar char="•"/>
            </a:pPr>
            <a:r>
              <a:rPr lang="en-US" sz="1467"/>
              <a:t>Service Bus</a:t>
            </a:r>
          </a:p>
          <a:p>
            <a:pPr marL="228594" indent="-228594">
              <a:buFont typeface="Arial" panose="020B0604020202020204" pitchFamily="34" charset="0"/>
              <a:buChar char="•"/>
            </a:pPr>
            <a:r>
              <a:rPr lang="en-US" sz="1467"/>
              <a:t>ML Services</a:t>
            </a:r>
          </a:p>
          <a:p>
            <a:pPr marL="228594" indent="-228594">
              <a:buFont typeface="Arial" panose="020B0604020202020204" pitchFamily="34" charset="0"/>
              <a:buChar char="•"/>
            </a:pPr>
            <a:endParaRPr lang="en-US" sz="800"/>
          </a:p>
          <a:p>
            <a:r>
              <a:rPr lang="en-US" sz="1467"/>
              <a:t>Cloud native approach lowers entry bar and TCO</a:t>
            </a:r>
          </a:p>
          <a:p>
            <a:endParaRPr lang="en-US" sz="800"/>
          </a:p>
          <a:p>
            <a:r>
              <a:rPr lang="en-US" sz="1467"/>
              <a:t>Extensible to hybrid cloud and cross cloud patterns</a:t>
            </a:r>
            <a:endParaRPr lang="en-US" sz="2400"/>
          </a:p>
        </p:txBody>
      </p:sp>
      <p:sp>
        <p:nvSpPr>
          <p:cNvPr id="27" name="TextBox 26">
            <a:extLst>
              <a:ext uri="{FF2B5EF4-FFF2-40B4-BE49-F238E27FC236}">
                <a16:creationId xmlns:a16="http://schemas.microsoft.com/office/drawing/2014/main" id="{E78CA87E-7BBC-43D8-B9B3-A5E5FD67A7B5}"/>
              </a:ext>
            </a:extLst>
          </p:cNvPr>
          <p:cNvSpPr txBox="1"/>
          <p:nvPr/>
        </p:nvSpPr>
        <p:spPr>
          <a:xfrm>
            <a:off x="2963470" y="1238710"/>
            <a:ext cx="6273189" cy="2800767"/>
          </a:xfrm>
          <a:prstGeom prst="rect">
            <a:avLst/>
          </a:prstGeom>
          <a:noFill/>
        </p:spPr>
        <p:txBody>
          <a:bodyPr wrap="square" rtlCol="0">
            <a:spAutoFit/>
          </a:bodyPr>
          <a:lstStyle/>
          <a:p>
            <a:r>
              <a:rPr lang="en-US" sz="2400"/>
              <a:t>Customer value prop</a:t>
            </a:r>
          </a:p>
          <a:p>
            <a:endParaRPr lang="en-US" sz="800"/>
          </a:p>
          <a:p>
            <a:pPr marL="380990" indent="-380990">
              <a:buFont typeface="Arial" panose="020B0604020202020204" pitchFamily="34" charset="0"/>
              <a:buChar char="•"/>
            </a:pPr>
            <a:r>
              <a:rPr lang="en-US" sz="1600"/>
              <a:t>Capture new value from existing data </a:t>
            </a:r>
          </a:p>
          <a:p>
            <a:pPr marL="380990" indent="-380990">
              <a:buFont typeface="Arial" panose="020B0604020202020204" pitchFamily="34" charset="0"/>
              <a:buChar char="•"/>
            </a:pPr>
            <a:r>
              <a:rPr lang="en-US" sz="1600"/>
              <a:t>Proven success and established patterns</a:t>
            </a:r>
          </a:p>
          <a:p>
            <a:pPr marL="380990" indent="-380990">
              <a:buFont typeface="Arial" panose="020B0604020202020204" pitchFamily="34" charset="0"/>
              <a:buChar char="•"/>
            </a:pPr>
            <a:r>
              <a:rPr lang="en-US" sz="1600"/>
              <a:t>Enable workforce, engage customers and optimize business</a:t>
            </a:r>
          </a:p>
          <a:p>
            <a:pPr marL="380990" indent="-380990">
              <a:buFont typeface="Arial" panose="020B0604020202020204" pitchFamily="34" charset="0"/>
              <a:buChar char="•"/>
            </a:pPr>
            <a:r>
              <a:rPr lang="en-US" sz="1600"/>
              <a:t>Deep foundation in identity, security and compliance needs</a:t>
            </a:r>
          </a:p>
          <a:p>
            <a:pPr marL="380990" indent="-380990">
              <a:buFont typeface="Arial" panose="020B0604020202020204" pitchFamily="34" charset="0"/>
              <a:buChar char="•"/>
            </a:pPr>
            <a:r>
              <a:rPr lang="en-US" sz="1600"/>
              <a:t>Agile approach to be tailored to customer’s specific needs</a:t>
            </a:r>
          </a:p>
          <a:p>
            <a:pPr marL="380990" indent="-380990">
              <a:buFont typeface="Arial" panose="020B0604020202020204" pitchFamily="34" charset="0"/>
              <a:buChar char="•"/>
            </a:pPr>
            <a:r>
              <a:rPr lang="en-US" sz="1600"/>
              <a:t>Provide metadata foundation for repeated wins with AI</a:t>
            </a:r>
          </a:p>
          <a:p>
            <a:pPr marL="380990" indent="-380990">
              <a:buFont typeface="Arial" panose="020B0604020202020204" pitchFamily="34" charset="0"/>
              <a:buChar char="•"/>
            </a:pPr>
            <a:r>
              <a:rPr lang="en-US" sz="1600"/>
              <a:t>Process to accelerate solutions from PoC to pilot to production</a:t>
            </a:r>
          </a:p>
          <a:p>
            <a:pPr marL="380990" indent="-380990">
              <a:buFont typeface="Arial" panose="020B0604020202020204" pitchFamily="34" charset="0"/>
              <a:buChar char="•"/>
            </a:pPr>
            <a:r>
              <a:rPr lang="en-US" sz="1600"/>
              <a:t>Focus on minimizing time to visible value creates cadence of success </a:t>
            </a:r>
          </a:p>
        </p:txBody>
      </p:sp>
      <p:sp>
        <p:nvSpPr>
          <p:cNvPr id="28" name="TextBox 27">
            <a:extLst>
              <a:ext uri="{FF2B5EF4-FFF2-40B4-BE49-F238E27FC236}">
                <a16:creationId xmlns:a16="http://schemas.microsoft.com/office/drawing/2014/main" id="{D20FC1A6-5ECB-45A9-ADF7-6F12FC8933E5}"/>
              </a:ext>
            </a:extLst>
          </p:cNvPr>
          <p:cNvSpPr txBox="1"/>
          <p:nvPr/>
        </p:nvSpPr>
        <p:spPr>
          <a:xfrm>
            <a:off x="9431731" y="1238710"/>
            <a:ext cx="2282343" cy="3273140"/>
          </a:xfrm>
          <a:prstGeom prst="rect">
            <a:avLst/>
          </a:prstGeom>
          <a:noFill/>
        </p:spPr>
        <p:txBody>
          <a:bodyPr wrap="square" rtlCol="0">
            <a:spAutoFit/>
          </a:bodyPr>
          <a:lstStyle/>
          <a:p>
            <a:r>
              <a:rPr lang="en-US" sz="2400"/>
              <a:t>BlueMetal and Cardinal are </a:t>
            </a:r>
            <a:r>
              <a:rPr lang="en-US" sz="2400" b="1">
                <a:solidFill>
                  <a:srgbClr val="532C70"/>
                </a:solidFill>
              </a:rPr>
              <a:t>Insight Digital Innovation:</a:t>
            </a:r>
            <a:endParaRPr lang="en-US" sz="2400" b="1"/>
          </a:p>
          <a:p>
            <a:endParaRPr lang="en-US" sz="800" b="1"/>
          </a:p>
          <a:p>
            <a:pPr marL="228594" indent="-228594">
              <a:buFont typeface="Arial" panose="020B0604020202020204" pitchFamily="34" charset="0"/>
              <a:buChar char="•"/>
            </a:pPr>
            <a:r>
              <a:rPr lang="en-US" sz="1467"/>
              <a:t>Data &amp; Artificial Intelligence</a:t>
            </a:r>
          </a:p>
          <a:p>
            <a:pPr marL="228594" indent="-228594">
              <a:buFont typeface="Arial" panose="020B0604020202020204" pitchFamily="34" charset="0"/>
              <a:buChar char="•"/>
            </a:pPr>
            <a:r>
              <a:rPr lang="en-US" sz="1467"/>
              <a:t>IoT &amp; Edge Intelligence</a:t>
            </a:r>
          </a:p>
          <a:p>
            <a:pPr marL="228594" indent="-228594">
              <a:buFont typeface="Arial" panose="020B0604020202020204" pitchFamily="34" charset="0"/>
              <a:buChar char="•"/>
            </a:pPr>
            <a:r>
              <a:rPr lang="en-US" sz="1467"/>
              <a:t>Modern Applications</a:t>
            </a:r>
          </a:p>
          <a:p>
            <a:pPr marL="228594" indent="-228594">
              <a:buFont typeface="Arial" panose="020B0604020202020204" pitchFamily="34" charset="0"/>
              <a:buChar char="•"/>
            </a:pPr>
            <a:r>
              <a:rPr lang="en-US" sz="1467"/>
              <a:t>DevOps</a:t>
            </a:r>
          </a:p>
          <a:p>
            <a:pPr marL="228594" indent="-228594">
              <a:buFont typeface="Arial" panose="020B0604020202020204" pitchFamily="34" charset="0"/>
              <a:buChar char="•"/>
            </a:pPr>
            <a:r>
              <a:rPr lang="en-US" sz="1467"/>
              <a:t>Emerging Technology</a:t>
            </a:r>
          </a:p>
        </p:txBody>
      </p:sp>
      <p:pic>
        <p:nvPicPr>
          <p:cNvPr id="30" name="Picture 29">
            <a:extLst>
              <a:ext uri="{FF2B5EF4-FFF2-40B4-BE49-F238E27FC236}">
                <a16:creationId xmlns:a16="http://schemas.microsoft.com/office/drawing/2014/main" id="{F48C6919-9525-408C-B7D0-774BC611E408}"/>
              </a:ext>
            </a:extLst>
          </p:cNvPr>
          <p:cNvPicPr>
            <a:picLocks noChangeAspect="1"/>
          </p:cNvPicPr>
          <p:nvPr/>
        </p:nvPicPr>
        <p:blipFill>
          <a:blip r:embed="rId2"/>
          <a:stretch>
            <a:fillRect/>
          </a:stretch>
        </p:blipFill>
        <p:spPr>
          <a:xfrm>
            <a:off x="8842483" y="304193"/>
            <a:ext cx="2871591" cy="677108"/>
          </a:xfrm>
          <a:prstGeom prst="rect">
            <a:avLst/>
          </a:prstGeom>
        </p:spPr>
      </p:pic>
      <p:sp>
        <p:nvSpPr>
          <p:cNvPr id="31" name="TextBox 30">
            <a:extLst>
              <a:ext uri="{FF2B5EF4-FFF2-40B4-BE49-F238E27FC236}">
                <a16:creationId xmlns:a16="http://schemas.microsoft.com/office/drawing/2014/main" id="{E2EFEC9D-93D0-41DF-9976-47E1151DAD17}"/>
              </a:ext>
            </a:extLst>
          </p:cNvPr>
          <p:cNvSpPr txBox="1"/>
          <p:nvPr/>
        </p:nvSpPr>
        <p:spPr>
          <a:xfrm>
            <a:off x="2959406" y="4164474"/>
            <a:ext cx="6273189" cy="461665"/>
          </a:xfrm>
          <a:prstGeom prst="rect">
            <a:avLst/>
          </a:prstGeom>
          <a:noFill/>
        </p:spPr>
        <p:txBody>
          <a:bodyPr wrap="square" rtlCol="0">
            <a:spAutoFit/>
          </a:bodyPr>
          <a:lstStyle/>
          <a:p>
            <a:r>
              <a:rPr lang="en-US" sz="2400"/>
              <a:t>Proven customer success</a:t>
            </a:r>
          </a:p>
        </p:txBody>
      </p:sp>
      <p:sp>
        <p:nvSpPr>
          <p:cNvPr id="32" name="TextBox 31">
            <a:extLst>
              <a:ext uri="{FF2B5EF4-FFF2-40B4-BE49-F238E27FC236}">
                <a16:creationId xmlns:a16="http://schemas.microsoft.com/office/drawing/2014/main" id="{B441456C-1777-497E-8EBB-92A8B1CD5107}"/>
              </a:ext>
            </a:extLst>
          </p:cNvPr>
          <p:cNvSpPr txBox="1"/>
          <p:nvPr/>
        </p:nvSpPr>
        <p:spPr>
          <a:xfrm>
            <a:off x="3180155" y="5832296"/>
            <a:ext cx="1747594" cy="297454"/>
          </a:xfrm>
          <a:prstGeom prst="rect">
            <a:avLst/>
          </a:prstGeom>
          <a:noFill/>
        </p:spPr>
        <p:txBody>
          <a:bodyPr wrap="none" rtlCol="0">
            <a:spAutoFit/>
          </a:bodyPr>
          <a:lstStyle/>
          <a:p>
            <a:r>
              <a:rPr lang="en-US" sz="1333">
                <a:latin typeface="+mj-lt"/>
              </a:rPr>
              <a:t>Clinical trials data hub</a:t>
            </a:r>
          </a:p>
        </p:txBody>
      </p:sp>
      <p:sp>
        <p:nvSpPr>
          <p:cNvPr id="33" name="TextBox 32">
            <a:extLst>
              <a:ext uri="{FF2B5EF4-FFF2-40B4-BE49-F238E27FC236}">
                <a16:creationId xmlns:a16="http://schemas.microsoft.com/office/drawing/2014/main" id="{949030E1-A288-4663-9520-DC49C53E28CB}"/>
              </a:ext>
            </a:extLst>
          </p:cNvPr>
          <p:cNvSpPr txBox="1"/>
          <p:nvPr/>
        </p:nvSpPr>
        <p:spPr>
          <a:xfrm>
            <a:off x="5036003" y="5832295"/>
            <a:ext cx="2033762" cy="297454"/>
          </a:xfrm>
          <a:prstGeom prst="rect">
            <a:avLst/>
          </a:prstGeom>
          <a:noFill/>
        </p:spPr>
        <p:txBody>
          <a:bodyPr wrap="none" rtlCol="0">
            <a:spAutoFit/>
          </a:bodyPr>
          <a:lstStyle/>
          <a:p>
            <a:r>
              <a:rPr lang="en-US" sz="1333">
                <a:latin typeface="+mj-lt"/>
              </a:rPr>
              <a:t>Self serve customer agent</a:t>
            </a:r>
          </a:p>
        </p:txBody>
      </p:sp>
      <p:sp>
        <p:nvSpPr>
          <p:cNvPr id="34" name="TextBox 33">
            <a:extLst>
              <a:ext uri="{FF2B5EF4-FFF2-40B4-BE49-F238E27FC236}">
                <a16:creationId xmlns:a16="http://schemas.microsoft.com/office/drawing/2014/main" id="{FF70D94B-7223-402D-BFAD-BD77376E59B3}"/>
              </a:ext>
            </a:extLst>
          </p:cNvPr>
          <p:cNvSpPr txBox="1"/>
          <p:nvPr/>
        </p:nvSpPr>
        <p:spPr>
          <a:xfrm>
            <a:off x="7046535" y="5832295"/>
            <a:ext cx="2168992" cy="297454"/>
          </a:xfrm>
          <a:prstGeom prst="rect">
            <a:avLst/>
          </a:prstGeom>
          <a:noFill/>
        </p:spPr>
        <p:txBody>
          <a:bodyPr wrap="none" rtlCol="0">
            <a:spAutoFit/>
          </a:bodyPr>
          <a:lstStyle/>
          <a:p>
            <a:r>
              <a:rPr lang="en-US" sz="1333">
                <a:latin typeface="+mj-lt"/>
              </a:rPr>
              <a:t>Policy mining and searching</a:t>
            </a:r>
          </a:p>
        </p:txBody>
      </p:sp>
      <p:pic>
        <p:nvPicPr>
          <p:cNvPr id="35" name="Picture 34">
            <a:extLst>
              <a:ext uri="{FF2B5EF4-FFF2-40B4-BE49-F238E27FC236}">
                <a16:creationId xmlns:a16="http://schemas.microsoft.com/office/drawing/2014/main" id="{F7286082-71B8-43D3-9A39-CC8908E86967}"/>
              </a:ext>
            </a:extLst>
          </p:cNvPr>
          <p:cNvPicPr>
            <a:picLocks noChangeAspect="1"/>
          </p:cNvPicPr>
          <p:nvPr/>
        </p:nvPicPr>
        <p:blipFill>
          <a:blip r:embed="rId3">
            <a:alphaModFix amt="75000"/>
          </a:blip>
          <a:stretch>
            <a:fillRect/>
          </a:stretch>
        </p:blipFill>
        <p:spPr>
          <a:xfrm>
            <a:off x="10235710" y="4682208"/>
            <a:ext cx="754817" cy="708767"/>
          </a:xfrm>
          <a:prstGeom prst="rect">
            <a:avLst/>
          </a:prstGeom>
        </p:spPr>
      </p:pic>
      <p:pic>
        <p:nvPicPr>
          <p:cNvPr id="40" name="Picture 39">
            <a:extLst>
              <a:ext uri="{FF2B5EF4-FFF2-40B4-BE49-F238E27FC236}">
                <a16:creationId xmlns:a16="http://schemas.microsoft.com/office/drawing/2014/main" id="{BFEC281A-5CF7-419F-848B-97CF83A28224}"/>
              </a:ext>
            </a:extLst>
          </p:cNvPr>
          <p:cNvPicPr>
            <a:picLocks noChangeAspect="1"/>
          </p:cNvPicPr>
          <p:nvPr/>
        </p:nvPicPr>
        <p:blipFill>
          <a:blip r:embed="rId4">
            <a:alphaModFix amt="75000"/>
          </a:blip>
          <a:stretch>
            <a:fillRect/>
          </a:stretch>
        </p:blipFill>
        <p:spPr>
          <a:xfrm>
            <a:off x="10935772" y="5556648"/>
            <a:ext cx="550056" cy="519424"/>
          </a:xfrm>
          <a:prstGeom prst="rect">
            <a:avLst/>
          </a:prstGeom>
        </p:spPr>
      </p:pic>
      <p:pic>
        <p:nvPicPr>
          <p:cNvPr id="41" name="Picture 40">
            <a:extLst>
              <a:ext uri="{FF2B5EF4-FFF2-40B4-BE49-F238E27FC236}">
                <a16:creationId xmlns:a16="http://schemas.microsoft.com/office/drawing/2014/main" id="{BDE2F9F6-96A2-4540-966E-EBE400B452C8}"/>
              </a:ext>
            </a:extLst>
          </p:cNvPr>
          <p:cNvPicPr>
            <a:picLocks noChangeAspect="1"/>
          </p:cNvPicPr>
          <p:nvPr/>
        </p:nvPicPr>
        <p:blipFill>
          <a:blip r:embed="rId5">
            <a:alphaModFix amt="75000"/>
          </a:blip>
          <a:stretch>
            <a:fillRect/>
          </a:stretch>
        </p:blipFill>
        <p:spPr>
          <a:xfrm>
            <a:off x="10297873" y="5556650"/>
            <a:ext cx="550056" cy="519423"/>
          </a:xfrm>
          <a:prstGeom prst="rect">
            <a:avLst/>
          </a:prstGeom>
        </p:spPr>
      </p:pic>
      <p:pic>
        <p:nvPicPr>
          <p:cNvPr id="42" name="Picture 41">
            <a:extLst>
              <a:ext uri="{FF2B5EF4-FFF2-40B4-BE49-F238E27FC236}">
                <a16:creationId xmlns:a16="http://schemas.microsoft.com/office/drawing/2014/main" id="{41DF3284-2205-416C-B94E-297935F6404E}"/>
              </a:ext>
            </a:extLst>
          </p:cNvPr>
          <p:cNvPicPr>
            <a:picLocks noChangeAspect="1"/>
          </p:cNvPicPr>
          <p:nvPr/>
        </p:nvPicPr>
        <p:blipFill>
          <a:blip r:embed="rId6">
            <a:alphaModFix amt="75000"/>
          </a:blip>
          <a:stretch>
            <a:fillRect/>
          </a:stretch>
        </p:blipFill>
        <p:spPr>
          <a:xfrm>
            <a:off x="9682886" y="5556651"/>
            <a:ext cx="550055" cy="519423"/>
          </a:xfrm>
          <a:prstGeom prst="rect">
            <a:avLst/>
          </a:prstGeom>
        </p:spPr>
      </p:pic>
      <p:pic>
        <p:nvPicPr>
          <p:cNvPr id="43" name="Picture 42">
            <a:extLst>
              <a:ext uri="{FF2B5EF4-FFF2-40B4-BE49-F238E27FC236}">
                <a16:creationId xmlns:a16="http://schemas.microsoft.com/office/drawing/2014/main" id="{F1A0325D-C1A6-4A1D-815A-270F0FDCBA65}"/>
              </a:ext>
            </a:extLst>
          </p:cNvPr>
          <p:cNvPicPr>
            <a:picLocks noChangeAspect="1"/>
          </p:cNvPicPr>
          <p:nvPr/>
        </p:nvPicPr>
        <p:blipFill>
          <a:blip r:embed="rId7"/>
          <a:stretch>
            <a:fillRect/>
          </a:stretch>
        </p:blipFill>
        <p:spPr>
          <a:xfrm>
            <a:off x="3202855" y="4708446"/>
            <a:ext cx="1725317" cy="1031685"/>
          </a:xfrm>
          <a:prstGeom prst="rect">
            <a:avLst/>
          </a:prstGeom>
          <a:effectLst>
            <a:outerShdw blurRad="50800" dist="76200" dir="2700000" algn="tl" rotWithShape="0">
              <a:prstClr val="black">
                <a:alpha val="40000"/>
              </a:prstClr>
            </a:outerShdw>
          </a:effectLst>
        </p:spPr>
      </p:pic>
      <p:pic>
        <p:nvPicPr>
          <p:cNvPr id="44" name="Picture 43">
            <a:extLst>
              <a:ext uri="{FF2B5EF4-FFF2-40B4-BE49-F238E27FC236}">
                <a16:creationId xmlns:a16="http://schemas.microsoft.com/office/drawing/2014/main" id="{D2DB6317-F0B9-4119-A3AA-2CA92BEDF6A6}"/>
              </a:ext>
            </a:extLst>
          </p:cNvPr>
          <p:cNvPicPr>
            <a:picLocks noChangeAspect="1"/>
          </p:cNvPicPr>
          <p:nvPr/>
        </p:nvPicPr>
        <p:blipFill>
          <a:blip r:embed="rId8"/>
          <a:stretch>
            <a:fillRect/>
          </a:stretch>
        </p:blipFill>
        <p:spPr>
          <a:xfrm>
            <a:off x="5370697" y="4683584"/>
            <a:ext cx="580831" cy="1031685"/>
          </a:xfrm>
          <a:prstGeom prst="rect">
            <a:avLst/>
          </a:prstGeom>
          <a:effectLst>
            <a:outerShdw blurRad="50800" dist="76200" dir="2700000" algn="tl" rotWithShape="0">
              <a:prstClr val="black">
                <a:alpha val="40000"/>
              </a:prstClr>
            </a:outerShdw>
          </a:effectLst>
        </p:spPr>
      </p:pic>
      <p:pic>
        <p:nvPicPr>
          <p:cNvPr id="45" name="Picture 44">
            <a:extLst>
              <a:ext uri="{FF2B5EF4-FFF2-40B4-BE49-F238E27FC236}">
                <a16:creationId xmlns:a16="http://schemas.microsoft.com/office/drawing/2014/main" id="{9DD20C96-FCB1-453E-8150-811782E3FC22}"/>
              </a:ext>
            </a:extLst>
          </p:cNvPr>
          <p:cNvPicPr>
            <a:picLocks noChangeAspect="1"/>
          </p:cNvPicPr>
          <p:nvPr/>
        </p:nvPicPr>
        <p:blipFill>
          <a:blip r:embed="rId9"/>
          <a:stretch>
            <a:fillRect/>
          </a:stretch>
        </p:blipFill>
        <p:spPr>
          <a:xfrm>
            <a:off x="6140942" y="4683584"/>
            <a:ext cx="580831" cy="1031685"/>
          </a:xfrm>
          <a:prstGeom prst="rect">
            <a:avLst/>
          </a:prstGeom>
          <a:effectLst>
            <a:outerShdw blurRad="50800" dist="76200" dir="2700000" algn="tl" rotWithShape="0">
              <a:prstClr val="black">
                <a:alpha val="40000"/>
              </a:prstClr>
            </a:outerShdw>
          </a:effectLst>
        </p:spPr>
      </p:pic>
      <p:pic>
        <p:nvPicPr>
          <p:cNvPr id="46" name="Picture 45">
            <a:extLst>
              <a:ext uri="{FF2B5EF4-FFF2-40B4-BE49-F238E27FC236}">
                <a16:creationId xmlns:a16="http://schemas.microsoft.com/office/drawing/2014/main" id="{6DD5466B-701A-4BF3-A825-14B675BA5341}"/>
              </a:ext>
            </a:extLst>
          </p:cNvPr>
          <p:cNvPicPr>
            <a:picLocks noChangeAspect="1"/>
          </p:cNvPicPr>
          <p:nvPr/>
        </p:nvPicPr>
        <p:blipFill>
          <a:blip r:embed="rId10"/>
          <a:stretch>
            <a:fillRect/>
          </a:stretch>
        </p:blipFill>
        <p:spPr>
          <a:xfrm>
            <a:off x="7205548" y="4717189"/>
            <a:ext cx="1725317" cy="1011433"/>
          </a:xfrm>
          <a:prstGeom prst="rect">
            <a:avLst/>
          </a:prstGeom>
          <a:ln w="19050">
            <a:solidFill>
              <a:schemeClr val="bg1">
                <a:lumMod val="85000"/>
              </a:schemeClr>
            </a:solidFill>
          </a:ln>
          <a:effectLst>
            <a:outerShdw blurRad="50800" dist="76200" dir="2700000" algn="tl" rotWithShape="0">
              <a:prstClr val="black">
                <a:alpha val="40000"/>
              </a:prstClr>
            </a:outerShdw>
          </a:effectLst>
        </p:spPr>
      </p:pic>
      <p:sp>
        <p:nvSpPr>
          <p:cNvPr id="47" name="TextBox 46">
            <a:extLst>
              <a:ext uri="{FF2B5EF4-FFF2-40B4-BE49-F238E27FC236}">
                <a16:creationId xmlns:a16="http://schemas.microsoft.com/office/drawing/2014/main" id="{79F921E1-D5D9-4468-B195-B0499110A92A}"/>
              </a:ext>
            </a:extLst>
          </p:cNvPr>
          <p:cNvSpPr txBox="1"/>
          <p:nvPr/>
        </p:nvSpPr>
        <p:spPr>
          <a:xfrm>
            <a:off x="4398493" y="6277613"/>
            <a:ext cx="4793300" cy="461665"/>
          </a:xfrm>
          <a:prstGeom prst="rect">
            <a:avLst/>
          </a:prstGeom>
          <a:noFill/>
        </p:spPr>
        <p:txBody>
          <a:bodyPr wrap="none" rtlCol="0">
            <a:spAutoFit/>
          </a:bodyPr>
          <a:lstStyle/>
          <a:p>
            <a:r>
              <a:rPr lang="en-US" sz="2400">
                <a:solidFill>
                  <a:srgbClr val="D40E8C"/>
                </a:solidFill>
              </a:rPr>
              <a:t>Contact us: alliances@insight.com</a:t>
            </a:r>
          </a:p>
        </p:txBody>
      </p:sp>
    </p:spTree>
    <p:extLst>
      <p:ext uri="{BB962C8B-B14F-4D97-AF65-F5344CB8AC3E}">
        <p14:creationId xmlns:p14="http://schemas.microsoft.com/office/powerpoint/2010/main" val="8730731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269241" y="1785555"/>
            <a:ext cx="2824563"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Built on Microsoft</a:t>
            </a:r>
            <a:endParaRPr lang="en-US">
              <a:solidFill>
                <a:prstClr val="black"/>
              </a:solidFill>
              <a:latin typeface="Segoe UI"/>
            </a:endParaRPr>
          </a:p>
          <a:p>
            <a:pPr defTabSz="914102" fontAlgn="base">
              <a:spcBef>
                <a:spcPct val="0"/>
              </a:spcBef>
              <a:spcAft>
                <a:spcPct val="0"/>
              </a:spcAft>
              <a:defRPr/>
            </a:pPr>
            <a:r>
              <a:rPr lang="en-US" sz="1029">
                <a:ln>
                  <a:solidFill>
                    <a:srgbClr val="FFFFFF">
                      <a:alpha val="0"/>
                    </a:srgbClr>
                  </a:solidFill>
                </a:ln>
                <a:solidFill>
                  <a:srgbClr val="434343"/>
                </a:solidFill>
                <a:latin typeface="Segoe UI"/>
                <a:ea typeface="Segoe UI" pitchFamily="34" charset="0"/>
                <a:cs typeface="Segoe UI" pitchFamily="34" charset="0"/>
              </a:rPr>
              <a:t>Compute Infrastructure:</a:t>
            </a:r>
          </a:p>
          <a:p>
            <a:pPr marL="171450" indent="-171450" defTabSz="914102" fontAlgn="base">
              <a:spcBef>
                <a:spcPct val="0"/>
              </a:spcBef>
              <a:spcAft>
                <a:spcPct val="0"/>
              </a:spcAft>
              <a:buFont typeface="Arial" panose="020B0604020202020204" pitchFamily="34" charset="0"/>
              <a:buChar char="•"/>
              <a:defRPr/>
            </a:pPr>
            <a:r>
              <a:rPr lang="en-US" sz="1029">
                <a:ln>
                  <a:solidFill>
                    <a:srgbClr val="FFFFFF">
                      <a:alpha val="0"/>
                    </a:srgbClr>
                  </a:solidFill>
                </a:ln>
                <a:solidFill>
                  <a:srgbClr val="434343"/>
                </a:solidFill>
                <a:latin typeface="Segoe UI"/>
                <a:ea typeface="Segoe UI" pitchFamily="34" charset="0"/>
                <a:cs typeface="Segoe UI" pitchFamily="34" charset="0"/>
              </a:rPr>
              <a:t>Utilizes Microsoft Azure PAAS Infrastructure</a:t>
            </a:r>
          </a:p>
          <a:p>
            <a:pPr marL="628650" lvl="1" indent="-171450" defTabSz="914102" fontAlgn="base">
              <a:spcBef>
                <a:spcPct val="0"/>
              </a:spcBef>
              <a:spcAft>
                <a:spcPct val="0"/>
              </a:spcAft>
              <a:buFont typeface="Arial" panose="020B0604020202020204" pitchFamily="34" charset="0"/>
              <a:buChar char="•"/>
              <a:defRPr/>
            </a:pPr>
            <a:r>
              <a:rPr lang="en-US" sz="1078">
                <a:ln>
                  <a:solidFill>
                    <a:srgbClr val="FFFFFF">
                      <a:alpha val="0"/>
                    </a:srgbClr>
                  </a:solidFill>
                </a:ln>
                <a:solidFill>
                  <a:srgbClr val="434343"/>
                </a:solidFill>
                <a:latin typeface="Segoe UI"/>
                <a:ea typeface="Segoe UI" pitchFamily="34" charset="0"/>
                <a:cs typeface="Segoe UI" pitchFamily="34" charset="0"/>
              </a:rPr>
              <a:t>Web Roles host secure web services utilized by clients</a:t>
            </a:r>
          </a:p>
          <a:p>
            <a:pPr marL="628650" lvl="1" indent="-171450" defTabSz="914102" fontAlgn="base">
              <a:spcBef>
                <a:spcPct val="0"/>
              </a:spcBef>
              <a:spcAft>
                <a:spcPct val="0"/>
              </a:spcAft>
              <a:buFont typeface="Arial" panose="020B0604020202020204" pitchFamily="34" charset="0"/>
              <a:buChar char="•"/>
              <a:defRPr/>
            </a:pPr>
            <a:r>
              <a:rPr lang="en-US" sz="1078">
                <a:ln>
                  <a:solidFill>
                    <a:srgbClr val="FFFFFF">
                      <a:alpha val="0"/>
                    </a:srgbClr>
                  </a:solidFill>
                </a:ln>
                <a:solidFill>
                  <a:srgbClr val="434343"/>
                </a:solidFill>
                <a:latin typeface="Segoe UI"/>
                <a:ea typeface="Segoe UI" pitchFamily="34" charset="0"/>
                <a:cs typeface="Segoe UI" pitchFamily="34" charset="0"/>
              </a:rPr>
              <a:t>Worker Roles performs long tasks from queries</a:t>
            </a:r>
          </a:p>
          <a:p>
            <a:pPr marL="628650" lvl="1" indent="-171450" defTabSz="914102" fontAlgn="base">
              <a:spcBef>
                <a:spcPct val="0"/>
              </a:spcBef>
              <a:spcAft>
                <a:spcPct val="0"/>
              </a:spcAft>
              <a:buFont typeface="Arial" panose="020B0604020202020204" pitchFamily="34" charset="0"/>
              <a:buChar char="•"/>
              <a:defRPr/>
            </a:pPr>
            <a:endParaRPr lang="en-US" sz="1078">
              <a:ln>
                <a:solidFill>
                  <a:srgbClr val="FFFFFF">
                    <a:alpha val="0"/>
                  </a:srgbClr>
                </a:solidFill>
              </a:ln>
              <a:solidFill>
                <a:srgbClr val="434343"/>
              </a:solidFill>
              <a:latin typeface="Segoe UI"/>
              <a:ea typeface="Segoe UI" pitchFamily="34" charset="0"/>
              <a:cs typeface="Segoe UI" pitchFamily="34" charset="0"/>
            </a:endParaRPr>
          </a:p>
          <a:p>
            <a:pPr marL="171450" indent="-171450" defTabSz="914102" fontAlgn="base">
              <a:spcBef>
                <a:spcPct val="0"/>
              </a:spcBef>
              <a:spcAft>
                <a:spcPct val="0"/>
              </a:spcAft>
              <a:buFont typeface="Arial" panose="020B0604020202020204" pitchFamily="34" charset="0"/>
              <a:buChar char="•"/>
              <a:defRPr/>
            </a:pPr>
            <a:r>
              <a:rPr lang="en-US" sz="1078">
                <a:ln>
                  <a:solidFill>
                    <a:srgbClr val="FFFFFF">
                      <a:alpha val="0"/>
                    </a:srgbClr>
                  </a:solidFill>
                </a:ln>
                <a:solidFill>
                  <a:srgbClr val="434343"/>
                </a:solidFill>
                <a:latin typeface="Segoe UI"/>
                <a:ea typeface="Segoe UI" pitchFamily="34" charset="0"/>
                <a:cs typeface="Segoe UI" pitchFamily="34" charset="0"/>
              </a:rPr>
              <a:t>Isolation (machine, fabric, VLAN) protects operating environment</a:t>
            </a:r>
          </a:p>
          <a:p>
            <a:pPr marL="171450" indent="-171450" defTabSz="914102" fontAlgn="base">
              <a:spcBef>
                <a:spcPct val="0"/>
              </a:spcBef>
              <a:spcAft>
                <a:spcPct val="0"/>
              </a:spcAft>
              <a:buFont typeface="Arial" panose="020B0604020202020204" pitchFamily="34" charset="0"/>
              <a:buChar char="•"/>
              <a:defRPr/>
            </a:pPr>
            <a:r>
              <a:rPr lang="en-US" sz="1078">
                <a:ln>
                  <a:solidFill>
                    <a:srgbClr val="FFFFFF">
                      <a:alpha val="0"/>
                    </a:srgbClr>
                  </a:solidFill>
                </a:ln>
                <a:solidFill>
                  <a:srgbClr val="434343"/>
                </a:solidFill>
                <a:latin typeface="Segoe UI"/>
                <a:ea typeface="Segoe UI" pitchFamily="34" charset="0"/>
                <a:cs typeface="Segoe UI" pitchFamily="34" charset="0"/>
              </a:rPr>
              <a:t>Audit Logs</a:t>
            </a:r>
          </a:p>
          <a:p>
            <a:pPr marL="171450" indent="-171450" defTabSz="914102" fontAlgn="base">
              <a:spcBef>
                <a:spcPct val="0"/>
              </a:spcBef>
              <a:spcAft>
                <a:spcPct val="0"/>
              </a:spcAft>
              <a:buFont typeface="Arial" panose="020B0604020202020204" pitchFamily="34" charset="0"/>
              <a:buChar char="•"/>
              <a:defRPr/>
            </a:pPr>
            <a:r>
              <a:rPr lang="en-US" sz="1078">
                <a:ln>
                  <a:solidFill>
                    <a:srgbClr val="FFFFFF">
                      <a:alpha val="0"/>
                    </a:srgbClr>
                  </a:solidFill>
                </a:ln>
                <a:solidFill>
                  <a:srgbClr val="434343"/>
                </a:solidFill>
                <a:latin typeface="Segoe UI"/>
                <a:ea typeface="Segoe UI" pitchFamily="34" charset="0"/>
                <a:cs typeface="Segoe UI" pitchFamily="34" charset="0"/>
              </a:rPr>
              <a:t>All actions by system are logged and available in audit/usage reports.</a:t>
            </a:r>
          </a:p>
          <a:p>
            <a:pPr marL="171450" indent="-171450" defTabSz="914102" fontAlgn="base">
              <a:spcBef>
                <a:spcPct val="0"/>
              </a:spcBef>
              <a:spcAft>
                <a:spcPct val="0"/>
              </a:spcAft>
              <a:buFont typeface="Arial" panose="020B0604020202020204" pitchFamily="34" charset="0"/>
              <a:buChar char="•"/>
              <a:defRPr/>
            </a:pPr>
            <a:endParaRPr lang="en-US" sz="1078">
              <a:ln>
                <a:solidFill>
                  <a:srgbClr val="FFFFFF">
                    <a:alpha val="0"/>
                  </a:srgbClr>
                </a:solidFill>
              </a:ln>
              <a:solidFill>
                <a:srgbClr val="434343"/>
              </a:solidFill>
              <a:latin typeface="Segoe UI"/>
              <a:ea typeface="Segoe UI" pitchFamily="34" charset="0"/>
              <a:cs typeface="Segoe UI" pitchFamily="34" charset="0"/>
            </a:endParaRPr>
          </a:p>
          <a:p>
            <a:pPr marL="171450" indent="-171450" defTabSz="914102" fontAlgn="base">
              <a:spcBef>
                <a:spcPct val="0"/>
              </a:spcBef>
              <a:spcAft>
                <a:spcPct val="0"/>
              </a:spcAft>
              <a:buFont typeface="Arial" panose="020B0604020202020204" pitchFamily="34" charset="0"/>
              <a:buChar char="•"/>
              <a:defRPr/>
            </a:pPr>
            <a:r>
              <a:rPr lang="en-US" sz="1078">
                <a:ln>
                  <a:solidFill>
                    <a:srgbClr val="FFFFFF">
                      <a:alpha val="0"/>
                    </a:srgbClr>
                  </a:solidFill>
                </a:ln>
                <a:solidFill>
                  <a:srgbClr val="434343"/>
                </a:solidFill>
                <a:latin typeface="Segoe UI"/>
                <a:ea typeface="Segoe UI" pitchFamily="34" charset="0"/>
                <a:cs typeface="Segoe UI" pitchFamily="34" charset="0"/>
              </a:rPr>
              <a:t>See Reference Architecture for all solution included services.</a:t>
            </a:r>
            <a:endParaRPr lang="en-IN" sz="1078">
              <a:ln>
                <a:solidFill>
                  <a:srgbClr val="FFFFFF">
                    <a:alpha val="0"/>
                  </a:srgbClr>
                </a:solidFill>
              </a:ln>
              <a:solidFill>
                <a:prstClr val="black"/>
              </a:solidFill>
              <a:latin typeface="Segoe UI"/>
              <a:ea typeface="Segoe UI" pitchFamily="34" charset="0"/>
              <a:cs typeface="Segoe UI" pitchFamily="34" charset="0"/>
            </a:endParaRPr>
          </a:p>
          <a:p>
            <a:pPr defTabSz="914102" fontAlgn="base">
              <a:spcBef>
                <a:spcPct val="0"/>
              </a:spcBef>
              <a:spcAft>
                <a:spcPts val="588"/>
              </a:spcAft>
              <a:buClr>
                <a:srgbClr val="434343"/>
              </a:buClr>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439459"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Customer value prop</a:t>
            </a:r>
            <a:endParaRPr lang="en-US">
              <a:solidFill>
                <a:prstClr val="black"/>
              </a:solidFill>
              <a:latin typeface="Segoe UI"/>
            </a:endParaRPr>
          </a:p>
          <a:p>
            <a:pPr marL="168072" indent="-168072" defTabSz="914102" fontAlgn="base">
              <a:spcBef>
                <a:spcPct val="0"/>
              </a:spcBef>
              <a:spcAft>
                <a:spcPts val="1176"/>
              </a:spcAft>
              <a:buFont typeface="Arial" panose="020B0604020202020204" pitchFamily="34" charset="0"/>
              <a:buChar char="•"/>
              <a:defRPr/>
            </a:pPr>
            <a:r>
              <a:rPr lang="en-US" sz="1176" err="1">
                <a:solidFill>
                  <a:srgbClr val="505050"/>
                </a:solidFill>
              </a:rPr>
              <a:t>Seismic’s</a:t>
            </a:r>
            <a:r>
              <a:rPr lang="en-US" sz="1176">
                <a:solidFill>
                  <a:srgbClr val="505050"/>
                </a:solidFill>
              </a:rPr>
              <a:t> leading sales enablement solution allows marketing teams to personalize content at scale and equips sales teams with the right content for every interaction, dramatically improving time spent selling and win rates. Real-time analytics and machine learning algorithms provide unprecedented insight for marketing teams looking to gauge which content helps close deals, further aligning marketing and sales efforts.</a:t>
            </a: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marL="50800" indent="-50800" algn="ctr" defTabSz="896382">
              <a:lnSpc>
                <a:spcPts val="7548"/>
              </a:lnSpc>
              <a:defRPr/>
            </a:pPr>
            <a:r>
              <a:rPr lang="en-US" sz="4800">
                <a:solidFill>
                  <a:srgbClr val="00BCF2"/>
                </a:solidFill>
                <a:latin typeface="Segoe UI Light"/>
                <a:cs typeface="Segoe UI Light"/>
              </a:rPr>
              <a:t>Seismic</a:t>
            </a:r>
          </a:p>
        </p:txBody>
      </p:sp>
      <p:sp>
        <p:nvSpPr>
          <p:cNvPr id="12" name="Title 1">
            <a:extLst>
              <a:ext uri="{FF2B5EF4-FFF2-40B4-BE49-F238E27FC236}">
                <a16:creationId xmlns:a16="http://schemas.microsoft.com/office/drawing/2014/main" id="{C68CE6E5-9738-4B57-9567-0545B0EC830F}"/>
              </a:ext>
            </a:extLst>
          </p:cNvPr>
          <p:cNvSpPr txBox="1">
            <a:spLocks/>
          </p:cNvSpPr>
          <p:nvPr/>
        </p:nvSpPr>
        <p:spPr>
          <a:xfrm>
            <a:off x="268080" y="569633"/>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400" b="1">
                <a:solidFill>
                  <a:srgbClr val="505050"/>
                </a:solidFill>
              </a:rPr>
              <a:t>Key ISV Partners – Solution Benefits &amp; Value</a:t>
            </a:r>
          </a:p>
        </p:txBody>
      </p:sp>
      <p:pic>
        <p:nvPicPr>
          <p:cNvPr id="2" name="Picture 1">
            <a:extLst>
              <a:ext uri="{FF2B5EF4-FFF2-40B4-BE49-F238E27FC236}">
                <a16:creationId xmlns:a16="http://schemas.microsoft.com/office/drawing/2014/main" id="{981618F1-9732-4376-9B7B-672DC9F1EBF4}"/>
              </a:ext>
            </a:extLst>
          </p:cNvPr>
          <p:cNvPicPr>
            <a:picLocks noChangeAspect="1"/>
          </p:cNvPicPr>
          <p:nvPr/>
        </p:nvPicPr>
        <p:blipFill>
          <a:blip r:embed="rId3"/>
          <a:stretch>
            <a:fillRect/>
          </a:stretch>
        </p:blipFill>
        <p:spPr>
          <a:xfrm>
            <a:off x="3291097" y="3640086"/>
            <a:ext cx="5222504" cy="2937659"/>
          </a:xfrm>
          <a:prstGeom prst="rect">
            <a:avLst/>
          </a:prstGeom>
        </p:spPr>
      </p:pic>
    </p:spTree>
    <p:extLst>
      <p:ext uri="{BB962C8B-B14F-4D97-AF65-F5344CB8AC3E}">
        <p14:creationId xmlns:p14="http://schemas.microsoft.com/office/powerpoint/2010/main" val="336795823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269241" y="1785555"/>
            <a:ext cx="2824563"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Built on Microsoft</a:t>
            </a:r>
            <a:endParaRPr lang="en-US">
              <a:solidFill>
                <a:prstClr val="black"/>
              </a:solidFill>
              <a:latin typeface="Segoe UI"/>
            </a:endParaRPr>
          </a:p>
          <a:p>
            <a:pPr lvl="0" defTabSz="932472" fontAlgn="base">
              <a:spcBef>
                <a:spcPct val="0"/>
              </a:spcBef>
              <a:spcAft>
                <a:spcPts val="600"/>
              </a:spcAft>
              <a:defRPr/>
            </a:pPr>
            <a:r>
              <a:rPr lang="en-US" sz="1600">
                <a:ln>
                  <a:solidFill>
                    <a:srgbClr val="FFFFFF">
                      <a:alpha val="0"/>
                    </a:srgbClr>
                  </a:solidFill>
                </a:ln>
                <a:solidFill>
                  <a:schemeClr val="accent2"/>
                </a:solidFill>
                <a:latin typeface="Segoe UI Light"/>
                <a:ea typeface="Segoe UI" pitchFamily="34" charset="0"/>
                <a:cs typeface="Segoe UI" pitchFamily="34" charset="0"/>
              </a:rPr>
              <a:t>Icertis is 100% Built on the Microsoft Cloud</a:t>
            </a:r>
            <a:endParaRPr lang="en-US" sz="1050">
              <a:solidFill>
                <a:prstClr val="black"/>
              </a:solidFill>
            </a:endParaRPr>
          </a:p>
          <a:p>
            <a:pPr lvl="0" defTabSz="932472" fontAlgn="base">
              <a:spcBef>
                <a:spcPct val="0"/>
              </a:spcBef>
              <a:spcAft>
                <a:spcPct val="0"/>
              </a:spcAft>
              <a:defRPr/>
            </a:pPr>
            <a:endParaRPr lang="en-US" sz="1050">
              <a:solidFill>
                <a:prstClr val="black"/>
              </a:solidFill>
            </a:endParaRP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Microsoft Azure, SQL, BLOB Storage</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Analytics, ML</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Compute, VMs</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Data &amp; Storage </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Microsoft Dynamics AX</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Power BI</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MS AI/Intelligence – Cognitive Services, TXT, Search API)</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For full list and roadmap </a:t>
            </a:r>
            <a:r>
              <a:rPr lang="en-US" sz="1050">
                <a:ln>
                  <a:solidFill>
                    <a:srgbClr val="FFFFFF">
                      <a:alpha val="0"/>
                    </a:srgbClr>
                  </a:solidFill>
                </a:ln>
                <a:solidFill>
                  <a:prstClr val="black"/>
                </a:solidFill>
                <a:latin typeface="Segoe UI Light"/>
                <a:ea typeface="Segoe UI" pitchFamily="34" charset="0"/>
                <a:cs typeface="Segoe UI" pitchFamily="34" charset="0"/>
                <a:hlinkClick r:id="rId3" action="ppaction://hlinksldjump"/>
              </a:rPr>
              <a:t>click here</a:t>
            </a:r>
            <a:endParaRPr lang="en-US" sz="1050">
              <a:ln>
                <a:solidFill>
                  <a:srgbClr val="FFFFFF">
                    <a:alpha val="0"/>
                  </a:srgbClr>
                </a:solidFill>
              </a:ln>
              <a:solidFill>
                <a:prstClr val="black"/>
              </a:solidFill>
              <a:latin typeface="Segoe UI Light"/>
              <a:ea typeface="Segoe UI" pitchFamily="34" charset="0"/>
              <a:cs typeface="Segoe UI" pitchFamily="34" charset="0"/>
            </a:endParaRPr>
          </a:p>
          <a:p>
            <a:pPr lvl="0" defTabSz="932472" fontAlgn="base">
              <a:spcBef>
                <a:spcPct val="0"/>
              </a:spcBef>
              <a:spcAft>
                <a:spcPts val="300"/>
              </a:spcAft>
              <a:defRPr/>
            </a:pPr>
            <a:endParaRPr lang="en-US" sz="1600">
              <a:ln>
                <a:solidFill>
                  <a:srgbClr val="FFFFFF">
                    <a:alpha val="0"/>
                  </a:srgbClr>
                </a:solidFill>
              </a:ln>
              <a:solidFill>
                <a:schemeClr val="accent2"/>
              </a:solidFill>
              <a:latin typeface="Segoe UI Light"/>
              <a:cs typeface="Segoe UI" pitchFamily="34" charset="0"/>
            </a:endParaRPr>
          </a:p>
          <a:p>
            <a:pPr lvl="0" defTabSz="932472" fontAlgn="base">
              <a:spcBef>
                <a:spcPct val="0"/>
              </a:spcBef>
              <a:spcAft>
                <a:spcPts val="600"/>
              </a:spcAft>
              <a:defRPr/>
            </a:pPr>
            <a:r>
              <a:rPr lang="en-US" sz="1600">
                <a:ln>
                  <a:solidFill>
                    <a:srgbClr val="FFFFFF">
                      <a:alpha val="0"/>
                    </a:srgbClr>
                  </a:solidFill>
                </a:ln>
                <a:solidFill>
                  <a:schemeClr val="accent2"/>
                </a:solidFill>
                <a:latin typeface="Segoe UI Light"/>
                <a:cs typeface="Segoe UI" pitchFamily="34" charset="0"/>
              </a:rPr>
              <a:t>2018 ACR Impact</a:t>
            </a:r>
            <a:endParaRPr lang="en-US" sz="800">
              <a:solidFill>
                <a:prstClr val="black"/>
              </a:solidFill>
            </a:endParaRPr>
          </a:p>
          <a:p>
            <a:pPr lvl="0" defTabSz="932472" fontAlgn="base">
              <a:spcBef>
                <a:spcPct val="0"/>
              </a:spcBef>
              <a:spcAft>
                <a:spcPct val="0"/>
              </a:spcAft>
              <a:defRPr/>
            </a:pPr>
            <a:r>
              <a:rPr lang="en-US" sz="1050">
                <a:solidFill>
                  <a:prstClr val="black"/>
                </a:solidFill>
              </a:rPr>
              <a:t>Icertis will closed FY18 with more than</a:t>
            </a:r>
            <a:r>
              <a:rPr lang="en-IN" sz="2800">
                <a:solidFill>
                  <a:srgbClr val="0072C6"/>
                </a:solidFill>
                <a:latin typeface="Segoe UI Light"/>
              </a:rPr>
              <a:t>$10M </a:t>
            </a:r>
            <a:r>
              <a:rPr lang="en-US" sz="1050">
                <a:solidFill>
                  <a:prstClr val="black"/>
                </a:solidFill>
              </a:rPr>
              <a:t>of ACR impact for Microsoft sellers. </a:t>
            </a:r>
            <a:endParaRPr lang="en-IN" sz="1050">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buClr>
                <a:srgbClr val="434343"/>
              </a:buClr>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439459"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a:ln>
                  <a:solidFill>
                    <a:srgbClr val="FFFFFF">
                      <a:alpha val="0"/>
                    </a:srgbClr>
                  </a:solidFill>
                </a:ln>
                <a:solidFill>
                  <a:srgbClr val="0072C6"/>
                </a:solidFill>
                <a:latin typeface="Segoe UI Light"/>
                <a:ea typeface="Segoe UI" pitchFamily="34" charset="0"/>
                <a:cs typeface="Segoe UI" pitchFamily="34" charset="0"/>
              </a:rPr>
              <a:t>Customer value prop</a:t>
            </a:r>
          </a:p>
          <a:p>
            <a:pPr defTabSz="914102" fontAlgn="base">
              <a:spcBef>
                <a:spcPct val="0"/>
              </a:spcBef>
              <a:spcAft>
                <a:spcPts val="588"/>
              </a:spcAft>
              <a:defRPr/>
            </a:pPr>
            <a:r>
              <a:rPr lang="en-US" sz="1176" b="1">
                <a:solidFill>
                  <a:srgbClr val="505050"/>
                </a:solidFill>
              </a:rPr>
              <a:t>Icertis is transforming the foundation of commerce with AI-infused live contracts that:</a:t>
            </a:r>
          </a:p>
          <a:p>
            <a:pPr marL="224097" indent="-224097" defTabSz="914102" fontAlgn="base">
              <a:spcBef>
                <a:spcPct val="0"/>
              </a:spcBef>
              <a:spcAft>
                <a:spcPts val="588"/>
              </a:spcAft>
              <a:buFont typeface="Arial" panose="020B0604020202020204" pitchFamily="34" charset="0"/>
              <a:buChar char="•"/>
              <a:defRPr/>
            </a:pPr>
            <a:r>
              <a:rPr lang="en-US" sz="1176">
                <a:solidFill>
                  <a:srgbClr val="505050"/>
                </a:solidFill>
              </a:rPr>
              <a:t>Enable automatic extraction of all the attributes and clauses from legacy and third-party contracts</a:t>
            </a:r>
          </a:p>
          <a:p>
            <a:pPr marL="224097" indent="-224097" defTabSz="914102" fontAlgn="base">
              <a:spcBef>
                <a:spcPct val="0"/>
              </a:spcBef>
              <a:spcAft>
                <a:spcPts val="588"/>
              </a:spcAft>
              <a:buFont typeface="Arial" panose="020B0604020202020204" pitchFamily="34" charset="0"/>
              <a:buChar char="•"/>
              <a:defRPr/>
            </a:pPr>
            <a:r>
              <a:rPr lang="en-US" sz="1176">
                <a:solidFill>
                  <a:srgbClr val="505050"/>
                </a:solidFill>
              </a:rPr>
              <a:t>Help customers to manage the lifecycle of their Contractual Obligations, Risks &amp; Compliance.</a:t>
            </a:r>
          </a:p>
          <a:p>
            <a:pPr marL="224097" indent="-224097" defTabSz="914102" fontAlgn="base">
              <a:spcBef>
                <a:spcPct val="0"/>
              </a:spcBef>
              <a:spcAft>
                <a:spcPts val="588"/>
              </a:spcAft>
              <a:buFont typeface="Arial" panose="020B0604020202020204" pitchFamily="34" charset="0"/>
              <a:buChar char="•"/>
              <a:defRPr/>
            </a:pPr>
            <a:r>
              <a:rPr lang="en-US" sz="1176">
                <a:solidFill>
                  <a:srgbClr val="505050"/>
                </a:solidFill>
              </a:rPr>
              <a:t>Help customers to discover and digitally manage all entitlements &amp; commitments towards their customers, vendors and other entities throughout the lifecycle (Obligation AI app)</a:t>
            </a:r>
          </a:p>
          <a:p>
            <a:pPr marL="224097" indent="-224097" defTabSz="914102" fontAlgn="base">
              <a:spcBef>
                <a:spcPct val="0"/>
              </a:spcBef>
              <a:spcAft>
                <a:spcPts val="588"/>
              </a:spcAft>
              <a:buFont typeface="Arial" panose="020B0604020202020204" pitchFamily="34" charset="0"/>
              <a:buChar char="•"/>
              <a:defRPr/>
            </a:pPr>
            <a:r>
              <a:rPr lang="en-US" sz="1176" b="1">
                <a:solidFill>
                  <a:srgbClr val="505050"/>
                </a:solidFill>
              </a:rPr>
              <a:t>Enabling data transformation, the ICM platform is: </a:t>
            </a:r>
          </a:p>
          <a:p>
            <a:pPr marL="681280" lvl="1" indent="-224097" defTabSz="914102" fontAlgn="base">
              <a:spcBef>
                <a:spcPct val="0"/>
              </a:spcBef>
              <a:spcAft>
                <a:spcPts val="588"/>
              </a:spcAft>
              <a:buFont typeface="Arial" panose="020B0604020202020204" pitchFamily="34" charset="0"/>
              <a:buChar char="•"/>
              <a:defRPr/>
            </a:pPr>
            <a:r>
              <a:rPr lang="en-US" sz="1176" b="1">
                <a:solidFill>
                  <a:srgbClr val="505050"/>
                </a:solidFill>
              </a:rPr>
              <a:t>Easy</a:t>
            </a:r>
            <a:r>
              <a:rPr lang="en-US" sz="1176">
                <a:solidFill>
                  <a:srgbClr val="505050"/>
                </a:solidFill>
              </a:rPr>
              <a:t> - robust authoring and approval routing tools allow customers to prepare, execute and manage contracts easily and reduce contract cycle times. </a:t>
            </a:r>
          </a:p>
          <a:p>
            <a:pPr marL="681280" lvl="1" indent="-224097" defTabSz="914102" fontAlgn="base">
              <a:spcBef>
                <a:spcPct val="0"/>
              </a:spcBef>
              <a:spcAft>
                <a:spcPts val="588"/>
              </a:spcAft>
              <a:buFont typeface="Arial" panose="020B0604020202020204" pitchFamily="34" charset="0"/>
              <a:buChar char="•"/>
              <a:defRPr/>
            </a:pPr>
            <a:r>
              <a:rPr lang="en-US" sz="1176" b="1">
                <a:solidFill>
                  <a:srgbClr val="505050"/>
                </a:solidFill>
              </a:rPr>
              <a:t>Intelligent</a:t>
            </a:r>
            <a:r>
              <a:rPr lang="en-US" sz="1176">
                <a:solidFill>
                  <a:srgbClr val="505050"/>
                </a:solidFill>
              </a:rPr>
              <a:t> – AI-powered, the ICM platform provides ongoing contractual insights throughout the contract lifecycle, increasing compliance and improving governance and productivity</a:t>
            </a:r>
          </a:p>
          <a:p>
            <a:pPr marL="681280" lvl="1" indent="-224097" defTabSz="914102" fontAlgn="base">
              <a:spcBef>
                <a:spcPct val="0"/>
              </a:spcBef>
              <a:spcAft>
                <a:spcPts val="588"/>
              </a:spcAft>
              <a:buFont typeface="Arial" panose="020B0604020202020204" pitchFamily="34" charset="0"/>
              <a:buChar char="•"/>
              <a:defRPr/>
            </a:pPr>
            <a:r>
              <a:rPr lang="en-US" sz="1176" b="1">
                <a:solidFill>
                  <a:srgbClr val="505050"/>
                </a:solidFill>
              </a:rPr>
              <a:t>Enterprise-wide</a:t>
            </a:r>
            <a:r>
              <a:rPr lang="en-US" sz="1176">
                <a:solidFill>
                  <a:srgbClr val="505050"/>
                </a:solidFill>
              </a:rPr>
              <a:t> – Designed to provide enterprise-wide visibility into contracts, companies can manage any type of contract (buy-side, sell-side, corporate) anytime, anywhere. </a:t>
            </a:r>
          </a:p>
          <a:p>
            <a:pPr defTabSz="914102" fontAlgn="base">
              <a:spcBef>
                <a:spcPct val="0"/>
              </a:spcBef>
              <a:spcAft>
                <a:spcPts val="588"/>
              </a:spcAft>
              <a:defRPr/>
            </a:pPr>
            <a:endParaRPr lang="en-US" sz="784">
              <a:solidFill>
                <a:prstClr val="black"/>
              </a:solidFill>
              <a:latin typeface="Segoe UI"/>
            </a:endParaRP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marL="50800" indent="-50800" algn="ctr" defTabSz="896382">
              <a:lnSpc>
                <a:spcPts val="7548"/>
              </a:lnSpc>
              <a:defRPr/>
            </a:pPr>
            <a:r>
              <a:rPr lang="en-US" sz="4800">
                <a:solidFill>
                  <a:srgbClr val="00BCF2"/>
                </a:solidFill>
                <a:latin typeface="Segoe UI Light"/>
                <a:cs typeface="Segoe UI Light"/>
              </a:rPr>
              <a:t>Icertis</a:t>
            </a:r>
          </a:p>
        </p:txBody>
      </p:sp>
      <p:sp>
        <p:nvSpPr>
          <p:cNvPr id="12" name="Title 1">
            <a:extLst>
              <a:ext uri="{FF2B5EF4-FFF2-40B4-BE49-F238E27FC236}">
                <a16:creationId xmlns:a16="http://schemas.microsoft.com/office/drawing/2014/main" id="{C68CE6E5-9738-4B57-9567-0545B0EC830F}"/>
              </a:ext>
            </a:extLst>
          </p:cNvPr>
          <p:cNvSpPr txBox="1">
            <a:spLocks/>
          </p:cNvSpPr>
          <p:nvPr/>
        </p:nvSpPr>
        <p:spPr>
          <a:xfrm>
            <a:off x="268080" y="569633"/>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400" b="1">
                <a:solidFill>
                  <a:srgbClr val="505050"/>
                </a:solidFill>
              </a:rPr>
              <a:t>Key ISV Partners – Solution Benefits &amp; Value</a:t>
            </a:r>
          </a:p>
        </p:txBody>
      </p:sp>
      <p:pic>
        <p:nvPicPr>
          <p:cNvPr id="6" name="Picture 2" descr="Contract Lifecycle Management â Icertis Logo">
            <a:extLst>
              <a:ext uri="{FF2B5EF4-FFF2-40B4-BE49-F238E27FC236}">
                <a16:creationId xmlns:a16="http://schemas.microsoft.com/office/drawing/2014/main" id="{254FAB57-25AD-4868-B210-C8768AA37B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51270" y="180493"/>
            <a:ext cx="1372650" cy="588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01288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0A8C82-7FB5-4500-A7CF-D522289183CF}"/>
              </a:ext>
            </a:extLst>
          </p:cNvPr>
          <p:cNvSpPr/>
          <p:nvPr/>
        </p:nvSpPr>
        <p:spPr bwMode="auto">
          <a:xfrm>
            <a:off x="269241" y="1785555"/>
            <a:ext cx="2824563"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sz="1961">
                <a:ln>
                  <a:solidFill>
                    <a:srgbClr val="FFFFFF">
                      <a:alpha val="0"/>
                    </a:srgbClr>
                  </a:solidFill>
                </a:ln>
                <a:solidFill>
                  <a:srgbClr val="0072C6"/>
                </a:solidFill>
                <a:latin typeface="Segoe UI Light"/>
                <a:ea typeface="Segoe UI" pitchFamily="34" charset="0"/>
                <a:cs typeface="Segoe UI" pitchFamily="34" charset="0"/>
              </a:rPr>
              <a:t>Built on Microsoft</a:t>
            </a:r>
          </a:p>
          <a:p>
            <a:pPr defTabSz="914102" fontAlgn="base">
              <a:spcBef>
                <a:spcPct val="0"/>
              </a:spcBef>
              <a:spcAft>
                <a:spcPts val="588"/>
              </a:spcAft>
              <a:defRPr/>
            </a:pPr>
            <a:endParaRPr lang="en-US" sz="980">
              <a:solidFill>
                <a:prstClr val="black"/>
              </a:solidFill>
              <a:latin typeface="Segoe UI"/>
            </a:endParaRP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Microsoft Azure Cloud Services</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App Service</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Azure SQL DB</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Azure Search</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Machine Learning Studio</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Cosmos DB</a:t>
            </a:r>
          </a:p>
          <a:p>
            <a:pPr marL="171450" lvl="0" indent="-171450" defTabSz="932472" fontAlgn="base">
              <a:spcBef>
                <a:spcPct val="0"/>
              </a:spcBef>
              <a:spcAft>
                <a:spcPts val="300"/>
              </a:spcAft>
              <a:buFont typeface="Arial" panose="020B0604020202020204" pitchFamily="34" charset="0"/>
              <a:buChar char="•"/>
              <a:defRPr/>
            </a:pPr>
            <a:r>
              <a:rPr lang="en-US" sz="1050">
                <a:ln>
                  <a:solidFill>
                    <a:srgbClr val="FFFFFF">
                      <a:alpha val="0"/>
                    </a:srgbClr>
                  </a:solidFill>
                </a:ln>
                <a:solidFill>
                  <a:prstClr val="black"/>
                </a:solidFill>
                <a:latin typeface="Segoe UI Light"/>
                <a:ea typeface="Segoe UI" pitchFamily="34" charset="0"/>
                <a:cs typeface="Segoe UI" pitchFamily="34" charset="0"/>
              </a:rPr>
              <a:t>…</a:t>
            </a:r>
          </a:p>
          <a:p>
            <a:pPr defTabSz="914102" fontAlgn="base">
              <a:spcBef>
                <a:spcPct val="0"/>
              </a:spcBef>
              <a:spcAft>
                <a:spcPts val="588"/>
              </a:spcAft>
              <a:buClr>
                <a:srgbClr val="434343"/>
              </a:buClr>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a:p>
            <a:pPr defTabSz="914102" fontAlgn="base">
              <a:spcBef>
                <a:spcPct val="0"/>
              </a:spcBef>
              <a:spcAft>
                <a:spcPts val="588"/>
              </a:spcAft>
              <a:defRPr/>
            </a:pPr>
            <a:endParaRPr lang="en-IN" sz="1961">
              <a:ln>
                <a:solidFill>
                  <a:srgbClr val="FFFFFF">
                    <a:alpha val="0"/>
                  </a:srgbClr>
                </a:solidFill>
              </a:ln>
              <a:solidFill>
                <a:srgbClr val="FFFFFF"/>
              </a:solidFill>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BF3D46F8-8C86-404A-B033-B6FAD1A9B432}"/>
              </a:ext>
            </a:extLst>
          </p:cNvPr>
          <p:cNvSpPr/>
          <p:nvPr/>
        </p:nvSpPr>
        <p:spPr bwMode="auto">
          <a:xfrm>
            <a:off x="3182620" y="1785555"/>
            <a:ext cx="5439459" cy="48556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268927" bIns="44821" numCol="1" spcCol="0" rtlCol="0" fromWordArt="0" anchor="t" anchorCtr="0" forceAA="0" compatLnSpc="1">
            <a:prstTxWarp prst="textNoShape">
              <a:avLst/>
            </a:prstTxWarp>
            <a:noAutofit/>
          </a:bodyPr>
          <a:lstStyle/>
          <a:p>
            <a:pPr defTabSz="914102" fontAlgn="base">
              <a:spcBef>
                <a:spcPct val="0"/>
              </a:spcBef>
              <a:spcAft>
                <a:spcPts val="588"/>
              </a:spcAft>
              <a:defRPr/>
            </a:pPr>
            <a:r>
              <a:rPr lang="en-US" sz="1568">
                <a:ln>
                  <a:solidFill>
                    <a:srgbClr val="FFFFFF">
                      <a:alpha val="0"/>
                    </a:srgbClr>
                  </a:solidFill>
                </a:ln>
                <a:solidFill>
                  <a:srgbClr val="0072C6"/>
                </a:solidFill>
                <a:latin typeface="Segoe UI Light"/>
                <a:ea typeface="Segoe UI" pitchFamily="34" charset="0"/>
                <a:cs typeface="Segoe UI" pitchFamily="34" charset="0"/>
              </a:rPr>
              <a:t>Customer value prop</a:t>
            </a:r>
            <a:endParaRPr lang="en-US" sz="784">
              <a:solidFill>
                <a:prstClr val="black"/>
              </a:solidFill>
              <a:latin typeface="Segoe UI"/>
            </a:endParaRPr>
          </a:p>
          <a:p>
            <a:pPr marL="168072" indent="-168072" defTabSz="914102" fontAlgn="base">
              <a:spcBef>
                <a:spcPct val="0"/>
              </a:spcBef>
              <a:spcAft>
                <a:spcPts val="1176"/>
              </a:spcAft>
              <a:buFont typeface="Arial" panose="020B0604020202020204" pitchFamily="34" charset="0"/>
              <a:buChar char="•"/>
              <a:defRPr/>
            </a:pPr>
            <a:r>
              <a:rPr lang="en-US" sz="1176">
                <a:solidFill>
                  <a:srgbClr val="505050"/>
                </a:solidFill>
              </a:rPr>
              <a:t>Sitecore’s market-leading web content management (Sitecore Experience Manager) system was built from the ground up as an integrated platform to support global, multilingual content at scale and provide the flexibility that enterprises demand. It’s easy to use for marketers but also open and powerful for IT teams that want to customize, manage, integrate, and secure even the most demanding of websites.</a:t>
            </a:r>
          </a:p>
        </p:txBody>
      </p:sp>
      <p:sp>
        <p:nvSpPr>
          <p:cNvPr id="10" name="Rectangle 9">
            <a:extLst>
              <a:ext uri="{FF2B5EF4-FFF2-40B4-BE49-F238E27FC236}">
                <a16:creationId xmlns:a16="http://schemas.microsoft.com/office/drawing/2014/main" id="{42EA7D76-8687-45F3-AA8E-8E9147BA12C7}"/>
              </a:ext>
            </a:extLst>
          </p:cNvPr>
          <p:cNvSpPr/>
          <p:nvPr/>
        </p:nvSpPr>
        <p:spPr bwMode="auto">
          <a:xfrm>
            <a:off x="9158784" y="1785554"/>
            <a:ext cx="2868559" cy="50199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27497" rIns="0" bIns="0" numCol="1" spcCol="0" rtlCol="0" fromWordArt="0" anchor="t" anchorCtr="0" forceAA="0" compatLnSpc="1">
            <a:prstTxWarp prst="textNoShape">
              <a:avLst/>
            </a:prstTxWarp>
            <a:noAutofit/>
          </a:bodyPr>
          <a:lstStyle/>
          <a:p>
            <a:pPr algn="ctr" defTabSz="914102" fontAlgn="base">
              <a:spcBef>
                <a:spcPct val="0"/>
              </a:spcBef>
              <a:spcAft>
                <a:spcPts val="1765"/>
              </a:spcAft>
              <a:defRPr/>
            </a:pPr>
            <a:endParaRPr lang="en-IN" sz="1961">
              <a:ln>
                <a:solidFill>
                  <a:srgbClr val="FFFFFF">
                    <a:alpha val="0"/>
                  </a:srgbClr>
                </a:solidFill>
              </a:ln>
              <a:solidFill>
                <a:prstClr val="white"/>
              </a:solidFill>
              <a:latin typeface="Segoe UI Light"/>
              <a:ea typeface="Segoe UI" pitchFamily="34" charset="0"/>
              <a:cs typeface="Segoe UI" pitchFamily="34" charset="0"/>
            </a:endParaRPr>
          </a:p>
          <a:p>
            <a:pPr marL="50800" indent="-50800" algn="ctr" defTabSz="896382">
              <a:lnSpc>
                <a:spcPts val="7548"/>
              </a:lnSpc>
              <a:defRPr/>
            </a:pPr>
            <a:r>
              <a:rPr lang="en-US" sz="4800">
                <a:solidFill>
                  <a:srgbClr val="00BCF2"/>
                </a:solidFill>
                <a:latin typeface="Segoe UI Light"/>
                <a:cs typeface="Segoe UI Light"/>
              </a:rPr>
              <a:t>Sitecore</a:t>
            </a:r>
          </a:p>
        </p:txBody>
      </p:sp>
      <p:sp>
        <p:nvSpPr>
          <p:cNvPr id="12" name="Title 1">
            <a:extLst>
              <a:ext uri="{FF2B5EF4-FFF2-40B4-BE49-F238E27FC236}">
                <a16:creationId xmlns:a16="http://schemas.microsoft.com/office/drawing/2014/main" id="{C68CE6E5-9738-4B57-9567-0545B0EC830F}"/>
              </a:ext>
            </a:extLst>
          </p:cNvPr>
          <p:cNvSpPr txBox="1">
            <a:spLocks/>
          </p:cNvSpPr>
          <p:nvPr/>
        </p:nvSpPr>
        <p:spPr>
          <a:xfrm>
            <a:off x="268080" y="569633"/>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a:ln w="3175">
                  <a:noFill/>
                </a:ln>
                <a:solidFill>
                  <a:schemeClr val="tx1"/>
                </a:solidFill>
                <a:effectLst/>
                <a:latin typeface="+mj-lt"/>
                <a:ea typeface="+mn-ea"/>
                <a:cs typeface="Segoe UI" pitchFamily="34" charset="0"/>
              </a:defRPr>
            </a:lvl1pPr>
          </a:lstStyle>
          <a:p>
            <a:r>
              <a:rPr lang="en-US" sz="4400" b="1">
                <a:solidFill>
                  <a:srgbClr val="505050"/>
                </a:solidFill>
              </a:rPr>
              <a:t>Key ISV Partners – Solution Benefits &amp; Value</a:t>
            </a:r>
          </a:p>
        </p:txBody>
      </p:sp>
      <p:pic>
        <p:nvPicPr>
          <p:cNvPr id="2" name="Picture 1">
            <a:extLst>
              <a:ext uri="{FF2B5EF4-FFF2-40B4-BE49-F238E27FC236}">
                <a16:creationId xmlns:a16="http://schemas.microsoft.com/office/drawing/2014/main" id="{385CBAD7-ED38-4EE8-BCB9-5CD7473C8C3A}"/>
              </a:ext>
            </a:extLst>
          </p:cNvPr>
          <p:cNvPicPr>
            <a:picLocks noChangeAspect="1"/>
          </p:cNvPicPr>
          <p:nvPr/>
        </p:nvPicPr>
        <p:blipFill>
          <a:blip r:embed="rId3"/>
          <a:stretch>
            <a:fillRect/>
          </a:stretch>
        </p:blipFill>
        <p:spPr>
          <a:xfrm>
            <a:off x="3221029" y="3799839"/>
            <a:ext cx="5401050" cy="2329381"/>
          </a:xfrm>
          <a:prstGeom prst="rect">
            <a:avLst/>
          </a:prstGeom>
        </p:spPr>
      </p:pic>
    </p:spTree>
    <p:extLst>
      <p:ext uri="{BB962C8B-B14F-4D97-AF65-F5344CB8AC3E}">
        <p14:creationId xmlns:p14="http://schemas.microsoft.com/office/powerpoint/2010/main" val="36181423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E8D4F-9831-4C46-99AB-37F637107CB5}"/>
              </a:ext>
            </a:extLst>
          </p:cNvPr>
          <p:cNvSpPr>
            <a:spLocks noGrp="1"/>
          </p:cNvSpPr>
          <p:nvPr>
            <p:ph type="title"/>
          </p:nvPr>
        </p:nvSpPr>
        <p:spPr>
          <a:xfrm>
            <a:off x="268080" y="569633"/>
            <a:ext cx="11655840" cy="899665"/>
          </a:xfrm>
        </p:spPr>
        <p:txBody>
          <a:bodyPr/>
          <a:lstStyle/>
          <a:p>
            <a:r>
              <a:rPr lang="en-US" sz="4400" b="1">
                <a:solidFill>
                  <a:srgbClr val="505050"/>
                </a:solidFill>
              </a:rPr>
              <a:t>Current Partner Ecosystem</a:t>
            </a:r>
          </a:p>
        </p:txBody>
      </p:sp>
      <p:graphicFrame>
        <p:nvGraphicFramePr>
          <p:cNvPr id="13" name="Table 12">
            <a:extLst>
              <a:ext uri="{FF2B5EF4-FFF2-40B4-BE49-F238E27FC236}">
                <a16:creationId xmlns:a16="http://schemas.microsoft.com/office/drawing/2014/main" id="{C0020E4D-D77C-46DA-ACFE-36C81995D9F2}"/>
              </a:ext>
            </a:extLst>
          </p:cNvPr>
          <p:cNvGraphicFramePr>
            <a:graphicFrameLocks noGrp="1"/>
          </p:cNvGraphicFramePr>
          <p:nvPr>
            <p:extLst>
              <p:ext uri="{D42A27DB-BD31-4B8C-83A1-F6EECF244321}">
                <p14:modId xmlns:p14="http://schemas.microsoft.com/office/powerpoint/2010/main" val="3266610148"/>
              </p:ext>
            </p:extLst>
          </p:nvPr>
        </p:nvGraphicFramePr>
        <p:xfrm>
          <a:off x="548996" y="3001103"/>
          <a:ext cx="5547004" cy="2042160"/>
        </p:xfrm>
        <a:graphic>
          <a:graphicData uri="http://schemas.openxmlformats.org/drawingml/2006/table">
            <a:tbl>
              <a:tblPr firstRow="1" bandRow="1"/>
              <a:tblGrid>
                <a:gridCol w="1707158">
                  <a:extLst>
                    <a:ext uri="{9D8B030D-6E8A-4147-A177-3AD203B41FA5}">
                      <a16:colId xmlns:a16="http://schemas.microsoft.com/office/drawing/2014/main" val="20000"/>
                    </a:ext>
                  </a:extLst>
                </a:gridCol>
                <a:gridCol w="1995838">
                  <a:extLst>
                    <a:ext uri="{9D8B030D-6E8A-4147-A177-3AD203B41FA5}">
                      <a16:colId xmlns:a16="http://schemas.microsoft.com/office/drawing/2014/main" val="20003"/>
                    </a:ext>
                  </a:extLst>
                </a:gridCol>
                <a:gridCol w="1844008">
                  <a:extLst>
                    <a:ext uri="{9D8B030D-6E8A-4147-A177-3AD203B41FA5}">
                      <a16:colId xmlns:a16="http://schemas.microsoft.com/office/drawing/2014/main" val="20005"/>
                    </a:ext>
                  </a:extLst>
                </a:gridCol>
              </a:tblGrid>
              <a:tr h="209847">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ctr"/>
                      <a:r>
                        <a:rPr lang="en-US" sz="1000">
                          <a:solidFill>
                            <a:schemeClr val="tx1"/>
                          </a:solidFill>
                          <a:latin typeface="+mj-lt"/>
                        </a:rPr>
                        <a:t>Financial services</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solidFill>
                      <a:srgbClr val="1A1A1A">
                        <a:lumMod val="20000"/>
                        <a:lumOff val="80000"/>
                      </a:srgbClr>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ctr"/>
                      <a:r>
                        <a:rPr lang="en-US" sz="1000">
                          <a:solidFill>
                            <a:schemeClr val="tx1"/>
                          </a:solidFill>
                          <a:latin typeface="+mj-lt"/>
                        </a:rPr>
                        <a:t>Manufacturing</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solidFill>
                      <a:srgbClr val="1A1A1A">
                        <a:lumMod val="20000"/>
                        <a:lumOff val="80000"/>
                      </a:srgbClr>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ctr"/>
                      <a:r>
                        <a:rPr lang="en-US" sz="1000">
                          <a:solidFill>
                            <a:schemeClr val="tx1"/>
                          </a:solidFill>
                          <a:latin typeface="+mj-lt"/>
                        </a:rPr>
                        <a:t>Health Care</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solidFill>
                      <a:srgbClr val="1A1A1A">
                        <a:lumMod val="20000"/>
                        <a:lumOff val="80000"/>
                      </a:srgbClr>
                    </a:solidFill>
                  </a:tcPr>
                </a:tc>
                <a:extLst>
                  <a:ext uri="{0D108BD9-81ED-4DB2-BD59-A6C34878D82A}">
                    <a16:rowId xmlns:a16="http://schemas.microsoft.com/office/drawing/2014/main" val="10000"/>
                  </a:ext>
                </a:extLst>
              </a:tr>
              <a:tr h="19935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mj-lt"/>
                          <a:ea typeface="Times New Roman" panose="02020603050405020304" pitchFamily="18" charset="0"/>
                          <a:cs typeface="+mn-cs"/>
                        </a:rPr>
                        <a:t>Wolters </a:t>
                      </a:r>
                      <a:r>
                        <a:rPr kumimoji="0" lang="en-US" sz="1000" b="0" i="0" u="none" strike="noStrike" kern="1200" cap="none" spc="0" normalizeH="0" baseline="0" noProof="0" err="1">
                          <a:ln>
                            <a:noFill/>
                          </a:ln>
                          <a:solidFill>
                            <a:srgbClr val="505050"/>
                          </a:solidFill>
                          <a:effectLst/>
                          <a:uLnTx/>
                          <a:uFillTx/>
                          <a:latin typeface="+mj-lt"/>
                          <a:ea typeface="Times New Roman" panose="02020603050405020304" pitchFamily="18" charset="0"/>
                          <a:cs typeface="+mn-cs"/>
                        </a:rPr>
                        <a:t>Kluwers</a:t>
                      </a:r>
                      <a:r>
                        <a:rPr kumimoji="0" lang="en-US" sz="1000" b="0" i="0" u="none" strike="noStrike" kern="1200" cap="none" spc="0" normalizeH="0" baseline="0" noProof="0">
                          <a:ln>
                            <a:noFill/>
                          </a:ln>
                          <a:solidFill>
                            <a:srgbClr val="505050"/>
                          </a:solidFill>
                          <a:effectLst/>
                          <a:uLnTx/>
                          <a:uFillTx/>
                          <a:latin typeface="+mj-lt"/>
                          <a:ea typeface="Times New Roman" panose="02020603050405020304" pitchFamily="18" charset="0"/>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mj-lt"/>
                          <a:ea typeface="Times New Roman" panose="02020603050405020304" pitchFamily="18" charset="0"/>
                          <a:cs typeface="+mn-cs"/>
                        </a:rPr>
                        <a:t>Temeno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mj-lt"/>
                          <a:ea typeface="Times New Roman" panose="02020603050405020304" pitchFamily="18" charset="0"/>
                          <a:cs typeface="+mn-cs"/>
                        </a:rPr>
                        <a:t>Finastra</a:t>
                      </a:r>
                      <a:endParaRPr kumimoji="0" lang="en-US" sz="1000" b="0" i="0" u="none" strike="noStrike" kern="1200" cap="none" spc="0" normalizeH="0" baseline="0" noProof="0">
                        <a:ln>
                          <a:noFill/>
                        </a:ln>
                        <a:solidFill>
                          <a:srgbClr val="505050"/>
                        </a:solidFill>
                        <a:effectLst/>
                        <a:uLnTx/>
                        <a:uFillTx/>
                        <a:latin typeface="+mj-lt"/>
                        <a:ea typeface="Calibri" panose="020F050202020403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505050"/>
                          </a:solidFill>
                          <a:effectLst/>
                          <a:uLnTx/>
                          <a:uFillTx/>
                          <a:latin typeface="+mj-lt"/>
                          <a:ea typeface="Times New Roman" panose="02020603050405020304" pitchFamily="18" charset="0"/>
                          <a:cs typeface="+mn-cs"/>
                        </a:rPr>
                        <a:t>Spark Beyond</a:t>
                      </a:r>
                      <a:endParaRPr kumimoji="0" lang="en-US" sz="1000" b="0" i="0" u="none" strike="noStrike" kern="1200" cap="none" spc="0" normalizeH="0" baseline="0" noProof="0">
                        <a:ln>
                          <a:noFill/>
                        </a:ln>
                        <a:solidFill>
                          <a:srgbClr val="505050"/>
                        </a:solidFill>
                        <a:effectLst/>
                        <a:uLnTx/>
                        <a:uFillTx/>
                        <a:latin typeface="+mj-lt"/>
                        <a:ea typeface="Calibri" panose="020F0502020204030204" pitchFamily="34" charset="0"/>
                        <a:cs typeface="+mn-cs"/>
                      </a:endParaRPr>
                    </a:p>
                  </a:txBody>
                  <a:tcPr marL="0" marR="0" marT="0" marB="0" anchor="ct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b="0" u="none">
                          <a:latin typeface="+mj-lt"/>
                          <a:ea typeface="Times New Roman" panose="02020603050405020304" pitchFamily="18" charset="0"/>
                        </a:rPr>
                        <a:t>Schneider Electric</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a:latin typeface="+mj-lt"/>
                          <a:ea typeface="Times New Roman" panose="02020603050405020304" pitchFamily="18" charset="0"/>
                        </a:rPr>
                        <a:t>ABB</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a:latin typeface="+mj-lt"/>
                          <a:ea typeface="Times New Roman" panose="02020603050405020304" pitchFamily="18" charset="0"/>
                        </a:rPr>
                        <a:t>Bentley</a:t>
                      </a:r>
                      <a:endParaRPr lang="en-US" sz="1000" b="0" u="none">
                        <a:latin typeface="+mj-lt"/>
                      </a:endParaRPr>
                    </a:p>
                    <a:p>
                      <a:pPr marL="171450" marR="0" lvl="0" indent="-171450">
                        <a:spcBef>
                          <a:spcPts val="0"/>
                        </a:spcBef>
                        <a:spcAft>
                          <a:spcPts val="0"/>
                        </a:spcAft>
                        <a:buFont typeface="Arial" panose="020B0604020202020204" pitchFamily="34" charset="0"/>
                        <a:buChar char="•"/>
                      </a:pPr>
                      <a:r>
                        <a:rPr lang="en-US" sz="1000" b="0">
                          <a:latin typeface="+mj-lt"/>
                          <a:ea typeface="Times New Roman" panose="02020603050405020304" pitchFamily="18" charset="0"/>
                        </a:rPr>
                        <a:t>Schlumberger </a:t>
                      </a:r>
                      <a:endParaRPr lang="en-US" sz="1000" b="0">
                        <a:latin typeface="+mj-lt"/>
                        <a:ea typeface="Calibri" panose="020F0502020204030204" pitchFamily="34" charset="0"/>
                      </a:endParaRP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Axon</a:t>
                      </a:r>
                      <a:endParaRPr lang="en-US" sz="1000">
                        <a:latin typeface="+mj-lt"/>
                        <a:ea typeface="Calibri" panose="020F0502020204030204" pitchFamily="34" charset="0"/>
                      </a:endParaRP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Allscripts</a:t>
                      </a:r>
                      <a:endParaRPr lang="en-US" sz="1000">
                        <a:latin typeface="+mj-lt"/>
                        <a:ea typeface="Calibri" panose="020F0502020204030204" pitchFamily="34" charset="0"/>
                      </a:endParaRP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Epic</a:t>
                      </a:r>
                      <a:endParaRPr lang="en-US" sz="1000">
                        <a:latin typeface="+mj-lt"/>
                        <a:ea typeface="Calibri" panose="020F0502020204030204" pitchFamily="34" charset="0"/>
                      </a:endParaRP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Cubic Corp</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8195104"/>
                  </a:ext>
                </a:extLst>
              </a:tr>
              <a:tr h="212443">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r>
                        <a:rPr kumimoji="0" lang="en-US" sz="1000" b="1" i="0" u="none" strike="noStrike" kern="1200" cap="none" spc="0" normalizeH="0" baseline="0" noProof="0">
                          <a:ln>
                            <a:noFill/>
                          </a:ln>
                          <a:solidFill>
                            <a:schemeClr val="tx1"/>
                          </a:solidFill>
                          <a:effectLst/>
                          <a:uLnTx/>
                          <a:uFillTx/>
                          <a:latin typeface="+mj-lt"/>
                          <a:ea typeface="Calibri" panose="020F0502020204030204" pitchFamily="34" charset="0"/>
                          <a:cs typeface="+mn-cs"/>
                        </a:rPr>
                        <a:t>Retail</a:t>
                      </a:r>
                    </a:p>
                  </a:txBody>
                  <a:tcPr marL="0" marR="0" marT="0" marB="0" anchor="ct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solidFill>
                      <a:srgbClr val="1A1A1A">
                        <a:lumMod val="20000"/>
                        <a:lumOff val="80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mj-lt"/>
                          <a:sym typeface="Wingdings 2"/>
                        </a:rPr>
                        <a:t>Cross-industry</a:t>
                      </a:r>
                      <a:endParaRPr lang="en-US" sz="1000" b="1">
                        <a:solidFill>
                          <a:schemeClr val="tx1"/>
                        </a:solidFill>
                        <a:latin typeface="+mj-lt"/>
                      </a:endParaRP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solidFill>
                      <a:srgbClr val="1A1A1A">
                        <a:lumMod val="20000"/>
                        <a:lumOff val="80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14016"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mj-lt"/>
                          <a:sym typeface="Wingdings 2"/>
                        </a:rPr>
                        <a:t>Others</a:t>
                      </a:r>
                      <a:endParaRPr lang="en-US" sz="1000" b="1">
                        <a:solidFill>
                          <a:schemeClr val="tx1"/>
                        </a:solidFill>
                        <a:latin typeface="+mj-lt"/>
                      </a:endParaRP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solidFill>
                      <a:srgbClr val="1A1A1A">
                        <a:lumMod val="20000"/>
                        <a:lumOff val="80000"/>
                      </a:srgbClr>
                    </a:solidFill>
                  </a:tcPr>
                </a:tc>
                <a:extLst>
                  <a:ext uri="{0D108BD9-81ED-4DB2-BD59-A6C34878D82A}">
                    <a16:rowId xmlns:a16="http://schemas.microsoft.com/office/drawing/2014/main" val="3703916662"/>
                  </a:ext>
                </a:extLst>
              </a:tr>
              <a:tr h="19935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a:latin typeface="+mj-lt"/>
                          <a:ea typeface="Calibri" panose="020F0502020204030204" pitchFamily="34" charset="0"/>
                        </a:rPr>
                        <a:t>Walmart</a:t>
                      </a:r>
                    </a:p>
                    <a:p>
                      <a:pPr marL="171450" marR="0" lvl="0" indent="-171450">
                        <a:spcBef>
                          <a:spcPts val="0"/>
                        </a:spcBef>
                        <a:spcAft>
                          <a:spcPts val="0"/>
                        </a:spcAft>
                        <a:buFont typeface="Arial" panose="020B0604020202020204" pitchFamily="34" charset="0"/>
                        <a:buChar char="•"/>
                      </a:pPr>
                      <a:r>
                        <a:rPr lang="en-US" sz="1000">
                          <a:latin typeface="+mj-lt"/>
                          <a:ea typeface="Calibri" panose="020F0502020204030204" pitchFamily="34" charset="0"/>
                        </a:rPr>
                        <a:t>Apptus</a:t>
                      </a:r>
                    </a:p>
                  </a:txBody>
                  <a:tcPr marL="0" marR="0" marT="0" marB="0">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b="1" u="none">
                          <a:latin typeface="+mj-lt"/>
                          <a:ea typeface="Times New Roman" panose="02020603050405020304" pitchFamily="18" charset="0"/>
                        </a:rPr>
                        <a:t>Sitecore</a:t>
                      </a:r>
                    </a:p>
                    <a:p>
                      <a:pPr marL="171450" marR="0" lvl="0" indent="-171450">
                        <a:spcBef>
                          <a:spcPts val="0"/>
                        </a:spcBef>
                        <a:spcAft>
                          <a:spcPts val="0"/>
                        </a:spcAft>
                        <a:buFont typeface="Arial" panose="020B0604020202020204" pitchFamily="34" charset="0"/>
                        <a:buChar char="•"/>
                      </a:pPr>
                      <a:r>
                        <a:rPr lang="en-US" sz="1000" b="0" u="none">
                          <a:latin typeface="+mj-lt"/>
                          <a:ea typeface="Times New Roman" panose="02020603050405020304" pitchFamily="18" charset="0"/>
                        </a:rPr>
                        <a:t>SAGE</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a:latin typeface="+mj-lt"/>
                          <a:ea typeface="Times New Roman" panose="02020603050405020304" pitchFamily="18" charset="0"/>
                        </a:rPr>
                        <a:t>Thomson Reuters</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err="1">
                          <a:latin typeface="+mj-lt"/>
                          <a:ea typeface="Times New Roman" panose="02020603050405020304" pitchFamily="18" charset="0"/>
                        </a:rPr>
                        <a:t>Episerver</a:t>
                      </a:r>
                      <a:r>
                        <a:rPr lang="en-US" sz="1000" b="0">
                          <a:latin typeface="+mj-lt"/>
                          <a:ea typeface="Times New Roman" panose="02020603050405020304" pitchFamily="18" charset="0"/>
                        </a:rPr>
                        <a:t> </a:t>
                      </a:r>
                      <a:r>
                        <a:rPr lang="en-US" sz="1000" b="0">
                          <a:latin typeface="+mj-lt"/>
                        </a:rPr>
                        <a:t>Scalable AI </a:t>
                      </a:r>
                      <a:r>
                        <a:rPr lang="en-US" sz="1000">
                          <a:latin typeface="+mj-lt"/>
                        </a:rPr>
                        <a:t>platform</a:t>
                      </a:r>
                    </a:p>
                    <a:p>
                      <a:pPr marL="342900" marR="0" lvl="0" indent="-342900">
                        <a:spcBef>
                          <a:spcPts val="0"/>
                        </a:spcBef>
                        <a:spcAft>
                          <a:spcPts val="0"/>
                        </a:spcAft>
                        <a:buFont typeface="Calibri" panose="020F0502020204030204" pitchFamily="34" charset="0"/>
                        <a:buChar char="-"/>
                      </a:pPr>
                      <a:endParaRPr lang="en-US" sz="1000">
                        <a:latin typeface="+mj-lt"/>
                        <a:ea typeface="Calibri" panose="020F0502020204030204" pitchFamily="34" charset="0"/>
                      </a:endParaRP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u="sng">
                          <a:latin typeface="+mj-lt"/>
                          <a:ea typeface="Times New Roman" panose="02020603050405020304" pitchFamily="18" charset="0"/>
                        </a:rPr>
                        <a:t>Icertis</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a:solidFill>
                            <a:schemeClr val="dk1"/>
                          </a:solidFill>
                          <a:latin typeface="Segoe UI"/>
                          <a:ea typeface="+mn-ea"/>
                          <a:cs typeface="+mn-cs"/>
                        </a:rPr>
                        <a:t>Seismic</a:t>
                      </a:r>
                      <a:endParaRPr lang="en-US" sz="1000" b="1" u="sng">
                        <a:latin typeface="+mj-lt"/>
                        <a:ea typeface="Times New Roman" panose="02020603050405020304" pitchFamily="18" charset="0"/>
                      </a:endParaRP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sng" err="1">
                          <a:latin typeface="+mj-lt"/>
                          <a:ea typeface="Times New Roman" panose="02020603050405020304" pitchFamily="18" charset="0"/>
                        </a:rPr>
                        <a:t>Coveo</a:t>
                      </a:r>
                      <a:endParaRPr lang="en-US" sz="1000" b="0" u="sng">
                        <a:latin typeface="+mj-lt"/>
                      </a:endParaRPr>
                    </a:p>
                    <a:p>
                      <a:pPr marL="171450" indent="-171450">
                        <a:buFont typeface="Arial" panose="020B0604020202020204" pitchFamily="34" charset="0"/>
                        <a:buChar char="•"/>
                      </a:pPr>
                      <a:r>
                        <a:rPr lang="en-US" sz="1000" b="0" err="1">
                          <a:latin typeface="+mj-lt"/>
                        </a:rPr>
                        <a:t>Apptus</a:t>
                      </a:r>
                      <a:r>
                        <a:rPr lang="en-US" sz="1000" b="0">
                          <a:latin typeface="+mj-lt"/>
                        </a:rPr>
                        <a:t> </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4" name="Rectangle 13">
            <a:extLst>
              <a:ext uri="{FF2B5EF4-FFF2-40B4-BE49-F238E27FC236}">
                <a16:creationId xmlns:a16="http://schemas.microsoft.com/office/drawing/2014/main" id="{746733BB-6B11-4931-A00E-B98DD048F433}"/>
              </a:ext>
            </a:extLst>
          </p:cNvPr>
          <p:cNvSpPr/>
          <p:nvPr/>
        </p:nvSpPr>
        <p:spPr bwMode="auto">
          <a:xfrm>
            <a:off x="548995" y="2594718"/>
            <a:ext cx="5547004" cy="323533"/>
          </a:xfrm>
          <a:prstGeom prst="rect">
            <a:avLst/>
          </a:prstGeom>
          <a:solidFill>
            <a:srgbClr val="0078D4"/>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rPr>
              <a:t>GISVs Currently Using Azure</a:t>
            </a:r>
            <a:r>
              <a:rPr kumimoji="0" lang="en-US" sz="1600" b="0" i="0" u="none" strike="noStrike" kern="0" cap="none" spc="0" normalizeH="0" noProof="0">
                <a:ln>
                  <a:noFill/>
                </a:ln>
                <a:gradFill>
                  <a:gsLst>
                    <a:gs pos="5439">
                      <a:srgbClr val="F8F8F8"/>
                    </a:gs>
                    <a:gs pos="10000">
                      <a:srgbClr val="F8F8F8"/>
                    </a:gs>
                  </a:gsLst>
                  <a:lin ang="5400000" scaled="0"/>
                </a:gradFill>
                <a:effectLst/>
                <a:uLnTx/>
                <a:uFillTx/>
                <a:latin typeface="Segoe UI"/>
                <a:ea typeface="+mn-ea"/>
                <a:cs typeface="+mn-cs"/>
              </a:rPr>
              <a:t> Search</a:t>
            </a:r>
            <a:endParaRPr kumimoji="0" lang="en-US" sz="16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aphicFrame>
        <p:nvGraphicFramePr>
          <p:cNvPr id="16" name="Table 15">
            <a:extLst>
              <a:ext uri="{FF2B5EF4-FFF2-40B4-BE49-F238E27FC236}">
                <a16:creationId xmlns:a16="http://schemas.microsoft.com/office/drawing/2014/main" id="{6D67CD07-4B3F-4B45-BE44-638E731BCC35}"/>
              </a:ext>
            </a:extLst>
          </p:cNvPr>
          <p:cNvGraphicFramePr>
            <a:graphicFrameLocks noGrp="1"/>
          </p:cNvGraphicFramePr>
          <p:nvPr>
            <p:extLst>
              <p:ext uri="{D42A27DB-BD31-4B8C-83A1-F6EECF244321}">
                <p14:modId xmlns:p14="http://schemas.microsoft.com/office/powerpoint/2010/main" val="1977093225"/>
              </p:ext>
            </p:extLst>
          </p:nvPr>
        </p:nvGraphicFramePr>
        <p:xfrm>
          <a:off x="6797041" y="1743380"/>
          <a:ext cx="5002887" cy="369744"/>
        </p:xfrm>
        <a:graphic>
          <a:graphicData uri="http://schemas.openxmlformats.org/drawingml/2006/table">
            <a:tbl>
              <a:tblPr firstRow="1" bandRow="1"/>
              <a:tblGrid>
                <a:gridCol w="1430947">
                  <a:extLst>
                    <a:ext uri="{9D8B030D-6E8A-4147-A177-3AD203B41FA5}">
                      <a16:colId xmlns:a16="http://schemas.microsoft.com/office/drawing/2014/main" val="4064069387"/>
                    </a:ext>
                  </a:extLst>
                </a:gridCol>
                <a:gridCol w="1785970">
                  <a:extLst>
                    <a:ext uri="{9D8B030D-6E8A-4147-A177-3AD203B41FA5}">
                      <a16:colId xmlns:a16="http://schemas.microsoft.com/office/drawing/2014/main" val="1849902880"/>
                    </a:ext>
                  </a:extLst>
                </a:gridCol>
                <a:gridCol w="1785970">
                  <a:extLst>
                    <a:ext uri="{9D8B030D-6E8A-4147-A177-3AD203B41FA5}">
                      <a16:colId xmlns:a16="http://schemas.microsoft.com/office/drawing/2014/main" val="3848385626"/>
                    </a:ext>
                  </a:extLst>
                </a:gridCol>
              </a:tblGrid>
              <a:tr h="369744">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200" b="1" kern="1200">
                          <a:solidFill>
                            <a:schemeClr val="tx1"/>
                          </a:solidFill>
                          <a:latin typeface="+mn-lt"/>
                          <a:ea typeface="+mn-ea"/>
                          <a:cs typeface="+mn-cs"/>
                        </a:rPr>
                        <a:t>Ge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200" b="1" kern="1200">
                          <a:solidFill>
                            <a:schemeClr val="tx1"/>
                          </a:solidFill>
                          <a:latin typeface="+mn-lt"/>
                          <a:ea typeface="+mn-ea"/>
                          <a:cs typeface="+mn-cs"/>
                        </a:rPr>
                        <a:t>N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200" b="1" kern="1200">
                          <a:solidFill>
                            <a:schemeClr val="tx1"/>
                          </a:solidFill>
                          <a:latin typeface="+mn-lt"/>
                          <a:ea typeface="+mn-ea"/>
                          <a:cs typeface="+mn-cs"/>
                        </a:rPr>
                        <a:t>G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623422993"/>
                  </a:ext>
                </a:extLst>
              </a:tr>
            </a:tbl>
          </a:graphicData>
        </a:graphic>
      </p:graphicFrame>
      <p:sp>
        <p:nvSpPr>
          <p:cNvPr id="17" name="Rectangle 16">
            <a:extLst>
              <a:ext uri="{FF2B5EF4-FFF2-40B4-BE49-F238E27FC236}">
                <a16:creationId xmlns:a16="http://schemas.microsoft.com/office/drawing/2014/main" id="{5EACED2B-33F5-4AE9-AB89-60710E8BF078}"/>
              </a:ext>
            </a:extLst>
          </p:cNvPr>
          <p:cNvSpPr/>
          <p:nvPr/>
        </p:nvSpPr>
        <p:spPr bwMode="auto">
          <a:xfrm>
            <a:off x="6797040" y="1362013"/>
            <a:ext cx="5002886" cy="323533"/>
          </a:xfrm>
          <a:prstGeom prst="rect">
            <a:avLst/>
          </a:prstGeom>
          <a:solidFill>
            <a:srgbClr val="0078D4"/>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rPr>
              <a:t>SIs</a:t>
            </a:r>
            <a:r>
              <a:rPr kumimoji="0" lang="en-US" sz="1600" b="0" i="0" u="none" strike="noStrike" kern="0" cap="none" spc="0" normalizeH="0" noProof="0">
                <a:ln>
                  <a:noFill/>
                </a:ln>
                <a:gradFill>
                  <a:gsLst>
                    <a:gs pos="5439">
                      <a:srgbClr val="F8F8F8"/>
                    </a:gs>
                    <a:gs pos="10000">
                      <a:srgbClr val="F8F8F8"/>
                    </a:gs>
                  </a:gsLst>
                  <a:lin ang="5400000" scaled="0"/>
                </a:gradFill>
                <a:effectLst/>
                <a:uLnTx/>
                <a:uFillTx/>
                <a:latin typeface="Segoe UI"/>
                <a:ea typeface="+mn-ea"/>
                <a:cs typeface="+mn-cs"/>
              </a:rPr>
              <a:t> Currently Using Azure Search</a:t>
            </a:r>
            <a:endParaRPr kumimoji="0" lang="en-US" sz="16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aphicFrame>
        <p:nvGraphicFramePr>
          <p:cNvPr id="18" name="Table 17">
            <a:extLst>
              <a:ext uri="{FF2B5EF4-FFF2-40B4-BE49-F238E27FC236}">
                <a16:creationId xmlns:a16="http://schemas.microsoft.com/office/drawing/2014/main" id="{3CB292CB-0425-4E3B-B13F-66D141E109D9}"/>
              </a:ext>
            </a:extLst>
          </p:cNvPr>
          <p:cNvGraphicFramePr>
            <a:graphicFrameLocks noGrp="1"/>
          </p:cNvGraphicFramePr>
          <p:nvPr>
            <p:extLst>
              <p:ext uri="{D42A27DB-BD31-4B8C-83A1-F6EECF244321}">
                <p14:modId xmlns:p14="http://schemas.microsoft.com/office/powerpoint/2010/main" val="968566120"/>
              </p:ext>
            </p:extLst>
          </p:nvPr>
        </p:nvGraphicFramePr>
        <p:xfrm>
          <a:off x="6797040" y="2170958"/>
          <a:ext cx="5002886" cy="4602480"/>
        </p:xfrm>
        <a:graphic>
          <a:graphicData uri="http://schemas.openxmlformats.org/drawingml/2006/table">
            <a:tbl>
              <a:tblPr firstRow="1" bandRow="1"/>
              <a:tblGrid>
                <a:gridCol w="1418815">
                  <a:extLst>
                    <a:ext uri="{9D8B030D-6E8A-4147-A177-3AD203B41FA5}">
                      <a16:colId xmlns:a16="http://schemas.microsoft.com/office/drawing/2014/main" val="1383251465"/>
                    </a:ext>
                  </a:extLst>
                </a:gridCol>
                <a:gridCol w="1813243">
                  <a:extLst>
                    <a:ext uri="{9D8B030D-6E8A-4147-A177-3AD203B41FA5}">
                      <a16:colId xmlns:a16="http://schemas.microsoft.com/office/drawing/2014/main" val="1140639955"/>
                    </a:ext>
                  </a:extLst>
                </a:gridCol>
                <a:gridCol w="1770828">
                  <a:extLst>
                    <a:ext uri="{9D8B030D-6E8A-4147-A177-3AD203B41FA5}">
                      <a16:colId xmlns:a16="http://schemas.microsoft.com/office/drawing/2014/main" val="4049725524"/>
                    </a:ext>
                  </a:extLst>
                </a:gridCol>
              </a:tblGrid>
              <a:tr h="370840">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US" sz="1000" b="0" kern="1200">
                          <a:solidFill>
                            <a:schemeClr val="dk1"/>
                          </a:solidFill>
                          <a:latin typeface="+mj-lt"/>
                          <a:ea typeface="+mn-ea"/>
                          <a:cs typeface="+mn-cs"/>
                        </a:rPr>
                        <a:t>Australia</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171450" indent="-171450">
                        <a:buFont typeface="Arial" panose="020B0604020202020204" pitchFamily="34" charset="0"/>
                        <a:buChar char="•"/>
                      </a:pPr>
                      <a:r>
                        <a:rPr lang="en-US" sz="1000" b="0">
                          <a:solidFill>
                            <a:schemeClr val="tx1"/>
                          </a:solidFill>
                          <a:latin typeface="+mj-lt"/>
                        </a:rPr>
                        <a:t>Diaxion</a:t>
                      </a:r>
                    </a:p>
                    <a:p>
                      <a:pPr marL="171450" indent="-171450">
                        <a:buFont typeface="Arial" panose="020B0604020202020204" pitchFamily="34" charset="0"/>
                        <a:buChar char="•"/>
                      </a:pPr>
                      <a:r>
                        <a:rPr lang="en-US" sz="1000" b="0">
                          <a:solidFill>
                            <a:schemeClr val="tx1"/>
                          </a:solidFill>
                          <a:latin typeface="+mj-lt"/>
                        </a:rPr>
                        <a:t>Readify Limited</a:t>
                      </a:r>
                    </a:p>
                    <a:p>
                      <a:pPr marL="171450" indent="-171450">
                        <a:buFont typeface="Arial" panose="020B0604020202020204" pitchFamily="34" charset="0"/>
                        <a:buChar char="•"/>
                      </a:pPr>
                      <a:r>
                        <a:rPr lang="en-US" sz="1000" b="0">
                          <a:solidFill>
                            <a:schemeClr val="tx1"/>
                          </a:solidFill>
                          <a:latin typeface="+mj-lt"/>
                        </a:rPr>
                        <a:t>Bulletproof</a:t>
                      </a:r>
                    </a:p>
                    <a:p>
                      <a:pPr marL="171450" indent="-171450">
                        <a:buFont typeface="Arial" panose="020B0604020202020204" pitchFamily="34" charset="0"/>
                        <a:buChar char="•"/>
                      </a:pPr>
                      <a:r>
                        <a:rPr lang="en-US" sz="1000" b="0">
                          <a:solidFill>
                            <a:schemeClr val="tx1"/>
                          </a:solidFill>
                          <a:latin typeface="+mj-lt"/>
                        </a:rPr>
                        <a:t>Datacom</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171450" indent="-171450">
                        <a:buFont typeface="Arial" panose="020B0604020202020204" pitchFamily="34" charset="0"/>
                        <a:buChar char="•"/>
                      </a:pPr>
                      <a:r>
                        <a:rPr lang="en-US" sz="1000" b="0" kern="1200">
                          <a:solidFill>
                            <a:schemeClr val="tx1"/>
                          </a:solidFill>
                          <a:latin typeface="+mj-lt"/>
                          <a:ea typeface="+mn-ea"/>
                          <a:cs typeface="+mn-cs"/>
                        </a:rPr>
                        <a:t>Accenture / Avanade</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3401442"/>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000" kern="1200">
                          <a:solidFill>
                            <a:schemeClr val="dk1"/>
                          </a:solidFill>
                          <a:latin typeface="+mj-lt"/>
                          <a:ea typeface="+mn-ea"/>
                          <a:cs typeface="+mn-cs"/>
                        </a:rPr>
                        <a:t>Canada</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indent="-171450">
                        <a:buFont typeface="Arial" panose="020B0604020202020204" pitchFamily="34" charset="0"/>
                        <a:buChar char="•"/>
                      </a:pPr>
                      <a:r>
                        <a:rPr lang="en-US" sz="1000">
                          <a:latin typeface="+mj-lt"/>
                        </a:rPr>
                        <a:t>Softchoice</a:t>
                      </a:r>
                    </a:p>
                    <a:p>
                      <a:pPr marL="171450" indent="-171450">
                        <a:buFont typeface="Arial" panose="020B0604020202020204" pitchFamily="34" charset="0"/>
                        <a:buChar char="•"/>
                      </a:pPr>
                      <a:r>
                        <a:rPr lang="en-US" sz="1000">
                          <a:latin typeface="+mj-lt"/>
                        </a:rPr>
                        <a:t>Long View Systems</a:t>
                      </a:r>
                    </a:p>
                    <a:p>
                      <a:pPr marL="171450" indent="-171450">
                        <a:buFont typeface="Arial" panose="020B0604020202020204" pitchFamily="34" charset="0"/>
                        <a:buChar char="•"/>
                      </a:pPr>
                      <a:r>
                        <a:rPr lang="en-US" sz="1000">
                          <a:latin typeface="+mj-lt"/>
                        </a:rPr>
                        <a:t>CTO Boost</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endParaRPr lang="en-US" sz="1000" b="0" kern="1200">
                        <a:solidFill>
                          <a:schemeClr val="tx1"/>
                        </a:solidFill>
                        <a:latin typeface="+mj-lt"/>
                        <a:ea typeface="+mn-ea"/>
                        <a:cs typeface="+mn-cs"/>
                      </a:endParaRP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7649575"/>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000">
                          <a:latin typeface="+mj-lt"/>
                        </a:rPr>
                        <a:t>France</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indent="-171450">
                        <a:buFont typeface="Arial" panose="020B0604020202020204" pitchFamily="34" charset="0"/>
                        <a:buChar char="•"/>
                      </a:pPr>
                      <a:r>
                        <a:rPr lang="en-US" sz="1000">
                          <a:latin typeface="+mj-lt"/>
                        </a:rPr>
                        <a:t>Cellenza</a:t>
                      </a:r>
                    </a:p>
                    <a:p>
                      <a:pPr marL="171450" indent="-171450">
                        <a:buFont typeface="Arial" panose="020B0604020202020204" pitchFamily="34" charset="0"/>
                        <a:buChar char="•"/>
                      </a:pPr>
                      <a:r>
                        <a:rPr lang="en-US" sz="1000">
                          <a:latin typeface="+mj-lt"/>
                        </a:rPr>
                        <a:t>Arolla</a:t>
                      </a:r>
                    </a:p>
                    <a:p>
                      <a:pPr marL="171450" indent="-171450">
                        <a:buFont typeface="Arial" panose="020B0604020202020204" pitchFamily="34" charset="0"/>
                        <a:buChar char="•"/>
                      </a:pPr>
                      <a:r>
                        <a:rPr lang="en-US" sz="1000">
                          <a:latin typeface="+mj-lt"/>
                        </a:rPr>
                        <a:t>Edifixio</a:t>
                      </a:r>
                    </a:p>
                    <a:p>
                      <a:pPr marL="171450" indent="-171450">
                        <a:buFont typeface="Arial" panose="020B0604020202020204" pitchFamily="34" charset="0"/>
                        <a:buChar char="•"/>
                      </a:pPr>
                      <a:r>
                        <a:rPr lang="en-US" sz="1000">
                          <a:latin typeface="+mj-lt"/>
                        </a:rPr>
                        <a:t>Access IT</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indent="-171450">
                        <a:buFont typeface="Arial" panose="020B0604020202020204" pitchFamily="34" charset="0"/>
                        <a:buChar char="•"/>
                      </a:pPr>
                      <a:r>
                        <a:rPr lang="en-US" sz="1000" b="0" kern="1200">
                          <a:solidFill>
                            <a:schemeClr val="tx1"/>
                          </a:solidFill>
                          <a:latin typeface="+mj-lt"/>
                          <a:ea typeface="+mn-ea"/>
                          <a:cs typeface="+mn-cs"/>
                        </a:rPr>
                        <a:t>Capgemini</a:t>
                      </a:r>
                    </a:p>
                    <a:p>
                      <a:pPr marL="171450" indent="-171450">
                        <a:buFont typeface="Arial" panose="020B0604020202020204" pitchFamily="34" charset="0"/>
                        <a:buChar char="•"/>
                      </a:pPr>
                      <a:r>
                        <a:rPr lang="en-US" sz="1000" b="0" kern="1200">
                          <a:solidFill>
                            <a:schemeClr val="tx1"/>
                          </a:solidFill>
                          <a:latin typeface="+mj-lt"/>
                          <a:ea typeface="+mn-ea"/>
                          <a:cs typeface="+mn-cs"/>
                        </a:rPr>
                        <a:t>Accenture</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32787"/>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000">
                          <a:latin typeface="+mj-lt"/>
                        </a:rPr>
                        <a:t>Germany</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indent="-171450">
                        <a:buFont typeface="Arial" panose="020B0604020202020204" pitchFamily="34" charset="0"/>
                        <a:buChar char="•"/>
                      </a:pPr>
                      <a:r>
                        <a:rPr lang="en-US" sz="1000">
                          <a:latin typeface="+mj-lt"/>
                        </a:rPr>
                        <a:t>SoftwareONE AG</a:t>
                      </a:r>
                    </a:p>
                    <a:p>
                      <a:pPr marL="171450" indent="-171450">
                        <a:buFont typeface="Arial" panose="020B0604020202020204" pitchFamily="34" charset="0"/>
                        <a:buChar char="•"/>
                      </a:pPr>
                      <a:r>
                        <a:rPr lang="en-US" sz="1000">
                          <a:latin typeface="+mj-lt"/>
                        </a:rPr>
                        <a:t>Comparex</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indent="-171450">
                        <a:buFont typeface="Arial" panose="020B0604020202020204" pitchFamily="34" charset="0"/>
                        <a:buChar char="•"/>
                      </a:pPr>
                      <a:r>
                        <a:rPr lang="en-US" sz="1000" b="0" kern="1200">
                          <a:solidFill>
                            <a:schemeClr val="tx1"/>
                          </a:solidFill>
                          <a:latin typeface="+mj-lt"/>
                          <a:ea typeface="+mn-ea"/>
                          <a:cs typeface="+mn-cs"/>
                        </a:rPr>
                        <a:t>Accenture</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273679"/>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000">
                          <a:latin typeface="+mj-lt"/>
                        </a:rPr>
                        <a:t>UK</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Sol-Tec Ltd</a:t>
                      </a: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New Signature</a:t>
                      </a: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Trustmarque Solutions Ltd</a:t>
                      </a: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SoftwareONE AG</a:t>
                      </a: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Elastacloud</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endParaRPr lang="en-US" sz="1000" b="0" kern="1200">
                        <a:solidFill>
                          <a:schemeClr val="tx1"/>
                        </a:solidFill>
                        <a:latin typeface="+mj-lt"/>
                        <a:ea typeface="+mn-ea"/>
                        <a:cs typeface="+mn-cs"/>
                      </a:endParaRP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937224"/>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000">
                          <a:latin typeface="+mj-lt"/>
                        </a:rPr>
                        <a:t>US</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b="1">
                          <a:latin typeface="+mj-lt"/>
                          <a:ea typeface="Times New Roman" panose="02020603050405020304" pitchFamily="18" charset="0"/>
                        </a:rPr>
                        <a:t>Blue Granite</a:t>
                      </a:r>
                    </a:p>
                    <a:p>
                      <a:pPr marL="171450" marR="0" lvl="0" indent="-171450">
                        <a:spcBef>
                          <a:spcPts val="0"/>
                        </a:spcBef>
                        <a:spcAft>
                          <a:spcPts val="0"/>
                        </a:spcAft>
                        <a:buFont typeface="Arial" panose="020B0604020202020204" pitchFamily="34" charset="0"/>
                        <a:buChar char="•"/>
                      </a:pPr>
                      <a:r>
                        <a:rPr lang="en-US" sz="1000">
                          <a:latin typeface="+mj-lt"/>
                          <a:ea typeface="Times New Roman" panose="02020603050405020304" pitchFamily="18" charset="0"/>
                        </a:rPr>
                        <a:t>Capax Global: Market Intel </a:t>
                      </a:r>
                    </a:p>
                    <a:p>
                      <a:pPr marL="171450" marR="0" lvl="0" indent="-171450">
                        <a:spcBef>
                          <a:spcPts val="0"/>
                        </a:spcBef>
                        <a:spcAft>
                          <a:spcPts val="0"/>
                        </a:spcAft>
                        <a:buFont typeface="Arial" panose="020B0604020202020204" pitchFamily="34" charset="0"/>
                        <a:buChar char="•"/>
                      </a:pPr>
                      <a:r>
                        <a:rPr lang="en-US" sz="1000">
                          <a:solidFill>
                            <a:srgbClr val="00B050"/>
                          </a:solidFill>
                          <a:latin typeface="+mj-lt"/>
                          <a:ea typeface="Times New Roman" panose="02020603050405020304" pitchFamily="18" charset="0"/>
                        </a:rPr>
                        <a:t>Blue Metal/Cardinal/Insight</a:t>
                      </a:r>
                    </a:p>
                    <a:p>
                      <a:pPr marL="171450" marR="0" lvl="0" indent="-171450">
                        <a:spcBef>
                          <a:spcPts val="0"/>
                        </a:spcBef>
                        <a:spcAft>
                          <a:spcPts val="0"/>
                        </a:spcAft>
                        <a:buFont typeface="Arial" panose="020B0604020202020204" pitchFamily="34" charset="0"/>
                        <a:buChar char="•"/>
                      </a:pPr>
                      <a:r>
                        <a:rPr lang="en-US" sz="1000" b="1">
                          <a:latin typeface="+mj-lt"/>
                          <a:ea typeface="Times New Roman" panose="02020603050405020304" pitchFamily="18" charset="0"/>
                        </a:rPr>
                        <a:t>Neal Analytics</a:t>
                      </a:r>
                    </a:p>
                    <a:p>
                      <a:pPr marL="171450" marR="0" lvl="0" indent="-171450">
                        <a:spcBef>
                          <a:spcPts val="0"/>
                        </a:spcBef>
                        <a:spcAft>
                          <a:spcPts val="0"/>
                        </a:spcAft>
                        <a:buFont typeface="Arial" panose="020B0604020202020204" pitchFamily="34" charset="0"/>
                        <a:buChar char="•"/>
                      </a:pPr>
                      <a:r>
                        <a:rPr lang="en-US" sz="1000" err="1">
                          <a:solidFill>
                            <a:srgbClr val="00B050"/>
                          </a:solidFill>
                          <a:latin typeface="+mj-lt"/>
                          <a:ea typeface="Times New Roman" panose="02020603050405020304" pitchFamily="18" charset="0"/>
                        </a:rPr>
                        <a:t>Neudesic</a:t>
                      </a:r>
                      <a:r>
                        <a:rPr lang="en-US" sz="1000">
                          <a:solidFill>
                            <a:srgbClr val="00B050"/>
                          </a:solidFill>
                          <a:latin typeface="+mj-lt"/>
                          <a:ea typeface="Times New Roman" panose="02020603050405020304" pitchFamily="18" charset="0"/>
                        </a:rPr>
                        <a:t>: Document Intel </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b="0" kern="1200">
                          <a:solidFill>
                            <a:schemeClr val="tx1"/>
                          </a:solidFill>
                          <a:latin typeface="+mj-lt"/>
                          <a:ea typeface="+mn-ea"/>
                          <a:cs typeface="+mn-cs"/>
                        </a:rPr>
                        <a:t>HCL</a:t>
                      </a:r>
                    </a:p>
                    <a:p>
                      <a:pPr marL="171450" marR="0" lvl="0" indent="-171450">
                        <a:spcBef>
                          <a:spcPts val="0"/>
                        </a:spcBef>
                        <a:spcAft>
                          <a:spcPts val="0"/>
                        </a:spcAft>
                        <a:buFont typeface="Arial" panose="020B0604020202020204" pitchFamily="34" charset="0"/>
                        <a:buChar char="•"/>
                      </a:pPr>
                      <a:r>
                        <a:rPr lang="en-US" sz="1000" b="0" kern="1200">
                          <a:solidFill>
                            <a:schemeClr val="tx1"/>
                          </a:solidFill>
                          <a:latin typeface="+mj-lt"/>
                          <a:ea typeface="+mn-ea"/>
                          <a:cs typeface="+mn-cs"/>
                        </a:rPr>
                        <a:t>Accenture</a:t>
                      </a:r>
                    </a:p>
                    <a:p>
                      <a:pPr marL="171450" marR="0" lvl="0" indent="-171450">
                        <a:spcBef>
                          <a:spcPts val="0"/>
                        </a:spcBef>
                        <a:spcAft>
                          <a:spcPts val="0"/>
                        </a:spcAft>
                        <a:buFont typeface="Arial" panose="020B0604020202020204" pitchFamily="34" charset="0"/>
                        <a:buChar char="•"/>
                      </a:pPr>
                      <a:r>
                        <a:rPr lang="en-US" sz="1000" b="0" kern="1200">
                          <a:solidFill>
                            <a:schemeClr val="tx1"/>
                          </a:solidFill>
                          <a:latin typeface="+mj-lt"/>
                          <a:ea typeface="+mn-ea"/>
                          <a:cs typeface="+mn-cs"/>
                        </a:rPr>
                        <a:t>Infosys</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3336928"/>
                  </a:ext>
                </a:extLst>
              </a:tr>
              <a:tr h="370840">
                <a:tc grid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r"/>
                      <a:r>
                        <a:rPr lang="en-US" sz="1000">
                          <a:latin typeface="+mj-lt"/>
                        </a:rPr>
                        <a:t>Other GSIs that should be considered WW</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spcBef>
                          <a:spcPts val="0"/>
                        </a:spcBef>
                        <a:spcAft>
                          <a:spcPts val="0"/>
                        </a:spcAft>
                        <a:buFont typeface="Arial" panose="020B0604020202020204" pitchFamily="34" charset="0"/>
                        <a:buChar char="•"/>
                      </a:pPr>
                      <a:endParaRPr lang="en-US" sz="1050" b="1"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171450" marR="0" lvl="0" indent="-171450">
                        <a:spcBef>
                          <a:spcPts val="0"/>
                        </a:spcBef>
                        <a:spcAft>
                          <a:spcPts val="0"/>
                        </a:spcAft>
                        <a:buFont typeface="Arial" panose="020B0604020202020204" pitchFamily="34" charset="0"/>
                        <a:buChar char="•"/>
                      </a:pPr>
                      <a:r>
                        <a:rPr lang="en-US" sz="1000" b="1" kern="1200">
                          <a:solidFill>
                            <a:schemeClr val="tx1"/>
                          </a:solidFill>
                          <a:latin typeface="+mj-lt"/>
                          <a:ea typeface="+mn-ea"/>
                          <a:cs typeface="+mn-cs"/>
                        </a:rPr>
                        <a:t>Cognizant</a:t>
                      </a:r>
                    </a:p>
                    <a:p>
                      <a:pPr marL="171450" marR="0" lvl="0" indent="-171450">
                        <a:spcBef>
                          <a:spcPts val="0"/>
                        </a:spcBef>
                        <a:spcAft>
                          <a:spcPts val="0"/>
                        </a:spcAft>
                        <a:buFont typeface="Arial" panose="020B0604020202020204" pitchFamily="34" charset="0"/>
                        <a:buChar char="•"/>
                      </a:pPr>
                      <a:r>
                        <a:rPr lang="en-US" sz="1000" b="1" kern="1200">
                          <a:solidFill>
                            <a:schemeClr val="tx1"/>
                          </a:solidFill>
                          <a:latin typeface="+mj-lt"/>
                          <a:ea typeface="+mn-ea"/>
                          <a:cs typeface="+mn-cs"/>
                        </a:rPr>
                        <a:t>TCS</a:t>
                      </a:r>
                    </a:p>
                    <a:p>
                      <a:pPr marL="171450" marR="0" lvl="0" indent="-171450">
                        <a:spcBef>
                          <a:spcPts val="0"/>
                        </a:spcBef>
                        <a:spcAft>
                          <a:spcPts val="0"/>
                        </a:spcAft>
                        <a:buFont typeface="Arial" panose="020B0604020202020204" pitchFamily="34" charset="0"/>
                        <a:buChar char="•"/>
                      </a:pPr>
                      <a:r>
                        <a:rPr lang="en-US" sz="1000" b="1" kern="1200">
                          <a:solidFill>
                            <a:schemeClr val="tx1"/>
                          </a:solidFill>
                          <a:latin typeface="+mj-lt"/>
                          <a:ea typeface="+mn-ea"/>
                          <a:cs typeface="+mn-cs"/>
                        </a:rPr>
                        <a:t>Wipro</a:t>
                      </a:r>
                    </a:p>
                  </a:txBody>
                  <a:tcPr>
                    <a:lnL w="12700" cap="flat" cmpd="sng" algn="ctr">
                      <a:solidFill>
                        <a:srgbClr val="1A1A1A"/>
                      </a:solidFill>
                      <a:prstDash val="solid"/>
                      <a:round/>
                      <a:headEnd type="none" w="med" len="med"/>
                      <a:tailEnd type="none" w="med" len="med"/>
                    </a:lnL>
                    <a:lnR w="12700" cap="flat" cmpd="sng" algn="ctr">
                      <a:solidFill>
                        <a:srgbClr val="1A1A1A"/>
                      </a:solidFill>
                      <a:prstDash val="solid"/>
                      <a:round/>
                      <a:headEnd type="none" w="med" len="med"/>
                      <a:tailEnd type="none" w="med" len="med"/>
                    </a:lnR>
                    <a:lnT w="12700" cap="flat" cmpd="sng" algn="ctr">
                      <a:solidFill>
                        <a:srgbClr val="1A1A1A"/>
                      </a:solidFill>
                      <a:prstDash val="solid"/>
                      <a:round/>
                      <a:headEnd type="none" w="med" len="med"/>
                      <a:tailEnd type="none" w="med" len="med"/>
                    </a:lnT>
                    <a:lnB w="12700" cap="flat" cmpd="sng" algn="ctr">
                      <a:solidFill>
                        <a:srgbClr val="1A1A1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6074951"/>
                  </a:ext>
                </a:extLst>
              </a:tr>
            </a:tbl>
          </a:graphicData>
        </a:graphic>
      </p:graphicFrame>
      <p:graphicFrame>
        <p:nvGraphicFramePr>
          <p:cNvPr id="19" name="Table 18">
            <a:extLst>
              <a:ext uri="{FF2B5EF4-FFF2-40B4-BE49-F238E27FC236}">
                <a16:creationId xmlns:a16="http://schemas.microsoft.com/office/drawing/2014/main" id="{77879072-C858-4076-B24D-05EB039B7B30}"/>
              </a:ext>
            </a:extLst>
          </p:cNvPr>
          <p:cNvGraphicFramePr>
            <a:graphicFrameLocks noGrp="1"/>
          </p:cNvGraphicFramePr>
          <p:nvPr>
            <p:extLst>
              <p:ext uri="{D42A27DB-BD31-4B8C-83A1-F6EECF244321}">
                <p14:modId xmlns:p14="http://schemas.microsoft.com/office/powerpoint/2010/main" val="336312759"/>
              </p:ext>
            </p:extLst>
          </p:nvPr>
        </p:nvGraphicFramePr>
        <p:xfrm>
          <a:off x="548996" y="1812579"/>
          <a:ext cx="5547004" cy="594360"/>
        </p:xfrm>
        <a:graphic>
          <a:graphicData uri="http://schemas.openxmlformats.org/drawingml/2006/table">
            <a:tbl>
              <a:tblPr firstRow="1" bandRow="1"/>
              <a:tblGrid>
                <a:gridCol w="1707158">
                  <a:extLst>
                    <a:ext uri="{9D8B030D-6E8A-4147-A177-3AD203B41FA5}">
                      <a16:colId xmlns:a16="http://schemas.microsoft.com/office/drawing/2014/main" val="20000"/>
                    </a:ext>
                  </a:extLst>
                </a:gridCol>
                <a:gridCol w="3839846">
                  <a:extLst>
                    <a:ext uri="{9D8B030D-6E8A-4147-A177-3AD203B41FA5}">
                      <a16:colId xmlns:a16="http://schemas.microsoft.com/office/drawing/2014/main" val="20003"/>
                    </a:ext>
                  </a:extLst>
                </a:gridCol>
              </a:tblGrid>
              <a:tr h="269307">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marR="0" lvl="0" indent="0">
                        <a:spcBef>
                          <a:spcPts val="0"/>
                        </a:spcBef>
                        <a:spcAft>
                          <a:spcPts val="0"/>
                        </a:spcAft>
                        <a:buFont typeface="Calibri" panose="020F0502020204030204" pitchFamily="34" charset="0"/>
                        <a:buNone/>
                      </a:pPr>
                      <a:r>
                        <a:rPr lang="en-US" sz="1100" b="0">
                          <a:solidFill>
                            <a:schemeClr val="tx1"/>
                          </a:solidFill>
                          <a:latin typeface="Calibri"/>
                          <a:ea typeface="Calibri" panose="020F0502020204030204" pitchFamily="34" charset="0"/>
                        </a:rPr>
                        <a:t>Cross Geo / Cross industries </a:t>
                      </a:r>
                      <a:endParaRPr lang="en-US" sz="1100" b="0">
                        <a:solidFill>
                          <a:schemeClr val="tx1"/>
                        </a:solidFill>
                        <a:latin typeface="Calibri" panose="020F0502020204030204" pitchFamily="34" charset="0"/>
                        <a:ea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171450" marR="0" lvl="0" indent="-171450">
                        <a:spcBef>
                          <a:spcPts val="0"/>
                        </a:spcBef>
                        <a:spcAft>
                          <a:spcPts val="0"/>
                        </a:spcAft>
                        <a:buFont typeface="Arial" panose="020B0604020202020204" pitchFamily="34" charset="0"/>
                        <a:buChar char="•"/>
                      </a:pPr>
                      <a:r>
                        <a:rPr lang="en-US" sz="1100" b="1" u="none" kern="1200">
                          <a:solidFill>
                            <a:schemeClr val="dk1"/>
                          </a:solidFill>
                          <a:latin typeface="Calibri"/>
                          <a:ea typeface="Calibri" panose="020F0502020204030204" pitchFamily="34" charset="0"/>
                          <a:cs typeface="+mn-cs"/>
                        </a:rPr>
                        <a:t>EY</a:t>
                      </a:r>
                    </a:p>
                    <a:p>
                      <a:pPr marL="171450" marR="0" lvl="0" indent="-171450">
                        <a:spcBef>
                          <a:spcPts val="0"/>
                        </a:spcBef>
                        <a:spcAft>
                          <a:spcPts val="0"/>
                        </a:spcAft>
                        <a:buFont typeface="Arial" panose="020B0604020202020204" pitchFamily="34" charset="0"/>
                        <a:buChar char="•"/>
                      </a:pPr>
                      <a:r>
                        <a:rPr lang="en-US" sz="1100" b="1" u="none" kern="1200">
                          <a:solidFill>
                            <a:schemeClr val="dk1"/>
                          </a:solidFill>
                          <a:latin typeface="Calibri"/>
                          <a:ea typeface="Calibri" panose="020F0502020204030204" pitchFamily="34" charset="0"/>
                          <a:cs typeface="+mn-cs"/>
                        </a:rPr>
                        <a:t>KPMG</a:t>
                      </a:r>
                    </a:p>
                    <a:p>
                      <a:pPr marL="171450" marR="0" lvl="0" indent="-171450">
                        <a:spcBef>
                          <a:spcPts val="0"/>
                        </a:spcBef>
                        <a:spcAft>
                          <a:spcPts val="0"/>
                        </a:spcAft>
                        <a:buFont typeface="Arial" panose="020B0604020202020204" pitchFamily="34" charset="0"/>
                        <a:buChar char="•"/>
                      </a:pPr>
                      <a:r>
                        <a:rPr lang="en-US" sz="1100" b="1" u="none" kern="1200">
                          <a:solidFill>
                            <a:schemeClr val="dk1"/>
                          </a:solidFill>
                          <a:latin typeface="Calibri"/>
                          <a:ea typeface="Calibri" panose="020F0502020204030204" pitchFamily="34" charset="0"/>
                          <a:cs typeface="+mn-cs"/>
                        </a:rPr>
                        <a:t>Accen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2893821"/>
                  </a:ext>
                </a:extLst>
              </a:tr>
            </a:tbl>
          </a:graphicData>
        </a:graphic>
      </p:graphicFrame>
      <p:sp>
        <p:nvSpPr>
          <p:cNvPr id="20" name="Rectangle 19">
            <a:extLst>
              <a:ext uri="{FF2B5EF4-FFF2-40B4-BE49-F238E27FC236}">
                <a16:creationId xmlns:a16="http://schemas.microsoft.com/office/drawing/2014/main" id="{8BF87056-8895-46FE-9A86-E51AC315AC90}"/>
              </a:ext>
            </a:extLst>
          </p:cNvPr>
          <p:cNvSpPr/>
          <p:nvPr/>
        </p:nvSpPr>
        <p:spPr bwMode="auto">
          <a:xfrm>
            <a:off x="548996" y="1367618"/>
            <a:ext cx="5547004" cy="323533"/>
          </a:xfrm>
          <a:prstGeom prst="rect">
            <a:avLst/>
          </a:prstGeom>
          <a:solidFill>
            <a:srgbClr val="0078D4"/>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rPr>
              <a:t>Top GSIs</a:t>
            </a:r>
            <a:r>
              <a:rPr kumimoji="0" lang="en-US" sz="1600" b="0" i="0" u="none" strike="noStrike" kern="0" cap="none" spc="0" normalizeH="0" noProof="0">
                <a:ln>
                  <a:noFill/>
                </a:ln>
                <a:gradFill>
                  <a:gsLst>
                    <a:gs pos="5439">
                      <a:srgbClr val="F8F8F8"/>
                    </a:gs>
                    <a:gs pos="10000">
                      <a:srgbClr val="F8F8F8"/>
                    </a:gs>
                  </a:gsLst>
                  <a:lin ang="5400000" scaled="0"/>
                </a:gradFill>
                <a:effectLst/>
                <a:uLnTx/>
                <a:uFillTx/>
                <a:latin typeface="Segoe UI"/>
                <a:ea typeface="+mn-ea"/>
                <a:cs typeface="+mn-cs"/>
              </a:rPr>
              <a:t> &amp; Key Influencers</a:t>
            </a:r>
            <a:endParaRPr kumimoji="0" lang="en-US" sz="16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 name="TextBox 25">
            <a:extLst>
              <a:ext uri="{FF2B5EF4-FFF2-40B4-BE49-F238E27FC236}">
                <a16:creationId xmlns:a16="http://schemas.microsoft.com/office/drawing/2014/main" id="{AE146CF1-D4A1-4F1B-805B-D0CCD71DC55C}"/>
              </a:ext>
            </a:extLst>
          </p:cNvPr>
          <p:cNvSpPr txBox="1"/>
          <p:nvPr/>
        </p:nvSpPr>
        <p:spPr>
          <a:xfrm>
            <a:off x="331574" y="6211453"/>
            <a:ext cx="5547004" cy="489365"/>
          </a:xfrm>
          <a:prstGeom prst="rect">
            <a:avLst/>
          </a:prstGeom>
          <a:noFill/>
        </p:spPr>
        <p:txBody>
          <a:bodyPr wrap="squar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Use </a:t>
            </a:r>
            <a:r>
              <a:rPr lang="en-US" sz="1400">
                <a:gradFill>
                  <a:gsLst>
                    <a:gs pos="2917">
                      <a:schemeClr val="tx1"/>
                    </a:gs>
                    <a:gs pos="30000">
                      <a:schemeClr val="tx1"/>
                    </a:gs>
                  </a:gsLst>
                  <a:lin ang="5400000" scaled="0"/>
                </a:gradFill>
                <a:hlinkClick r:id="rId3"/>
              </a:rPr>
              <a:t>OCP Catalog </a:t>
            </a:r>
            <a:r>
              <a:rPr lang="en-US" sz="1400">
                <a:gradFill>
                  <a:gsLst>
                    <a:gs pos="2917">
                      <a:schemeClr val="tx1"/>
                    </a:gs>
                    <a:gs pos="30000">
                      <a:schemeClr val="tx1"/>
                    </a:gs>
                  </a:gsLst>
                  <a:lin ang="5400000" scaled="0"/>
                </a:gradFill>
              </a:rPr>
              <a:t>to Contact Partners for Engagement</a:t>
            </a:r>
          </a:p>
        </p:txBody>
      </p:sp>
    </p:spTree>
    <p:extLst>
      <p:ext uri="{BB962C8B-B14F-4D97-AF65-F5344CB8AC3E}">
        <p14:creationId xmlns:p14="http://schemas.microsoft.com/office/powerpoint/2010/main" val="2548039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88D62-7960-49C7-9805-BC53373172AE}"/>
              </a:ext>
            </a:extLst>
          </p:cNvPr>
          <p:cNvSpPr>
            <a:spLocks noGrp="1"/>
          </p:cNvSpPr>
          <p:nvPr>
            <p:ph type="title"/>
          </p:nvPr>
        </p:nvSpPr>
        <p:spPr>
          <a:xfrm>
            <a:off x="1191983" y="2011136"/>
            <a:ext cx="9442811" cy="1477328"/>
          </a:xfrm>
        </p:spPr>
        <p:txBody>
          <a:bodyPr/>
          <a:lstStyle/>
          <a:p>
            <a:pPr algn="ctr"/>
            <a:r>
              <a:rPr lang="en-US" sz="4800">
                <a:solidFill>
                  <a:srgbClr val="0070C0"/>
                </a:solidFill>
                <a:latin typeface="Segoe UI Light" panose="020B0502040204020203" pitchFamily="34" charset="0"/>
                <a:cs typeface="Segoe UI Light" panose="020B0502040204020203" pitchFamily="34" charset="0"/>
              </a:rPr>
              <a:t>Turning </a:t>
            </a:r>
            <a:r>
              <a:rPr lang="en-US" sz="4800" b="1">
                <a:solidFill>
                  <a:srgbClr val="0070C0"/>
                </a:solidFill>
                <a:latin typeface="Segoe UI Light" panose="020B0502040204020203" pitchFamily="34" charset="0"/>
                <a:cs typeface="Segoe UI Light" panose="020B0502040204020203" pitchFamily="34" charset="0"/>
              </a:rPr>
              <a:t>DATA</a:t>
            </a:r>
            <a:r>
              <a:rPr lang="en-US" sz="4800">
                <a:solidFill>
                  <a:srgbClr val="0070C0"/>
                </a:solidFill>
                <a:latin typeface="Segoe UI Light" panose="020B0502040204020203" pitchFamily="34" charset="0"/>
                <a:cs typeface="Segoe UI Light" panose="020B0502040204020203" pitchFamily="34" charset="0"/>
              </a:rPr>
              <a:t> into </a:t>
            </a:r>
            <a:r>
              <a:rPr lang="en-US" sz="4800" b="1">
                <a:solidFill>
                  <a:srgbClr val="0070C0"/>
                </a:solidFill>
                <a:latin typeface="Segoe UI Light" panose="020B0502040204020203" pitchFamily="34" charset="0"/>
                <a:cs typeface="Segoe UI Light" panose="020B0502040204020203" pitchFamily="34" charset="0"/>
              </a:rPr>
              <a:t>KNOWLEDGE</a:t>
            </a:r>
            <a:br>
              <a:rPr lang="en-US" sz="4800">
                <a:solidFill>
                  <a:srgbClr val="0070C0"/>
                </a:solidFill>
                <a:latin typeface="Segoe UI Light" panose="020B0502040204020203" pitchFamily="34" charset="0"/>
                <a:cs typeface="Segoe UI Light" panose="020B0502040204020203" pitchFamily="34" charset="0"/>
              </a:rPr>
            </a:br>
            <a:r>
              <a:rPr lang="en-US" sz="4800">
                <a:solidFill>
                  <a:srgbClr val="0070C0"/>
                </a:solidFill>
                <a:latin typeface="Segoe UI Light" panose="020B0502040204020203" pitchFamily="34" charset="0"/>
                <a:cs typeface="Segoe UI Light" panose="020B0502040204020203" pitchFamily="34" charset="0"/>
              </a:rPr>
              <a:t>with AI powered search. </a:t>
            </a:r>
            <a:endParaRPr lang="en-US" sz="4800" baseline="30000">
              <a:solidFill>
                <a:srgbClr val="0070C0"/>
              </a:solidFill>
              <a:latin typeface="Segoe UI Light" panose="020B0502040204020203" pitchFamily="34" charset="0"/>
              <a:cs typeface="Segoe UI Light" panose="020B0502040204020203" pitchFamily="34" charset="0"/>
            </a:endParaRPr>
          </a:p>
        </p:txBody>
      </p:sp>
      <p:grpSp>
        <p:nvGrpSpPr>
          <p:cNvPr id="5" name="Group 4">
            <a:extLst>
              <a:ext uri="{FF2B5EF4-FFF2-40B4-BE49-F238E27FC236}">
                <a16:creationId xmlns:a16="http://schemas.microsoft.com/office/drawing/2014/main" id="{41E7C0B3-37C9-4D1B-A1EA-D6EE9C992360}"/>
              </a:ext>
            </a:extLst>
          </p:cNvPr>
          <p:cNvGrpSpPr/>
          <p:nvPr/>
        </p:nvGrpSpPr>
        <p:grpSpPr>
          <a:xfrm>
            <a:off x="10754497" y="386952"/>
            <a:ext cx="981849" cy="972580"/>
            <a:chOff x="5468716" y="6021113"/>
            <a:chExt cx="1158327" cy="1158328"/>
          </a:xfrm>
        </p:grpSpPr>
        <p:sp>
          <p:nvSpPr>
            <p:cNvPr id="6" name="Oval 9">
              <a:extLst>
                <a:ext uri="{FF2B5EF4-FFF2-40B4-BE49-F238E27FC236}">
                  <a16:creationId xmlns:a16="http://schemas.microsoft.com/office/drawing/2014/main" id="{AAB86002-AA4D-4060-9559-54F0CBCA5BC2}"/>
                </a:ext>
              </a:extLst>
            </p:cNvPr>
            <p:cNvSpPr>
              <a:spLocks noChangeArrowheads="1"/>
            </p:cNvSpPr>
            <p:nvPr/>
          </p:nvSpPr>
          <p:spPr bwMode="auto">
            <a:xfrm>
              <a:off x="5468716" y="6021113"/>
              <a:ext cx="1158327" cy="1158328"/>
            </a:xfrm>
            <a:prstGeom prst="ellipse">
              <a:avLst/>
            </a:prstGeom>
            <a:solidFill>
              <a:srgbClr val="0078D7"/>
            </a:solid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7" name="Freeform 6">
              <a:extLst>
                <a:ext uri="{FF2B5EF4-FFF2-40B4-BE49-F238E27FC236}">
                  <a16:creationId xmlns:a16="http://schemas.microsoft.com/office/drawing/2014/main" id="{028E349A-E477-4CF9-B770-282122A11FD8}"/>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7">
              <a:extLst>
                <a:ext uri="{FF2B5EF4-FFF2-40B4-BE49-F238E27FC236}">
                  <a16:creationId xmlns:a16="http://schemas.microsoft.com/office/drawing/2014/main" id="{7940195E-3928-49FA-90DE-4A2B78E4F9C1}"/>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8">
              <a:extLst>
                <a:ext uri="{FF2B5EF4-FFF2-40B4-BE49-F238E27FC236}">
                  <a16:creationId xmlns:a16="http://schemas.microsoft.com/office/drawing/2014/main" id="{123ADF91-F086-4BF7-9E23-E9E06B813F98}"/>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 name="Oval 9">
              <a:extLst>
                <a:ext uri="{FF2B5EF4-FFF2-40B4-BE49-F238E27FC236}">
                  <a16:creationId xmlns:a16="http://schemas.microsoft.com/office/drawing/2014/main" id="{03802F5F-3C79-4577-BAB1-03677B43ABEC}"/>
                </a:ext>
              </a:extLst>
            </p:cNvPr>
            <p:cNvSpPr>
              <a:spLocks noChangeArrowheads="1"/>
            </p:cNvSpPr>
            <p:nvPr/>
          </p:nvSpPr>
          <p:spPr bwMode="auto">
            <a:xfrm>
              <a:off x="5949759" y="6745722"/>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 name="Oval 11">
              <a:extLst>
                <a:ext uri="{FF2B5EF4-FFF2-40B4-BE49-F238E27FC236}">
                  <a16:creationId xmlns:a16="http://schemas.microsoft.com/office/drawing/2014/main" id="{92919ACE-746F-4E51-98BC-8E2F46ED9FAE}"/>
                </a:ext>
              </a:extLst>
            </p:cNvPr>
            <p:cNvSpPr>
              <a:spLocks noChangeArrowheads="1"/>
            </p:cNvSpPr>
            <p:nvPr/>
          </p:nvSpPr>
          <p:spPr bwMode="auto">
            <a:xfrm>
              <a:off x="6241310" y="6733601"/>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Oval 12">
              <a:extLst>
                <a:ext uri="{FF2B5EF4-FFF2-40B4-BE49-F238E27FC236}">
                  <a16:creationId xmlns:a16="http://schemas.microsoft.com/office/drawing/2014/main" id="{A94F11CA-9A7E-4391-A9FE-4154362D5AAB}"/>
                </a:ext>
              </a:extLst>
            </p:cNvPr>
            <p:cNvSpPr>
              <a:spLocks noChangeArrowheads="1"/>
            </p:cNvSpPr>
            <p:nvPr/>
          </p:nvSpPr>
          <p:spPr bwMode="auto">
            <a:xfrm>
              <a:off x="6297451" y="6394203"/>
              <a:ext cx="61883" cy="61883"/>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 name="Freeform 5">
              <a:extLst>
                <a:ext uri="{FF2B5EF4-FFF2-40B4-BE49-F238E27FC236}">
                  <a16:creationId xmlns:a16="http://schemas.microsoft.com/office/drawing/2014/main" id="{0051C47F-AA97-4C59-85CA-9294066099E1}"/>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 name="Oval 10">
              <a:extLst>
                <a:ext uri="{FF2B5EF4-FFF2-40B4-BE49-F238E27FC236}">
                  <a16:creationId xmlns:a16="http://schemas.microsoft.com/office/drawing/2014/main" id="{6EDF8D14-4AF9-4F53-BE14-7CED7AFB55E0}"/>
                </a:ext>
              </a:extLst>
            </p:cNvPr>
            <p:cNvSpPr>
              <a:spLocks noChangeArrowheads="1"/>
            </p:cNvSpPr>
            <p:nvPr/>
          </p:nvSpPr>
          <p:spPr bwMode="auto">
            <a:xfrm>
              <a:off x="6111803" y="6823554"/>
              <a:ext cx="61245" cy="61245"/>
            </a:xfrm>
            <a:prstGeom prst="ellipse">
              <a:avLst/>
            </a:prstGeom>
            <a:noFill/>
            <a:ln w="22225">
              <a:solidFill>
                <a:schemeClr val="bg1"/>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5" name="Magnifying_Glass">
              <a:extLst>
                <a:ext uri="{FF2B5EF4-FFF2-40B4-BE49-F238E27FC236}">
                  <a16:creationId xmlns:a16="http://schemas.microsoft.com/office/drawing/2014/main" id="{40728A64-1E91-4E0E-8BAE-52A29B848DED}"/>
                </a:ext>
              </a:extLst>
            </p:cNvPr>
            <p:cNvGrpSpPr/>
            <p:nvPr/>
          </p:nvGrpSpPr>
          <p:grpSpPr>
            <a:xfrm flipH="1">
              <a:off x="5690450" y="6269810"/>
              <a:ext cx="562017" cy="562017"/>
              <a:chOff x="5741782" y="1706805"/>
              <a:chExt cx="657225" cy="657225"/>
            </a:xfrm>
          </p:grpSpPr>
          <p:sp>
            <p:nvSpPr>
              <p:cNvPr id="16" name="Freeform: Shape 15">
                <a:extLst>
                  <a:ext uri="{FF2B5EF4-FFF2-40B4-BE49-F238E27FC236}">
                    <a16:creationId xmlns:a16="http://schemas.microsoft.com/office/drawing/2014/main" id="{C10370A8-4AE6-4BF9-983D-A57E3F153C36}"/>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chemeClr val="bg1">
                  <a:lumMod val="85000"/>
                </a:schemeClr>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FD84018A-CB16-4D61-A29A-44C3436E27D9}"/>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742D5EFF-7BD1-41BB-8408-C401EAD8C7D1}"/>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B2009AF8-B5F4-4CA8-9B6D-F0AAF1CA78C9}"/>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2" name="Title 1">
            <a:extLst>
              <a:ext uri="{FF2B5EF4-FFF2-40B4-BE49-F238E27FC236}">
                <a16:creationId xmlns:a16="http://schemas.microsoft.com/office/drawing/2014/main" id="{5C969F52-4586-4651-ADAD-86DAE4A7B103}"/>
              </a:ext>
            </a:extLst>
          </p:cNvPr>
          <p:cNvSpPr txBox="1">
            <a:spLocks/>
          </p:cNvSpPr>
          <p:nvPr/>
        </p:nvSpPr>
        <p:spPr>
          <a:xfrm>
            <a:off x="258448" y="577702"/>
            <a:ext cx="11463498" cy="838027"/>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What IS Knowledge Mining?</a:t>
            </a:r>
          </a:p>
        </p:txBody>
      </p:sp>
      <p:sp>
        <p:nvSpPr>
          <p:cNvPr id="4" name="Rectangle 3">
            <a:extLst>
              <a:ext uri="{FF2B5EF4-FFF2-40B4-BE49-F238E27FC236}">
                <a16:creationId xmlns:a16="http://schemas.microsoft.com/office/drawing/2014/main" id="{1A9B76CA-CBE9-457F-BB09-7713F124642A}"/>
              </a:ext>
            </a:extLst>
          </p:cNvPr>
          <p:cNvSpPr/>
          <p:nvPr/>
        </p:nvSpPr>
        <p:spPr>
          <a:xfrm>
            <a:off x="837948" y="4561841"/>
            <a:ext cx="10150879" cy="1200329"/>
          </a:xfrm>
          <a:prstGeom prst="rect">
            <a:avLst/>
          </a:prstGeom>
        </p:spPr>
        <p:txBody>
          <a:bodyPr wrap="square">
            <a:spAutoFit/>
          </a:bodyPr>
          <a:lstStyle/>
          <a:p>
            <a:pPr algn="ctr"/>
            <a:r>
              <a:rPr lang="en-US" sz="2400">
                <a:solidFill>
                  <a:srgbClr val="0070C0"/>
                </a:solidFill>
                <a:latin typeface="Segoe UI Light" panose="020B0502040204020203" pitchFamily="34" charset="0"/>
                <a:cs typeface="Segoe UI Light" panose="020B0502040204020203" pitchFamily="34" charset="0"/>
              </a:rPr>
              <a:t>The use of advanced data science to understand relationships across multiple sources of structured &amp; unstructured data in a human-like fashion in order to uncover critical business insights and deliver transformational outcomes </a:t>
            </a:r>
            <a:endParaRPr lang="en-US" sz="2400"/>
          </a:p>
        </p:txBody>
      </p:sp>
    </p:spTree>
    <p:extLst>
      <p:ext uri="{BB962C8B-B14F-4D97-AF65-F5344CB8AC3E}">
        <p14:creationId xmlns:p14="http://schemas.microsoft.com/office/powerpoint/2010/main" val="35701698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 Placeholder 3">
            <a:extLst>
              <a:ext uri="{FF2B5EF4-FFF2-40B4-BE49-F238E27FC236}">
                <a16:creationId xmlns:a16="http://schemas.microsoft.com/office/drawing/2014/main" id="{6DFE2DB4-D950-498C-8577-6F741515EF20}"/>
              </a:ext>
            </a:extLst>
          </p:cNvPr>
          <p:cNvSpPr txBox="1">
            <a:spLocks/>
          </p:cNvSpPr>
          <p:nvPr/>
        </p:nvSpPr>
        <p:spPr>
          <a:xfrm>
            <a:off x="3623247" y="2511962"/>
            <a:ext cx="8193084" cy="640080"/>
          </a:xfrm>
          <a:prstGeom prst="rect">
            <a:avLst/>
          </a:prstGeom>
        </p:spPr>
        <p:txBody>
          <a:bodyPr vert="horz" wrap="square" lIns="0" tIns="0" rIns="0" bIns="0" rtlCol="0" anchor="ctr">
            <a:noAutofit/>
          </a:bodyPr>
          <a:lstStyle>
            <a:defPPr>
              <a:defRPr lang="en-US"/>
            </a:defPPr>
            <a:lvl1pPr marR="0" lvl="0" indent="0" defTabSz="914367" fontAlgn="auto">
              <a:lnSpc>
                <a:spcPts val="2307"/>
              </a:lnSpc>
              <a:spcBef>
                <a:spcPct val="20000"/>
              </a:spcBef>
              <a:spcAft>
                <a:spcPts val="0"/>
              </a:spcAft>
              <a:buClrTx/>
              <a:buSzPct val="90000"/>
              <a:buFont typeface="Wingdings" panose="05000000000000000000" pitchFamily="2" charset="2"/>
              <a:buNone/>
              <a:tabLst/>
              <a:defRPr kumimoji="0" sz="2353" b="0" i="0" u="none" strike="noStrike"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vl2pPr marL="224100" marR="0" indent="0" defTabSz="932742" fontAlgn="auto">
              <a:lnSpc>
                <a:spcPct val="9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defRPr>
            </a:lvl2pPr>
            <a:lvl3pPr marL="448198" marR="0" indent="0" defTabSz="932742" fontAlgn="auto">
              <a:lnSpc>
                <a:spcPct val="90000"/>
              </a:lnSpc>
              <a:spcBef>
                <a:spcPct val="20000"/>
              </a:spcBef>
              <a:spcAft>
                <a:spcPts val="0"/>
              </a:spcAft>
              <a:buClrTx/>
              <a:buSzPct val="90000"/>
              <a:buFont typeface="Wingdings" panose="05000000000000000000" pitchFamily="2" charset="2"/>
              <a:buNone/>
              <a:tabLst/>
              <a:defRPr sz="2400" spc="0" baseline="0">
                <a:gradFill>
                  <a:gsLst>
                    <a:gs pos="1250">
                      <a:schemeClr val="tx1"/>
                    </a:gs>
                    <a:gs pos="100000">
                      <a:schemeClr val="tx1"/>
                    </a:gs>
                  </a:gsLst>
                  <a:lin ang="5400000" scaled="0"/>
                </a:gradFill>
              </a:defRPr>
            </a:lvl3pPr>
            <a:lvl4pPr marL="672298" marR="0" indent="0" defTabSz="932742" fontAlgn="auto">
              <a:lnSpc>
                <a:spcPct val="90000"/>
              </a:lnSpc>
              <a:spcBef>
                <a:spcPct val="20000"/>
              </a:spcBef>
              <a:spcAft>
                <a:spcPts val="0"/>
              </a:spcAft>
              <a:buClrTx/>
              <a:buSzPct val="90000"/>
              <a:buFont typeface="Wingdings" panose="05000000000000000000" pitchFamily="2" charset="2"/>
              <a:buNone/>
              <a:tabLst/>
              <a:defRPr sz="2200" spc="0" baseline="0">
                <a:gradFill>
                  <a:gsLst>
                    <a:gs pos="1250">
                      <a:schemeClr val="tx1"/>
                    </a:gs>
                    <a:gs pos="100000">
                      <a:schemeClr val="tx1"/>
                    </a:gs>
                  </a:gsLst>
                  <a:lin ang="5400000" scaled="0"/>
                </a:gradFill>
              </a:defRPr>
            </a:lvl4pPr>
            <a:lvl5pPr marL="896397" marR="0" indent="0" defTabSz="932742" fontAlgn="auto">
              <a:lnSpc>
                <a:spcPct val="90000"/>
              </a:lnSpc>
              <a:spcBef>
                <a:spcPct val="20000"/>
              </a:spcBef>
              <a:spcAft>
                <a:spcPts val="0"/>
              </a:spcAft>
              <a:buClrTx/>
              <a:buSzPct val="90000"/>
              <a:buFont typeface="Wingdings" panose="05000000000000000000" pitchFamily="2" charset="2"/>
              <a:buNone/>
              <a:tabLst/>
              <a:defRPr sz="22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rPr>
              <a:t>Leverage </a:t>
            </a:r>
            <a:r>
              <a:rPr lang="en-US" sz="2000">
                <a:solidFill>
                  <a:srgbClr val="505050">
                    <a:lumMod val="75000"/>
                    <a:lumOff val="25000"/>
                  </a:srgbClr>
                </a:solidFill>
                <a:latin typeface="Segoe UI Semilight"/>
              </a:rPr>
              <a:t>known ISVs &amp; </a:t>
            </a: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rPr>
              <a:t>SI’s &amp; grow coverage with local partners across A14</a:t>
            </a:r>
          </a:p>
        </p:txBody>
      </p:sp>
      <p:sp>
        <p:nvSpPr>
          <p:cNvPr id="58" name="Text Placeholder 3">
            <a:extLst>
              <a:ext uri="{FF2B5EF4-FFF2-40B4-BE49-F238E27FC236}">
                <a16:creationId xmlns:a16="http://schemas.microsoft.com/office/drawing/2014/main" id="{43366982-E81F-46F9-AE11-1F415D86C967}"/>
              </a:ext>
            </a:extLst>
          </p:cNvPr>
          <p:cNvSpPr txBox="1">
            <a:spLocks/>
          </p:cNvSpPr>
          <p:nvPr/>
        </p:nvSpPr>
        <p:spPr>
          <a:xfrm>
            <a:off x="3639164" y="3763951"/>
            <a:ext cx="8047611" cy="81370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rPr>
              <a:t>Develop subsidiary engagement model to scale</a:t>
            </a:r>
          </a:p>
        </p:txBody>
      </p:sp>
      <p:sp>
        <p:nvSpPr>
          <p:cNvPr id="61" name="Text Placeholder 3">
            <a:extLst>
              <a:ext uri="{FF2B5EF4-FFF2-40B4-BE49-F238E27FC236}">
                <a16:creationId xmlns:a16="http://schemas.microsoft.com/office/drawing/2014/main" id="{F02441BD-262C-4857-A537-A9AD7A00E858}"/>
              </a:ext>
            </a:extLst>
          </p:cNvPr>
          <p:cNvSpPr txBox="1">
            <a:spLocks/>
          </p:cNvSpPr>
          <p:nvPr/>
        </p:nvSpPr>
        <p:spPr>
          <a:xfrm>
            <a:off x="3631206" y="1867161"/>
            <a:ext cx="5999593"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rPr>
              <a:t>Grow Partner Capacity, Value &amp; Differentiation</a:t>
            </a:r>
          </a:p>
        </p:txBody>
      </p:sp>
      <p:sp>
        <p:nvSpPr>
          <p:cNvPr id="71" name="Text Placeholder 3">
            <a:extLst>
              <a:ext uri="{FF2B5EF4-FFF2-40B4-BE49-F238E27FC236}">
                <a16:creationId xmlns:a16="http://schemas.microsoft.com/office/drawing/2014/main" id="{3B30BC65-CA5A-44C3-99FF-DE380057F2C9}"/>
              </a:ext>
            </a:extLst>
          </p:cNvPr>
          <p:cNvSpPr txBox="1">
            <a:spLocks/>
          </p:cNvSpPr>
          <p:nvPr/>
        </p:nvSpPr>
        <p:spPr>
          <a:xfrm>
            <a:off x="3639163" y="5150628"/>
            <a:ext cx="5893048"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rPr>
              <a:t>Consumed Revenue: Partner Influenced</a:t>
            </a:r>
          </a:p>
        </p:txBody>
      </p:sp>
      <p:sp>
        <p:nvSpPr>
          <p:cNvPr id="72" name="Text Placeholder 3">
            <a:extLst>
              <a:ext uri="{FF2B5EF4-FFF2-40B4-BE49-F238E27FC236}">
                <a16:creationId xmlns:a16="http://schemas.microsoft.com/office/drawing/2014/main" id="{658AF2F6-E7CD-4289-8196-B4FA7EAFF117}"/>
              </a:ext>
            </a:extLst>
          </p:cNvPr>
          <p:cNvSpPr txBox="1">
            <a:spLocks/>
          </p:cNvSpPr>
          <p:nvPr/>
        </p:nvSpPr>
        <p:spPr>
          <a:xfrm>
            <a:off x="882170" y="2535055"/>
            <a:ext cx="1542700"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0C0"/>
                </a:solidFill>
                <a:effectLst/>
                <a:uLnTx/>
                <a:uFillTx/>
                <a:latin typeface="Segoe UI Semilight"/>
                <a:ea typeface="+mn-ea"/>
                <a:cs typeface="Segoe UI" panose="020B0502040204020203" pitchFamily="34" charset="0"/>
              </a:rPr>
              <a:t>Target</a:t>
            </a:r>
          </a:p>
        </p:txBody>
      </p:sp>
      <p:sp>
        <p:nvSpPr>
          <p:cNvPr id="73" name="Text Placeholder 3">
            <a:extLst>
              <a:ext uri="{FF2B5EF4-FFF2-40B4-BE49-F238E27FC236}">
                <a16:creationId xmlns:a16="http://schemas.microsoft.com/office/drawing/2014/main" id="{EF92F3C5-7F92-41AE-8975-EA8F75D873D8}"/>
              </a:ext>
            </a:extLst>
          </p:cNvPr>
          <p:cNvSpPr txBox="1">
            <a:spLocks/>
          </p:cNvSpPr>
          <p:nvPr/>
        </p:nvSpPr>
        <p:spPr>
          <a:xfrm>
            <a:off x="898086" y="3850761"/>
            <a:ext cx="1542700"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0C0"/>
                </a:solidFill>
                <a:effectLst/>
                <a:uLnTx/>
                <a:uFillTx/>
                <a:latin typeface="Segoe UI Semilight"/>
                <a:ea typeface="+mn-ea"/>
                <a:cs typeface="Segoe UI" panose="020B0502040204020203" pitchFamily="34" charset="0"/>
              </a:rPr>
              <a:t>Approach</a:t>
            </a:r>
          </a:p>
        </p:txBody>
      </p:sp>
      <p:sp>
        <p:nvSpPr>
          <p:cNvPr id="83" name="Text Placeholder 3">
            <a:extLst>
              <a:ext uri="{FF2B5EF4-FFF2-40B4-BE49-F238E27FC236}">
                <a16:creationId xmlns:a16="http://schemas.microsoft.com/office/drawing/2014/main" id="{62569838-210D-426B-A171-5CBA89D31A58}"/>
              </a:ext>
            </a:extLst>
          </p:cNvPr>
          <p:cNvSpPr txBox="1">
            <a:spLocks/>
          </p:cNvSpPr>
          <p:nvPr/>
        </p:nvSpPr>
        <p:spPr>
          <a:xfrm>
            <a:off x="898086" y="1867161"/>
            <a:ext cx="1542700"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0C0"/>
                </a:solidFill>
                <a:effectLst/>
                <a:uLnTx/>
                <a:uFillTx/>
                <a:latin typeface="Segoe UI Semilight"/>
                <a:ea typeface="+mn-ea"/>
                <a:cs typeface="Segoe UI" panose="020B0502040204020203" pitchFamily="34" charset="0"/>
              </a:rPr>
              <a:t>Strategy</a:t>
            </a:r>
          </a:p>
        </p:txBody>
      </p:sp>
      <p:sp>
        <p:nvSpPr>
          <p:cNvPr id="90" name="Text Placeholder 3">
            <a:extLst>
              <a:ext uri="{FF2B5EF4-FFF2-40B4-BE49-F238E27FC236}">
                <a16:creationId xmlns:a16="http://schemas.microsoft.com/office/drawing/2014/main" id="{E0266476-B9E5-40A0-BA77-9729561B82BC}"/>
              </a:ext>
            </a:extLst>
          </p:cNvPr>
          <p:cNvSpPr txBox="1">
            <a:spLocks/>
          </p:cNvSpPr>
          <p:nvPr/>
        </p:nvSpPr>
        <p:spPr>
          <a:xfrm>
            <a:off x="898086" y="5149069"/>
            <a:ext cx="1542700"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0C0"/>
                </a:solidFill>
                <a:effectLst/>
                <a:uLnTx/>
                <a:uFillTx/>
                <a:latin typeface="Segoe UI Semilight"/>
                <a:ea typeface="+mn-ea"/>
                <a:cs typeface="Segoe UI" panose="020B0502040204020203" pitchFamily="34" charset="0"/>
              </a:rPr>
              <a:t>Execution</a:t>
            </a:r>
          </a:p>
        </p:txBody>
      </p:sp>
      <p:sp>
        <p:nvSpPr>
          <p:cNvPr id="91" name="Oval 90">
            <a:extLst>
              <a:ext uri="{FF2B5EF4-FFF2-40B4-BE49-F238E27FC236}">
                <a16:creationId xmlns:a16="http://schemas.microsoft.com/office/drawing/2014/main" id="{2FC479A1-F8B5-40F6-8F85-6759A6E8FDD2}"/>
              </a:ext>
            </a:extLst>
          </p:cNvPr>
          <p:cNvSpPr/>
          <p:nvPr/>
        </p:nvSpPr>
        <p:spPr bwMode="auto">
          <a:xfrm>
            <a:off x="2669279" y="2645613"/>
            <a:ext cx="465152" cy="465152"/>
          </a:xfrm>
          <a:prstGeom prst="ellipse">
            <a:avLst/>
          </a:prstGeom>
          <a:solidFill>
            <a:schemeClr val="bg1">
              <a:lumMod val="9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mn-ea"/>
              <a:cs typeface="Segoe UI" panose="020B0502040204020203" pitchFamily="34" charset="0"/>
            </a:endParaRPr>
          </a:p>
        </p:txBody>
      </p:sp>
      <p:cxnSp>
        <p:nvCxnSpPr>
          <p:cNvPr id="98" name="Straight Connector 97">
            <a:extLst>
              <a:ext uri="{FF2B5EF4-FFF2-40B4-BE49-F238E27FC236}">
                <a16:creationId xmlns:a16="http://schemas.microsoft.com/office/drawing/2014/main" id="{89168F5B-B521-4433-93AA-FB5517CDBDFB}"/>
              </a:ext>
            </a:extLst>
          </p:cNvPr>
          <p:cNvCxnSpPr>
            <a:cxnSpLocks/>
          </p:cNvCxnSpPr>
          <p:nvPr/>
        </p:nvCxnSpPr>
        <p:spPr>
          <a:xfrm>
            <a:off x="2795222" y="2878189"/>
            <a:ext cx="190008" cy="0"/>
          </a:xfrm>
          <a:prstGeom prst="line">
            <a:avLst/>
          </a:prstGeom>
          <a:noFill/>
          <a:ln w="19050" cap="flat" cmpd="sng" algn="ctr">
            <a:solidFill>
              <a:srgbClr val="002060"/>
            </a:solidFill>
            <a:prstDash val="solid"/>
            <a:headEnd type="none"/>
            <a:tailEnd type="none"/>
          </a:ln>
          <a:effectLst/>
        </p:spPr>
      </p:cxnSp>
      <p:sp>
        <p:nvSpPr>
          <p:cNvPr id="99" name="L-Shape 98">
            <a:extLst>
              <a:ext uri="{FF2B5EF4-FFF2-40B4-BE49-F238E27FC236}">
                <a16:creationId xmlns:a16="http://schemas.microsoft.com/office/drawing/2014/main" id="{5E697451-7D20-4752-9B8C-C7821A1B8738}"/>
              </a:ext>
            </a:extLst>
          </p:cNvPr>
          <p:cNvSpPr/>
          <p:nvPr/>
        </p:nvSpPr>
        <p:spPr bwMode="auto">
          <a:xfrm rot="13463509">
            <a:off x="2843764" y="2811071"/>
            <a:ext cx="134237" cy="134237"/>
          </a:xfrm>
          <a:prstGeom prst="corner">
            <a:avLst>
              <a:gd name="adj1" fmla="val 11017"/>
              <a:gd name="adj2" fmla="val 11017"/>
            </a:avLst>
          </a:prstGeom>
          <a:solidFill>
            <a:srgbClr val="002060"/>
          </a:solidFill>
          <a:ln w="9525" cap="flat" cmpd="sng" algn="ctr">
            <a:solidFill>
              <a:srgbClr val="00206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Segoe UI" panose="020B0502040204020203" pitchFamily="34" charset="0"/>
              <a:cs typeface="Segoe UI" panose="020B0502040204020203" pitchFamily="34" charset="0"/>
            </a:endParaRPr>
          </a:p>
        </p:txBody>
      </p:sp>
      <p:sp>
        <p:nvSpPr>
          <p:cNvPr id="100" name="Oval 99">
            <a:extLst>
              <a:ext uri="{FF2B5EF4-FFF2-40B4-BE49-F238E27FC236}">
                <a16:creationId xmlns:a16="http://schemas.microsoft.com/office/drawing/2014/main" id="{0BD2BD19-ECC0-4C65-B50F-55896CEE5B1F}"/>
              </a:ext>
            </a:extLst>
          </p:cNvPr>
          <p:cNvSpPr/>
          <p:nvPr/>
        </p:nvSpPr>
        <p:spPr bwMode="auto">
          <a:xfrm>
            <a:off x="2685195" y="3949772"/>
            <a:ext cx="465152" cy="465152"/>
          </a:xfrm>
          <a:prstGeom prst="ellipse">
            <a:avLst/>
          </a:prstGeom>
          <a:solidFill>
            <a:schemeClr val="bg1">
              <a:lumMod val="9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mn-ea"/>
              <a:cs typeface="Segoe UI" panose="020B0502040204020203" pitchFamily="34" charset="0"/>
            </a:endParaRPr>
          </a:p>
        </p:txBody>
      </p:sp>
      <p:cxnSp>
        <p:nvCxnSpPr>
          <p:cNvPr id="104" name="Straight Connector 103">
            <a:extLst>
              <a:ext uri="{FF2B5EF4-FFF2-40B4-BE49-F238E27FC236}">
                <a16:creationId xmlns:a16="http://schemas.microsoft.com/office/drawing/2014/main" id="{5B85EC11-4835-447E-B751-A28CB48C702A}"/>
              </a:ext>
            </a:extLst>
          </p:cNvPr>
          <p:cNvCxnSpPr>
            <a:cxnSpLocks/>
          </p:cNvCxnSpPr>
          <p:nvPr/>
        </p:nvCxnSpPr>
        <p:spPr>
          <a:xfrm>
            <a:off x="2811138" y="4182348"/>
            <a:ext cx="190008" cy="0"/>
          </a:xfrm>
          <a:prstGeom prst="line">
            <a:avLst/>
          </a:prstGeom>
          <a:noFill/>
          <a:ln w="19050" cap="flat" cmpd="sng" algn="ctr">
            <a:solidFill>
              <a:srgbClr val="002060"/>
            </a:solidFill>
            <a:prstDash val="solid"/>
            <a:headEnd type="none"/>
            <a:tailEnd type="none"/>
          </a:ln>
          <a:effectLst/>
        </p:spPr>
      </p:cxnSp>
      <p:sp>
        <p:nvSpPr>
          <p:cNvPr id="105" name="L-Shape 104">
            <a:extLst>
              <a:ext uri="{FF2B5EF4-FFF2-40B4-BE49-F238E27FC236}">
                <a16:creationId xmlns:a16="http://schemas.microsoft.com/office/drawing/2014/main" id="{2069115F-049C-4EB6-8D26-FA87BBC3A45D}"/>
              </a:ext>
            </a:extLst>
          </p:cNvPr>
          <p:cNvSpPr/>
          <p:nvPr/>
        </p:nvSpPr>
        <p:spPr bwMode="auto">
          <a:xfrm rot="13463509">
            <a:off x="2859680" y="4115230"/>
            <a:ext cx="134237" cy="134237"/>
          </a:xfrm>
          <a:prstGeom prst="corner">
            <a:avLst>
              <a:gd name="adj1" fmla="val 11017"/>
              <a:gd name="adj2" fmla="val 11017"/>
            </a:avLst>
          </a:prstGeom>
          <a:solidFill>
            <a:srgbClr val="002060"/>
          </a:solidFill>
          <a:ln w="9525" cap="flat" cmpd="sng" algn="ctr">
            <a:solidFill>
              <a:srgbClr val="00206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8867DB2D-2EDE-4723-B28D-43F570584B0C}"/>
              </a:ext>
            </a:extLst>
          </p:cNvPr>
          <p:cNvSpPr/>
          <p:nvPr/>
        </p:nvSpPr>
        <p:spPr bwMode="auto">
          <a:xfrm>
            <a:off x="2677236" y="2000812"/>
            <a:ext cx="465152" cy="465152"/>
          </a:xfrm>
          <a:prstGeom prst="ellipse">
            <a:avLst/>
          </a:prstGeom>
          <a:solidFill>
            <a:schemeClr val="bg1">
              <a:lumMod val="9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mn-ea"/>
              <a:cs typeface="Segoe UI" panose="020B0502040204020203" pitchFamily="34" charset="0"/>
            </a:endParaRPr>
          </a:p>
        </p:txBody>
      </p:sp>
      <p:cxnSp>
        <p:nvCxnSpPr>
          <p:cNvPr id="110" name="Straight Connector 109">
            <a:extLst>
              <a:ext uri="{FF2B5EF4-FFF2-40B4-BE49-F238E27FC236}">
                <a16:creationId xmlns:a16="http://schemas.microsoft.com/office/drawing/2014/main" id="{4CC3CECC-8167-4CA7-893F-60A2D1862475}"/>
              </a:ext>
            </a:extLst>
          </p:cNvPr>
          <p:cNvCxnSpPr>
            <a:cxnSpLocks/>
          </p:cNvCxnSpPr>
          <p:nvPr/>
        </p:nvCxnSpPr>
        <p:spPr>
          <a:xfrm>
            <a:off x="2803179" y="2233388"/>
            <a:ext cx="190008" cy="0"/>
          </a:xfrm>
          <a:prstGeom prst="line">
            <a:avLst/>
          </a:prstGeom>
          <a:noFill/>
          <a:ln w="19050" cap="flat" cmpd="sng" algn="ctr">
            <a:solidFill>
              <a:srgbClr val="002060"/>
            </a:solidFill>
            <a:prstDash val="solid"/>
            <a:headEnd type="none"/>
            <a:tailEnd type="none"/>
          </a:ln>
          <a:effectLst/>
        </p:spPr>
      </p:cxnSp>
      <p:sp>
        <p:nvSpPr>
          <p:cNvPr id="111" name="L-Shape 110">
            <a:extLst>
              <a:ext uri="{FF2B5EF4-FFF2-40B4-BE49-F238E27FC236}">
                <a16:creationId xmlns:a16="http://schemas.microsoft.com/office/drawing/2014/main" id="{CA888DE6-FC75-4109-BE5C-D284712AA1F5}"/>
              </a:ext>
            </a:extLst>
          </p:cNvPr>
          <p:cNvSpPr/>
          <p:nvPr/>
        </p:nvSpPr>
        <p:spPr bwMode="auto">
          <a:xfrm rot="13463509">
            <a:off x="2851721" y="2166270"/>
            <a:ext cx="134237" cy="134237"/>
          </a:xfrm>
          <a:prstGeom prst="corner">
            <a:avLst>
              <a:gd name="adj1" fmla="val 11017"/>
              <a:gd name="adj2" fmla="val 11017"/>
            </a:avLst>
          </a:prstGeom>
          <a:solidFill>
            <a:srgbClr val="002060"/>
          </a:solidFill>
          <a:ln w="9525" cap="flat" cmpd="sng" algn="ctr">
            <a:solidFill>
              <a:srgbClr val="00206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EAEC0E20-1F5B-4BA4-B930-B33B84B1EFB0}"/>
              </a:ext>
            </a:extLst>
          </p:cNvPr>
          <p:cNvSpPr/>
          <p:nvPr/>
        </p:nvSpPr>
        <p:spPr bwMode="auto">
          <a:xfrm>
            <a:off x="2685195" y="5244235"/>
            <a:ext cx="465152" cy="465152"/>
          </a:xfrm>
          <a:prstGeom prst="ellipse">
            <a:avLst/>
          </a:prstGeom>
          <a:solidFill>
            <a:schemeClr val="bg1">
              <a:lumMod val="9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mn-ea"/>
              <a:cs typeface="Segoe UI" panose="020B0502040204020203" pitchFamily="34" charset="0"/>
            </a:endParaRPr>
          </a:p>
        </p:txBody>
      </p:sp>
      <p:cxnSp>
        <p:nvCxnSpPr>
          <p:cNvPr id="113" name="Straight Connector 112">
            <a:extLst>
              <a:ext uri="{FF2B5EF4-FFF2-40B4-BE49-F238E27FC236}">
                <a16:creationId xmlns:a16="http://schemas.microsoft.com/office/drawing/2014/main" id="{8186F3F4-9922-4979-9E0C-575060066E4B}"/>
              </a:ext>
            </a:extLst>
          </p:cNvPr>
          <p:cNvCxnSpPr>
            <a:cxnSpLocks/>
          </p:cNvCxnSpPr>
          <p:nvPr/>
        </p:nvCxnSpPr>
        <p:spPr>
          <a:xfrm>
            <a:off x="2811138" y="5476811"/>
            <a:ext cx="190008" cy="0"/>
          </a:xfrm>
          <a:prstGeom prst="line">
            <a:avLst/>
          </a:prstGeom>
          <a:noFill/>
          <a:ln w="19050" cap="flat" cmpd="sng" algn="ctr">
            <a:solidFill>
              <a:srgbClr val="002060"/>
            </a:solidFill>
            <a:prstDash val="solid"/>
            <a:headEnd type="none"/>
            <a:tailEnd type="none"/>
          </a:ln>
          <a:effectLst/>
        </p:spPr>
      </p:cxnSp>
      <p:sp>
        <p:nvSpPr>
          <p:cNvPr id="114" name="L-Shape 113">
            <a:extLst>
              <a:ext uri="{FF2B5EF4-FFF2-40B4-BE49-F238E27FC236}">
                <a16:creationId xmlns:a16="http://schemas.microsoft.com/office/drawing/2014/main" id="{70060CB0-B2D5-4D6E-A046-3A66DD23890E}"/>
              </a:ext>
            </a:extLst>
          </p:cNvPr>
          <p:cNvSpPr/>
          <p:nvPr/>
        </p:nvSpPr>
        <p:spPr bwMode="auto">
          <a:xfrm rot="13463509">
            <a:off x="2859680" y="5409693"/>
            <a:ext cx="134237" cy="134237"/>
          </a:xfrm>
          <a:prstGeom prst="corner">
            <a:avLst>
              <a:gd name="adj1" fmla="val 11017"/>
              <a:gd name="adj2" fmla="val 11017"/>
            </a:avLst>
          </a:prstGeom>
          <a:solidFill>
            <a:srgbClr val="002060"/>
          </a:solidFill>
          <a:ln w="9525" cap="flat" cmpd="sng" algn="ctr">
            <a:solidFill>
              <a:srgbClr val="00206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Segoe UI" panose="020B0502040204020203" pitchFamily="34" charset="0"/>
              <a:cs typeface="Segoe UI" panose="020B0502040204020203" pitchFamily="34" charset="0"/>
            </a:endParaRPr>
          </a:p>
        </p:txBody>
      </p:sp>
      <p:sp>
        <p:nvSpPr>
          <p:cNvPr id="115" name="Title 3">
            <a:extLst>
              <a:ext uri="{FF2B5EF4-FFF2-40B4-BE49-F238E27FC236}">
                <a16:creationId xmlns:a16="http://schemas.microsoft.com/office/drawing/2014/main" id="{F740F2E6-64C6-451F-ABD6-F8A80E882D75}"/>
              </a:ext>
            </a:extLst>
          </p:cNvPr>
          <p:cNvSpPr txBox="1">
            <a:spLocks/>
          </p:cNvSpPr>
          <p:nvPr/>
        </p:nvSpPr>
        <p:spPr>
          <a:xfrm>
            <a:off x="269239" y="569633"/>
            <a:ext cx="11922761" cy="114576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IN" sz="4400" b="1" i="0" u="none" strike="noStrike" kern="1200" cap="none" spc="-100" normalizeH="0" baseline="0" noProof="0">
                <a:ln w="3175">
                  <a:noFill/>
                </a:ln>
                <a:solidFill>
                  <a:srgbClr val="505050"/>
                </a:solidFill>
                <a:effectLst/>
                <a:uLnTx/>
                <a:uFillTx/>
                <a:ea typeface="+mn-ea"/>
                <a:cs typeface="Segoe UI" pitchFamily="34" charset="0"/>
              </a:rPr>
              <a:t>Partner Ecosystem Growth Plan</a:t>
            </a:r>
          </a:p>
        </p:txBody>
      </p:sp>
      <p:sp>
        <p:nvSpPr>
          <p:cNvPr id="38" name="Text Placeholder 3">
            <a:extLst>
              <a:ext uri="{FF2B5EF4-FFF2-40B4-BE49-F238E27FC236}">
                <a16:creationId xmlns:a16="http://schemas.microsoft.com/office/drawing/2014/main" id="{26508605-AF30-4D27-ACCA-5C7A8E5323DC}"/>
              </a:ext>
            </a:extLst>
          </p:cNvPr>
          <p:cNvSpPr txBox="1">
            <a:spLocks/>
          </p:cNvSpPr>
          <p:nvPr/>
        </p:nvSpPr>
        <p:spPr>
          <a:xfrm>
            <a:off x="3639161" y="4475908"/>
            <a:ext cx="8047614"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rPr>
              <a:t>Partner led training targeted training, “partner wins”, use cases</a:t>
            </a:r>
          </a:p>
        </p:txBody>
      </p:sp>
      <p:sp>
        <p:nvSpPr>
          <p:cNvPr id="39" name="Text Placeholder 3">
            <a:extLst>
              <a:ext uri="{FF2B5EF4-FFF2-40B4-BE49-F238E27FC236}">
                <a16:creationId xmlns:a16="http://schemas.microsoft.com/office/drawing/2014/main" id="{62E9EB60-EBE0-49C2-939E-09B2E87391CB}"/>
              </a:ext>
            </a:extLst>
          </p:cNvPr>
          <p:cNvSpPr txBox="1">
            <a:spLocks/>
          </p:cNvSpPr>
          <p:nvPr/>
        </p:nvSpPr>
        <p:spPr>
          <a:xfrm>
            <a:off x="898086" y="4488487"/>
            <a:ext cx="1542700"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0C0"/>
                </a:solidFill>
                <a:effectLst/>
                <a:uLnTx/>
                <a:uFillTx/>
                <a:latin typeface="Segoe UI Semilight"/>
                <a:ea typeface="+mn-ea"/>
                <a:cs typeface="Segoe UI" panose="020B0502040204020203" pitchFamily="34" charset="0"/>
              </a:rPr>
              <a:t>Accelerate</a:t>
            </a:r>
          </a:p>
        </p:txBody>
      </p:sp>
      <p:sp>
        <p:nvSpPr>
          <p:cNvPr id="40" name="Oval 39">
            <a:extLst>
              <a:ext uri="{FF2B5EF4-FFF2-40B4-BE49-F238E27FC236}">
                <a16:creationId xmlns:a16="http://schemas.microsoft.com/office/drawing/2014/main" id="{2F064280-EC07-4FBD-9FEC-9C7F126BB1A7}"/>
              </a:ext>
            </a:extLst>
          </p:cNvPr>
          <p:cNvSpPr/>
          <p:nvPr/>
        </p:nvSpPr>
        <p:spPr bwMode="auto">
          <a:xfrm>
            <a:off x="2685195" y="4569515"/>
            <a:ext cx="465152" cy="465152"/>
          </a:xfrm>
          <a:prstGeom prst="ellipse">
            <a:avLst/>
          </a:prstGeom>
          <a:solidFill>
            <a:schemeClr val="bg1">
              <a:lumMod val="9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mn-ea"/>
              <a:cs typeface="Segoe UI" panose="020B0502040204020203" pitchFamily="34" charset="0"/>
            </a:endParaRPr>
          </a:p>
        </p:txBody>
      </p:sp>
      <p:cxnSp>
        <p:nvCxnSpPr>
          <p:cNvPr id="41" name="Straight Connector 40">
            <a:extLst>
              <a:ext uri="{FF2B5EF4-FFF2-40B4-BE49-F238E27FC236}">
                <a16:creationId xmlns:a16="http://schemas.microsoft.com/office/drawing/2014/main" id="{A6242AB9-E488-4AD1-9A09-0D0E9CA43F1E}"/>
              </a:ext>
            </a:extLst>
          </p:cNvPr>
          <p:cNvCxnSpPr>
            <a:cxnSpLocks/>
          </p:cNvCxnSpPr>
          <p:nvPr/>
        </p:nvCxnSpPr>
        <p:spPr>
          <a:xfrm>
            <a:off x="2811138" y="4802091"/>
            <a:ext cx="190008" cy="0"/>
          </a:xfrm>
          <a:prstGeom prst="line">
            <a:avLst/>
          </a:prstGeom>
          <a:noFill/>
          <a:ln w="19050" cap="flat" cmpd="sng" algn="ctr">
            <a:solidFill>
              <a:srgbClr val="002060"/>
            </a:solidFill>
            <a:prstDash val="solid"/>
            <a:headEnd type="none"/>
            <a:tailEnd type="none"/>
          </a:ln>
          <a:effectLst/>
        </p:spPr>
      </p:cxnSp>
      <p:sp>
        <p:nvSpPr>
          <p:cNvPr id="42" name="L-Shape 41">
            <a:extLst>
              <a:ext uri="{FF2B5EF4-FFF2-40B4-BE49-F238E27FC236}">
                <a16:creationId xmlns:a16="http://schemas.microsoft.com/office/drawing/2014/main" id="{9E734534-E38A-41D4-A5DB-F0D9742F898C}"/>
              </a:ext>
            </a:extLst>
          </p:cNvPr>
          <p:cNvSpPr/>
          <p:nvPr/>
        </p:nvSpPr>
        <p:spPr bwMode="auto">
          <a:xfrm rot="13463509">
            <a:off x="2859680" y="4734973"/>
            <a:ext cx="134237" cy="134237"/>
          </a:xfrm>
          <a:prstGeom prst="corner">
            <a:avLst>
              <a:gd name="adj1" fmla="val 11017"/>
              <a:gd name="adj2" fmla="val 11017"/>
            </a:avLst>
          </a:prstGeom>
          <a:solidFill>
            <a:srgbClr val="002060"/>
          </a:solidFill>
          <a:ln w="9525" cap="flat" cmpd="sng" algn="ctr">
            <a:solidFill>
              <a:srgbClr val="00206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Segoe UI" panose="020B0502040204020203" pitchFamily="34" charset="0"/>
              <a:cs typeface="Segoe UI" panose="020B0502040204020203" pitchFamily="34" charset="0"/>
            </a:endParaRPr>
          </a:p>
        </p:txBody>
      </p:sp>
      <p:sp>
        <p:nvSpPr>
          <p:cNvPr id="43" name="Text Placeholder 3">
            <a:extLst>
              <a:ext uri="{FF2B5EF4-FFF2-40B4-BE49-F238E27FC236}">
                <a16:creationId xmlns:a16="http://schemas.microsoft.com/office/drawing/2014/main" id="{4ED08000-D427-4DE1-84BC-DF5F9C6F86E7}"/>
              </a:ext>
            </a:extLst>
          </p:cNvPr>
          <p:cNvSpPr txBox="1">
            <a:spLocks/>
          </p:cNvSpPr>
          <p:nvPr/>
        </p:nvSpPr>
        <p:spPr>
          <a:xfrm>
            <a:off x="3631204" y="3189410"/>
            <a:ext cx="8185127"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Segoe UI" panose="020B0502040204020203" pitchFamily="34" charset="0"/>
            </a:endParaRPr>
          </a:p>
        </p:txBody>
      </p:sp>
      <p:sp>
        <p:nvSpPr>
          <p:cNvPr id="44" name="Text Placeholder 3">
            <a:extLst>
              <a:ext uri="{FF2B5EF4-FFF2-40B4-BE49-F238E27FC236}">
                <a16:creationId xmlns:a16="http://schemas.microsoft.com/office/drawing/2014/main" id="{9C567700-B196-429C-8426-429F219D9CE7}"/>
              </a:ext>
            </a:extLst>
          </p:cNvPr>
          <p:cNvSpPr txBox="1">
            <a:spLocks/>
          </p:cNvSpPr>
          <p:nvPr/>
        </p:nvSpPr>
        <p:spPr>
          <a:xfrm>
            <a:off x="898086" y="3195554"/>
            <a:ext cx="1542700" cy="640080"/>
          </a:xfrm>
          <a:prstGeom prst="rect">
            <a:avLst/>
          </a:prstGeom>
        </p:spPr>
        <p:txBody>
          <a:bodyPr vert="horz" wrap="square" lIns="0" tIns="0" rIns="0" bIns="0" rtlCol="0" anchor="ctr">
            <a:no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2241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481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72298"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896397"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0C0"/>
                </a:solidFill>
                <a:effectLst/>
                <a:uLnTx/>
                <a:uFillTx/>
                <a:latin typeface="Segoe UI Semilight"/>
                <a:ea typeface="+mn-ea"/>
                <a:cs typeface="Segoe UI" panose="020B0502040204020203" pitchFamily="34" charset="0"/>
              </a:rPr>
              <a:t>Develop</a:t>
            </a:r>
          </a:p>
        </p:txBody>
      </p:sp>
      <p:sp>
        <p:nvSpPr>
          <p:cNvPr id="45" name="Oval 44">
            <a:extLst>
              <a:ext uri="{FF2B5EF4-FFF2-40B4-BE49-F238E27FC236}">
                <a16:creationId xmlns:a16="http://schemas.microsoft.com/office/drawing/2014/main" id="{E1EEA18A-840A-45F6-A0FA-90574C4CECE3}"/>
              </a:ext>
            </a:extLst>
          </p:cNvPr>
          <p:cNvSpPr/>
          <p:nvPr/>
        </p:nvSpPr>
        <p:spPr bwMode="auto">
          <a:xfrm>
            <a:off x="2677236" y="3283018"/>
            <a:ext cx="465152" cy="465152"/>
          </a:xfrm>
          <a:prstGeom prst="ellipse">
            <a:avLst/>
          </a:prstGeom>
          <a:solidFill>
            <a:schemeClr val="bg1">
              <a:lumMod val="95000"/>
            </a:schemeClr>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mn-ea"/>
              <a:cs typeface="Segoe UI" panose="020B0502040204020203" pitchFamily="34" charset="0"/>
            </a:endParaRPr>
          </a:p>
        </p:txBody>
      </p:sp>
      <p:cxnSp>
        <p:nvCxnSpPr>
          <p:cNvPr id="46" name="Straight Connector 45">
            <a:extLst>
              <a:ext uri="{FF2B5EF4-FFF2-40B4-BE49-F238E27FC236}">
                <a16:creationId xmlns:a16="http://schemas.microsoft.com/office/drawing/2014/main" id="{AEAE1F65-4A85-4D51-BE00-73245E54C270}"/>
              </a:ext>
            </a:extLst>
          </p:cNvPr>
          <p:cNvCxnSpPr>
            <a:cxnSpLocks/>
          </p:cNvCxnSpPr>
          <p:nvPr/>
        </p:nvCxnSpPr>
        <p:spPr>
          <a:xfrm>
            <a:off x="2803179" y="3515594"/>
            <a:ext cx="190008" cy="0"/>
          </a:xfrm>
          <a:prstGeom prst="line">
            <a:avLst/>
          </a:prstGeom>
          <a:noFill/>
          <a:ln w="19050" cap="flat" cmpd="sng" algn="ctr">
            <a:solidFill>
              <a:srgbClr val="002060"/>
            </a:solidFill>
            <a:prstDash val="solid"/>
            <a:headEnd type="none"/>
            <a:tailEnd type="none"/>
          </a:ln>
          <a:effectLst/>
        </p:spPr>
      </p:cxnSp>
      <p:sp>
        <p:nvSpPr>
          <p:cNvPr id="47" name="L-Shape 46">
            <a:extLst>
              <a:ext uri="{FF2B5EF4-FFF2-40B4-BE49-F238E27FC236}">
                <a16:creationId xmlns:a16="http://schemas.microsoft.com/office/drawing/2014/main" id="{3925DFCE-97AE-44A1-BB65-09E684A2F837}"/>
              </a:ext>
            </a:extLst>
          </p:cNvPr>
          <p:cNvSpPr/>
          <p:nvPr/>
        </p:nvSpPr>
        <p:spPr bwMode="auto">
          <a:xfrm rot="13463509">
            <a:off x="2851721" y="3448476"/>
            <a:ext cx="134237" cy="134237"/>
          </a:xfrm>
          <a:prstGeom prst="corner">
            <a:avLst>
              <a:gd name="adj1" fmla="val 11017"/>
              <a:gd name="adj2" fmla="val 11017"/>
            </a:avLst>
          </a:prstGeom>
          <a:solidFill>
            <a:srgbClr val="002060"/>
          </a:solidFill>
          <a:ln w="9525" cap="flat" cmpd="sng" algn="ctr">
            <a:solidFill>
              <a:srgbClr val="00206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505050">
                  <a:lumMod val="75000"/>
                  <a:lumOff val="25000"/>
                </a:srgbClr>
              </a:solidFill>
              <a:effectLst/>
              <a:uLnTx/>
              <a:uFillTx/>
              <a:latin typeface="Segoe UI Semilight"/>
              <a:ea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8E542A48-01C7-4A9B-BDAA-97BA10C3E0F4}"/>
              </a:ext>
            </a:extLst>
          </p:cNvPr>
          <p:cNvSpPr/>
          <p:nvPr/>
        </p:nvSpPr>
        <p:spPr>
          <a:xfrm>
            <a:off x="3502571" y="3328329"/>
            <a:ext cx="7822015" cy="40011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05050">
                    <a:lumMod val="75000"/>
                    <a:lumOff val="25000"/>
                  </a:srgbClr>
                </a:solidFill>
                <a:effectLst/>
                <a:uLnTx/>
                <a:uFillTx/>
                <a:latin typeface="Segoe UI Semilight"/>
                <a:ea typeface="+mn-ea"/>
                <a:cs typeface="+mn-cs"/>
              </a:rPr>
              <a:t>Training and evangelism to accelerate partner certs and capabilities.</a:t>
            </a:r>
          </a:p>
        </p:txBody>
      </p:sp>
    </p:spTree>
    <p:extLst>
      <p:ext uri="{BB962C8B-B14F-4D97-AF65-F5344CB8AC3E}">
        <p14:creationId xmlns:p14="http://schemas.microsoft.com/office/powerpoint/2010/main" val="922970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C67AE9-1733-4285-B569-33A68F7FB594}"/>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Engagement &amp; Execution Guide</a:t>
            </a:r>
          </a:p>
        </p:txBody>
      </p:sp>
    </p:spTree>
    <p:extLst>
      <p:ext uri="{BB962C8B-B14F-4D97-AF65-F5344CB8AC3E}">
        <p14:creationId xmlns:p14="http://schemas.microsoft.com/office/powerpoint/2010/main" val="354856564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8BFC0159-1B6E-464B-95CF-FF878027DDBB}"/>
              </a:ext>
            </a:extLst>
          </p:cNvPr>
          <p:cNvSpPr txBox="1"/>
          <p:nvPr/>
        </p:nvSpPr>
        <p:spPr>
          <a:xfrm>
            <a:off x="1815004" y="2754715"/>
            <a:ext cx="2080291"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Confirm new Engagement is opened in MSX and tagged with the relevant AI workload</a:t>
            </a:r>
          </a:p>
          <a:p>
            <a:pPr marL="228600" lvl="1" indent="-114300" defTabSz="914367">
              <a:lnSpc>
                <a:spcPct val="90000"/>
              </a:lnSpc>
              <a:buSzPct val="90000"/>
              <a:buFontTx/>
              <a:buChar char="-"/>
              <a:defRPr/>
            </a:pPr>
            <a:r>
              <a:rPr kumimoji="0" lang="en-US" sz="1000" b="1"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rPr>
              <a:t>Data Azure: Knowledge Mining </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Conduct customer-facing Discovery session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Introduce “Envision the Art of the Possible” session or other face-to-face meeting</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Identify potential scenarios for use of Azure Search, Cognitive Search, or other AI scenarios</a:t>
            </a:r>
          </a:p>
        </p:txBody>
      </p:sp>
      <p:sp>
        <p:nvSpPr>
          <p:cNvPr id="18" name="TextBox 17">
            <a:extLst>
              <a:ext uri="{FF2B5EF4-FFF2-40B4-BE49-F238E27FC236}">
                <a16:creationId xmlns:a16="http://schemas.microsoft.com/office/drawing/2014/main" id="{898B8501-4BB6-4A85-86C0-5D1EF84D1A4F}"/>
              </a:ext>
            </a:extLst>
          </p:cNvPr>
          <p:cNvSpPr txBox="1"/>
          <p:nvPr/>
        </p:nvSpPr>
        <p:spPr>
          <a:xfrm>
            <a:off x="3605419" y="2754715"/>
            <a:ext cx="1932725"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Envisioning Workshop with customer</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Leverage SSP/TSP and other resour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Validate and prioritize scenario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Leverage Partners or MCS to deliver envisioning session</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22" name="TextBox 21">
            <a:extLst>
              <a:ext uri="{FF2B5EF4-FFF2-40B4-BE49-F238E27FC236}">
                <a16:creationId xmlns:a16="http://schemas.microsoft.com/office/drawing/2014/main" id="{F3EE5F3D-B98D-4C3D-8E0D-DA9D74E74CB1}"/>
              </a:ext>
            </a:extLst>
          </p:cNvPr>
          <p:cNvSpPr txBox="1"/>
          <p:nvPr/>
        </p:nvSpPr>
        <p:spPr>
          <a:xfrm>
            <a:off x="5314074" y="2754715"/>
            <a:ext cx="1834280"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Perform Business Value Assessmen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Quantify potential economic value</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nalytic maturity assessmen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Determine customer’s feasibility and roadmap</a:t>
            </a:r>
          </a:p>
        </p:txBody>
      </p:sp>
      <p:sp>
        <p:nvSpPr>
          <p:cNvPr id="24" name="TextBox 23">
            <a:extLst>
              <a:ext uri="{FF2B5EF4-FFF2-40B4-BE49-F238E27FC236}">
                <a16:creationId xmlns:a16="http://schemas.microsoft.com/office/drawing/2014/main" id="{7582EDDC-C114-49BE-8A82-6A6E551FE834}"/>
              </a:ext>
            </a:extLst>
          </p:cNvPr>
          <p:cNvSpPr txBox="1"/>
          <p:nvPr/>
        </p:nvSpPr>
        <p:spPr>
          <a:xfrm>
            <a:off x="9987043" y="2754715"/>
            <a:ext cx="1917076"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Train customers on how to best leverage Azure AI </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Integrate additional Azure services into the proces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Explore new solution areas where we can apply Azure servi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Develop ongoing care and management processes for customer</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Regular checkpoints with customer on usage</a:t>
            </a:r>
          </a:p>
        </p:txBody>
      </p:sp>
      <p:sp>
        <p:nvSpPr>
          <p:cNvPr id="29" name="TextBox 28">
            <a:extLst>
              <a:ext uri="{FF2B5EF4-FFF2-40B4-BE49-F238E27FC236}">
                <a16:creationId xmlns:a16="http://schemas.microsoft.com/office/drawing/2014/main" id="{9BBF92AE-F61C-460D-B370-8C83D0E5C44B}"/>
              </a:ext>
            </a:extLst>
          </p:cNvPr>
          <p:cNvSpPr txBox="1"/>
          <p:nvPr/>
        </p:nvSpPr>
        <p:spPr>
          <a:xfrm>
            <a:off x="194890" y="2754715"/>
            <a:ext cx="1932726"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Territory Planning</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ccount Targeting</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Targeted </a:t>
            </a:r>
            <a:r>
              <a:rPr kumimoji="0" lang="en-US" sz="1000" b="1" i="0" u="none" strike="noStrike" kern="1200" cap="none" spc="0" normalizeH="0" baseline="0" noProof="0" err="1">
                <a:ln>
                  <a:noFill/>
                </a:ln>
                <a:solidFill>
                  <a:srgbClr val="505050">
                    <a:lumMod val="75000"/>
                  </a:srgbClr>
                </a:solidFill>
                <a:effectLst/>
                <a:uLnTx/>
                <a:uFillTx/>
                <a:latin typeface="Calibri" panose="020F0502020204030204" pitchFamily="34" charset="0"/>
                <a:ea typeface="+mn-ea"/>
                <a:cs typeface="Calibri" panose="020F0502020204030204" pitchFamily="34" charset="0"/>
              </a:rPr>
              <a:t>Opptys</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339725" marR="0" lvl="1" indent="-112713" algn="l" defTabSz="914367" rtl="0" eaLnBrk="1" fontAlgn="auto" latinLnBrk="0" hangingPunct="1">
              <a:lnSpc>
                <a:spcPct val="90000"/>
              </a:lnSpc>
              <a:spcBef>
                <a:spcPts val="0"/>
              </a:spcBef>
              <a:spcAft>
                <a:spcPts val="0"/>
              </a:spcAft>
              <a:buClrTx/>
              <a:buSzPct val="90000"/>
              <a:buFontTx/>
              <a:buChar char="-"/>
              <a:tabLst>
                <a:tab pos="914400" algn="l"/>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HiPo/High Propensity</a:t>
            </a:r>
          </a:p>
          <a:p>
            <a:pPr marL="339725" marR="0" lvl="1" indent="-112713" algn="l" defTabSz="914367" rtl="0" eaLnBrk="1" fontAlgn="auto" latinLnBrk="0" hangingPunct="1">
              <a:lnSpc>
                <a:spcPct val="90000"/>
              </a:lnSpc>
              <a:spcBef>
                <a:spcPts val="0"/>
              </a:spcBef>
              <a:spcAft>
                <a:spcPts val="0"/>
              </a:spcAft>
              <a:buClrTx/>
              <a:buSzPct val="90000"/>
              <a:buFontTx/>
              <a:buChar char="-"/>
              <a:tabLst>
                <a:tab pos="914400" algn="l"/>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Existing Analytics customers</a:t>
            </a:r>
          </a:p>
          <a:p>
            <a:pPr marL="339725" marR="0" lvl="1" indent="-112713" algn="l" defTabSz="914367" rtl="0" eaLnBrk="1" fontAlgn="auto" latinLnBrk="0" hangingPunct="1">
              <a:lnSpc>
                <a:spcPct val="90000"/>
              </a:lnSpc>
              <a:spcBef>
                <a:spcPts val="0"/>
              </a:spcBef>
              <a:spcAft>
                <a:spcPts val="0"/>
              </a:spcAft>
              <a:buClrTx/>
              <a:buSzPct val="90000"/>
              <a:buFontTx/>
              <a:buChar char="-"/>
              <a:tabLst>
                <a:tab pos="914400" algn="l"/>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SQL DW/SQL DB Customers</a:t>
            </a:r>
          </a:p>
        </p:txBody>
      </p:sp>
      <p:sp>
        <p:nvSpPr>
          <p:cNvPr id="5" name="TextBox 4">
            <a:extLst>
              <a:ext uri="{FF2B5EF4-FFF2-40B4-BE49-F238E27FC236}">
                <a16:creationId xmlns:a16="http://schemas.microsoft.com/office/drawing/2014/main" id="{1993B46F-8DAC-4F18-878D-2C3A14D042E6}"/>
              </a:ext>
            </a:extLst>
          </p:cNvPr>
          <p:cNvSpPr txBox="1"/>
          <p:nvPr/>
        </p:nvSpPr>
        <p:spPr>
          <a:xfrm rot="16200000">
            <a:off x="-276268" y="1996698"/>
            <a:ext cx="971248" cy="544765"/>
          </a:xfrm>
          <a:prstGeom prst="rect">
            <a:avLst/>
          </a:prstGeom>
          <a:noFill/>
        </p:spPr>
        <p:txBody>
          <a:bodyPr wrap="square" lIns="182880" tIns="182880" rIns="182880" bIns="146304" rtlCol="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ROLES</a:t>
            </a:r>
          </a:p>
        </p:txBody>
      </p:sp>
      <p:sp>
        <p:nvSpPr>
          <p:cNvPr id="36" name="TextBox 35">
            <a:extLst>
              <a:ext uri="{FF2B5EF4-FFF2-40B4-BE49-F238E27FC236}">
                <a16:creationId xmlns:a16="http://schemas.microsoft.com/office/drawing/2014/main" id="{AB44F03A-ECAF-413B-BB2A-27FDB0EEA567}"/>
              </a:ext>
            </a:extLst>
          </p:cNvPr>
          <p:cNvSpPr txBox="1"/>
          <p:nvPr/>
        </p:nvSpPr>
        <p:spPr>
          <a:xfrm>
            <a:off x="301360" y="2104068"/>
            <a:ext cx="1803181" cy="1168012"/>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E, DA, SE, ATS, SSP, SSSP, ISE, CSM, ECM</a:t>
            </a: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0" marR="0" lvl="0" indent="0" algn="l" defTabSz="228600" rtl="0" eaLnBrk="1" fontAlgn="auto" latinLnBrk="0" hangingPunct="1">
              <a:lnSpc>
                <a:spcPct val="90000"/>
              </a:lnSpc>
              <a:spcBef>
                <a:spcPts val="0"/>
              </a:spcBef>
              <a:spcAft>
                <a:spcPts val="0"/>
              </a:spcAft>
              <a:buClrTx/>
              <a:buSzPct val="90000"/>
              <a:buFontTx/>
              <a:buNone/>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40" name="Arrow: Chevron 39">
            <a:extLst>
              <a:ext uri="{FF2B5EF4-FFF2-40B4-BE49-F238E27FC236}">
                <a16:creationId xmlns:a16="http://schemas.microsoft.com/office/drawing/2014/main" id="{2F22A198-CB19-4DEE-B588-E663B9B86DE0}"/>
              </a:ext>
            </a:extLst>
          </p:cNvPr>
          <p:cNvSpPr/>
          <p:nvPr/>
        </p:nvSpPr>
        <p:spPr bwMode="auto">
          <a:xfrm>
            <a:off x="10042615" y="1286520"/>
            <a:ext cx="1722698" cy="552717"/>
          </a:xfrm>
          <a:prstGeom prst="chevron">
            <a:avLst/>
          </a:prstGeom>
          <a:solidFill>
            <a:srgbClr val="000C3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REALIZE VALUE</a:t>
            </a:r>
          </a:p>
        </p:txBody>
      </p:sp>
      <p:sp>
        <p:nvSpPr>
          <p:cNvPr id="41" name="Arrow: Chevron 40">
            <a:extLst>
              <a:ext uri="{FF2B5EF4-FFF2-40B4-BE49-F238E27FC236}">
                <a16:creationId xmlns:a16="http://schemas.microsoft.com/office/drawing/2014/main" id="{F77F0FA1-0EC5-4040-89D4-094E68472479}"/>
              </a:ext>
            </a:extLst>
          </p:cNvPr>
          <p:cNvSpPr/>
          <p:nvPr/>
        </p:nvSpPr>
        <p:spPr bwMode="auto">
          <a:xfrm>
            <a:off x="8442420" y="1286520"/>
            <a:ext cx="1722698" cy="552717"/>
          </a:xfrm>
          <a:prstGeom prst="chevron">
            <a:avLst/>
          </a:prstGeom>
          <a:solidFill>
            <a:srgbClr val="0012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ONBOARD</a:t>
            </a:r>
          </a:p>
        </p:txBody>
      </p:sp>
      <p:sp>
        <p:nvSpPr>
          <p:cNvPr id="42" name="Arrow: Chevron 41">
            <a:extLst>
              <a:ext uri="{FF2B5EF4-FFF2-40B4-BE49-F238E27FC236}">
                <a16:creationId xmlns:a16="http://schemas.microsoft.com/office/drawing/2014/main" id="{D30403ED-52A3-48F3-B734-ECD4B1B7FA94}"/>
              </a:ext>
            </a:extLst>
          </p:cNvPr>
          <p:cNvSpPr/>
          <p:nvPr/>
        </p:nvSpPr>
        <p:spPr bwMode="auto">
          <a:xfrm>
            <a:off x="6842225" y="1286520"/>
            <a:ext cx="1722698" cy="552717"/>
          </a:xfrm>
          <a:prstGeom prst="chevron">
            <a:avLst/>
          </a:prstGeom>
          <a:solidFill>
            <a:srgbClr val="001FA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COMMIT</a:t>
            </a:r>
          </a:p>
        </p:txBody>
      </p:sp>
      <p:sp>
        <p:nvSpPr>
          <p:cNvPr id="43" name="Arrow: Chevron 42">
            <a:extLst>
              <a:ext uri="{FF2B5EF4-FFF2-40B4-BE49-F238E27FC236}">
                <a16:creationId xmlns:a16="http://schemas.microsoft.com/office/drawing/2014/main" id="{B516A089-FF06-4AAB-AED9-10C344A325B1}"/>
              </a:ext>
            </a:extLst>
          </p:cNvPr>
          <p:cNvSpPr/>
          <p:nvPr/>
        </p:nvSpPr>
        <p:spPr bwMode="auto">
          <a:xfrm>
            <a:off x="5242030" y="1286520"/>
            <a:ext cx="1722698" cy="552717"/>
          </a:xfrm>
          <a:prstGeom prst="chevron">
            <a:avLst/>
          </a:prstGeom>
          <a:solidFill>
            <a:srgbClr val="0027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VALIDATE</a:t>
            </a:r>
          </a:p>
        </p:txBody>
      </p:sp>
      <p:sp>
        <p:nvSpPr>
          <p:cNvPr id="44" name="Arrow: Chevron 43">
            <a:extLst>
              <a:ext uri="{FF2B5EF4-FFF2-40B4-BE49-F238E27FC236}">
                <a16:creationId xmlns:a16="http://schemas.microsoft.com/office/drawing/2014/main" id="{7FB9895C-FFE1-4A6C-B685-7603FA9C76DF}"/>
              </a:ext>
            </a:extLst>
          </p:cNvPr>
          <p:cNvSpPr/>
          <p:nvPr/>
        </p:nvSpPr>
        <p:spPr bwMode="auto">
          <a:xfrm>
            <a:off x="3641834" y="1286520"/>
            <a:ext cx="1722698" cy="552717"/>
          </a:xfrm>
          <a:prstGeom prst="chevron">
            <a:avLst/>
          </a:prstGeom>
          <a:solidFill>
            <a:srgbClr val="335A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ENVISION</a:t>
            </a:r>
          </a:p>
        </p:txBody>
      </p:sp>
      <p:sp>
        <p:nvSpPr>
          <p:cNvPr id="46" name="Arrow: Chevron 45">
            <a:extLst>
              <a:ext uri="{FF2B5EF4-FFF2-40B4-BE49-F238E27FC236}">
                <a16:creationId xmlns:a16="http://schemas.microsoft.com/office/drawing/2014/main" id="{95CC3C74-147D-4F10-8251-28C0F8D80514}"/>
              </a:ext>
            </a:extLst>
          </p:cNvPr>
          <p:cNvSpPr/>
          <p:nvPr/>
        </p:nvSpPr>
        <p:spPr bwMode="auto">
          <a:xfrm>
            <a:off x="2041638" y="1286520"/>
            <a:ext cx="1722698" cy="552717"/>
          </a:xfrm>
          <a:prstGeom prst="chevron">
            <a:avLst/>
          </a:prstGeom>
          <a:solidFill>
            <a:srgbClr val="5777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DISCOVERY</a:t>
            </a:r>
          </a:p>
        </p:txBody>
      </p:sp>
      <p:sp>
        <p:nvSpPr>
          <p:cNvPr id="47" name="Arrow: Chevron 46">
            <a:extLst>
              <a:ext uri="{FF2B5EF4-FFF2-40B4-BE49-F238E27FC236}">
                <a16:creationId xmlns:a16="http://schemas.microsoft.com/office/drawing/2014/main" id="{4C1D7685-6B16-4A55-A21E-863CAE8C5CBE}"/>
              </a:ext>
            </a:extLst>
          </p:cNvPr>
          <p:cNvSpPr/>
          <p:nvPr/>
        </p:nvSpPr>
        <p:spPr bwMode="auto">
          <a:xfrm>
            <a:off x="441442" y="1286520"/>
            <a:ext cx="1722698" cy="552717"/>
          </a:xfrm>
          <a:prstGeom prst="chevron">
            <a:avLst/>
          </a:prstGeom>
          <a:solidFill>
            <a:srgbClr val="99AC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pitchFamily="34" charset="0"/>
                <a:ea typeface="+mn-ea"/>
                <a:cs typeface="Calibri" panose="020F0502020204030204" pitchFamily="34" charset="0"/>
              </a:rPr>
              <a:t>PLANNING</a:t>
            </a:r>
          </a:p>
        </p:txBody>
      </p:sp>
      <p:sp>
        <p:nvSpPr>
          <p:cNvPr id="48" name="TextBox 47">
            <a:extLst>
              <a:ext uri="{FF2B5EF4-FFF2-40B4-BE49-F238E27FC236}">
                <a16:creationId xmlns:a16="http://schemas.microsoft.com/office/drawing/2014/main" id="{EF19B846-8A6F-42AE-8FEA-6333E52B1634}"/>
              </a:ext>
            </a:extLst>
          </p:cNvPr>
          <p:cNvSpPr txBox="1"/>
          <p:nvPr/>
        </p:nvSpPr>
        <p:spPr>
          <a:xfrm>
            <a:off x="1933013" y="2104069"/>
            <a:ext cx="1816701" cy="490594"/>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E, DA, ISE, ATS, SSP, SSSP, ECM, GBB</a:t>
            </a: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49" name="TextBox 48">
            <a:extLst>
              <a:ext uri="{FF2B5EF4-FFF2-40B4-BE49-F238E27FC236}">
                <a16:creationId xmlns:a16="http://schemas.microsoft.com/office/drawing/2014/main" id="{B463CC31-1559-4E43-992E-DD26B0FE2091}"/>
              </a:ext>
            </a:extLst>
          </p:cNvPr>
          <p:cNvSpPr txBox="1"/>
          <p:nvPr/>
        </p:nvSpPr>
        <p:spPr>
          <a:xfrm>
            <a:off x="3709859" y="2104068"/>
            <a:ext cx="1809915" cy="1168011"/>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E, DA, ISE, SSP, SSSP, TSP, GBB, CSE Architect, ECM, AI Ambassadors</a:t>
            </a: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50" name="TextBox 49">
            <a:extLst>
              <a:ext uri="{FF2B5EF4-FFF2-40B4-BE49-F238E27FC236}">
                <a16:creationId xmlns:a16="http://schemas.microsoft.com/office/drawing/2014/main" id="{FD3C63C3-32FE-4644-9099-B84FB1234000}"/>
              </a:ext>
            </a:extLst>
          </p:cNvPr>
          <p:cNvSpPr txBox="1"/>
          <p:nvPr/>
        </p:nvSpPr>
        <p:spPr>
          <a:xfrm>
            <a:off x="5363722" y="2104068"/>
            <a:ext cx="1893395" cy="1168010"/>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SSP, SSSP, DA, ATS, TSP, GBB CSE Architect, ECM, AE</a:t>
            </a: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51" name="TextBox 50">
            <a:extLst>
              <a:ext uri="{FF2B5EF4-FFF2-40B4-BE49-F238E27FC236}">
                <a16:creationId xmlns:a16="http://schemas.microsoft.com/office/drawing/2014/main" id="{BEE39390-7406-46DE-A69F-B8F64AFF7071}"/>
              </a:ext>
            </a:extLst>
          </p:cNvPr>
          <p:cNvSpPr txBox="1"/>
          <p:nvPr/>
        </p:nvSpPr>
        <p:spPr>
          <a:xfrm>
            <a:off x="6953205" y="2104068"/>
            <a:ext cx="1817223" cy="1168009"/>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E, SSP, SSSP, ECM</a:t>
            </a: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52" name="TextBox 51">
            <a:extLst>
              <a:ext uri="{FF2B5EF4-FFF2-40B4-BE49-F238E27FC236}">
                <a16:creationId xmlns:a16="http://schemas.microsoft.com/office/drawing/2014/main" id="{F146EA07-6E93-423E-A0FA-173F8C0A53E5}"/>
              </a:ext>
            </a:extLst>
          </p:cNvPr>
          <p:cNvSpPr txBox="1"/>
          <p:nvPr/>
        </p:nvSpPr>
        <p:spPr>
          <a:xfrm>
            <a:off x="8455827" y="2104068"/>
            <a:ext cx="1803446" cy="1168008"/>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E, ADE, TAM, CSM, xSA, DA, CSE</a:t>
            </a: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0" marR="0" lvl="0" indent="0" algn="l" defTabSz="914367" rtl="0" eaLnBrk="1" fontAlgn="auto" latinLnBrk="0" hangingPunct="1">
              <a:lnSpc>
                <a:spcPct val="90000"/>
              </a:lnSpc>
              <a:spcBef>
                <a:spcPts val="0"/>
              </a:spcBef>
              <a:spcAft>
                <a:spcPts val="0"/>
              </a:spcAft>
              <a:buClrTx/>
              <a:buSzPct val="90000"/>
              <a:buFontTx/>
              <a:buNone/>
              <a:tabLst>
                <a:tab pos="228600" algn="l"/>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	</a:t>
            </a:r>
          </a:p>
        </p:txBody>
      </p:sp>
      <p:sp>
        <p:nvSpPr>
          <p:cNvPr id="53" name="TextBox 52">
            <a:extLst>
              <a:ext uri="{FF2B5EF4-FFF2-40B4-BE49-F238E27FC236}">
                <a16:creationId xmlns:a16="http://schemas.microsoft.com/office/drawing/2014/main" id="{B2DA453B-FCF4-4DAD-B3C9-E04585BF07E4}"/>
              </a:ext>
            </a:extLst>
          </p:cNvPr>
          <p:cNvSpPr txBox="1"/>
          <p:nvPr/>
        </p:nvSpPr>
        <p:spPr>
          <a:xfrm>
            <a:off x="10091482" y="2104068"/>
            <a:ext cx="1812637" cy="1168008"/>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228600" rtl="0" eaLnBrk="1" fontAlgn="auto" latinLnBrk="0" hangingPunct="1">
              <a:lnSpc>
                <a:spcPct val="90000"/>
              </a:lnSpc>
              <a:spcBef>
                <a:spcPts val="0"/>
              </a:spcBef>
              <a:spcAft>
                <a:spcPts val="0"/>
              </a:spcAft>
              <a:buClrTx/>
              <a:buSzPct val="90000"/>
              <a:buFontTx/>
              <a:buChar char="-"/>
              <a:tabLst/>
              <a:defRPr/>
            </a:pPr>
            <a:r>
              <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CSM, DA, CI COE, MCS, Partners, CSE</a:t>
            </a:r>
          </a:p>
          <a:p>
            <a:pPr marL="171450" marR="0" lvl="0" indent="-171450" algn="l" defTabSz="228600" rtl="0" eaLnBrk="1" fontAlgn="auto" latinLnBrk="0" hangingPunct="1">
              <a:lnSpc>
                <a:spcPct val="90000"/>
              </a:lnSpc>
              <a:spcBef>
                <a:spcPts val="0"/>
              </a:spcBef>
              <a:spcAft>
                <a:spcPts val="0"/>
              </a:spcAft>
              <a:buClrTx/>
              <a:buSzPct val="90000"/>
              <a:buFontTx/>
              <a:buChar char="-"/>
              <a:tabLst/>
              <a:defRPr/>
            </a:pPr>
            <a:endParaRPr kumimoji="0" lang="pt-BR"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0" marR="0" lvl="0" indent="0" algn="l" defTabSz="398463" rtl="0" eaLnBrk="1" fontAlgn="auto" latinLnBrk="0" hangingPunct="1">
              <a:lnSpc>
                <a:spcPct val="90000"/>
              </a:lnSpc>
              <a:spcBef>
                <a:spcPts val="0"/>
              </a:spcBef>
              <a:spcAft>
                <a:spcPts val="0"/>
              </a:spcAft>
              <a:buClrTx/>
              <a:buSzPct val="90000"/>
              <a:buFontTx/>
              <a:buNone/>
              <a:tabLst>
                <a:tab pos="228600" algn="l"/>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		</a:t>
            </a:r>
          </a:p>
          <a:p>
            <a:pPr marL="0" marR="0" lvl="0" indent="0" algn="l" defTabSz="398463" rtl="0" eaLnBrk="1" fontAlgn="auto" latinLnBrk="0" hangingPunct="1">
              <a:lnSpc>
                <a:spcPct val="90000"/>
              </a:lnSpc>
              <a:spcBef>
                <a:spcPts val="0"/>
              </a:spcBef>
              <a:spcAft>
                <a:spcPts val="0"/>
              </a:spcAft>
              <a:buClrTx/>
              <a:buSzPct val="90000"/>
              <a:buFontTx/>
              <a:buNone/>
              <a:tabLst>
                <a:tab pos="228600" algn="l"/>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		</a:t>
            </a:r>
          </a:p>
        </p:txBody>
      </p:sp>
      <p:sp>
        <p:nvSpPr>
          <p:cNvPr id="55" name="TextBox 54">
            <a:extLst>
              <a:ext uri="{FF2B5EF4-FFF2-40B4-BE49-F238E27FC236}">
                <a16:creationId xmlns:a16="http://schemas.microsoft.com/office/drawing/2014/main" id="{32CB43CD-F257-4412-ADA1-A9A78FE905E7}"/>
              </a:ext>
            </a:extLst>
          </p:cNvPr>
          <p:cNvSpPr txBox="1"/>
          <p:nvPr/>
        </p:nvSpPr>
        <p:spPr>
          <a:xfrm rot="16200000">
            <a:off x="-247508" y="1323586"/>
            <a:ext cx="913727" cy="526298"/>
          </a:xfrm>
          <a:prstGeom prst="rect">
            <a:avLst/>
          </a:prstGeom>
          <a:noFill/>
        </p:spPr>
        <p:txBody>
          <a:bodyPr wrap="square" lIns="182880" tIns="182880" rIns="182880" bIns="146304"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STAGES</a:t>
            </a:r>
          </a:p>
        </p:txBody>
      </p:sp>
      <p:sp>
        <p:nvSpPr>
          <p:cNvPr id="56" name="TextBox 55">
            <a:extLst>
              <a:ext uri="{FF2B5EF4-FFF2-40B4-BE49-F238E27FC236}">
                <a16:creationId xmlns:a16="http://schemas.microsoft.com/office/drawing/2014/main" id="{0200E6B4-B0AB-4468-823D-7E35471A028A}"/>
              </a:ext>
            </a:extLst>
          </p:cNvPr>
          <p:cNvSpPr txBox="1"/>
          <p:nvPr/>
        </p:nvSpPr>
        <p:spPr>
          <a:xfrm rot="16200000">
            <a:off x="-428692" y="3197697"/>
            <a:ext cx="1316604" cy="544765"/>
          </a:xfrm>
          <a:prstGeom prst="rect">
            <a:avLst/>
          </a:prstGeom>
          <a:noFill/>
        </p:spPr>
        <p:txBody>
          <a:bodyPr wrap="square" lIns="182880" tIns="182880" rIns="182880" bIns="146304" rtlCol="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CTIVITIES</a:t>
            </a:r>
          </a:p>
        </p:txBody>
      </p:sp>
      <p:sp>
        <p:nvSpPr>
          <p:cNvPr id="57" name="TextBox 56">
            <a:extLst>
              <a:ext uri="{FF2B5EF4-FFF2-40B4-BE49-F238E27FC236}">
                <a16:creationId xmlns:a16="http://schemas.microsoft.com/office/drawing/2014/main" id="{8CC63602-C169-4535-836B-23D7CAB3C337}"/>
              </a:ext>
            </a:extLst>
          </p:cNvPr>
          <p:cNvSpPr txBox="1"/>
          <p:nvPr/>
        </p:nvSpPr>
        <p:spPr>
          <a:xfrm rot="16200000">
            <a:off x="-500532" y="5214078"/>
            <a:ext cx="1441687" cy="544765"/>
          </a:xfrm>
          <a:prstGeom prst="rect">
            <a:avLst/>
          </a:prstGeom>
          <a:noFill/>
        </p:spPr>
        <p:txBody>
          <a:bodyPr wrap="square" lIns="182880" tIns="182880" rIns="182880" bIns="146304" rtlCol="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RESOURCES</a:t>
            </a:r>
          </a:p>
        </p:txBody>
      </p:sp>
      <p:sp>
        <p:nvSpPr>
          <p:cNvPr id="58" name="TextBox 57">
            <a:extLst>
              <a:ext uri="{FF2B5EF4-FFF2-40B4-BE49-F238E27FC236}">
                <a16:creationId xmlns:a16="http://schemas.microsoft.com/office/drawing/2014/main" id="{ED7407E5-ABE1-41AE-85EB-6AA24D6890E3}"/>
              </a:ext>
            </a:extLst>
          </p:cNvPr>
          <p:cNvSpPr txBox="1"/>
          <p:nvPr/>
        </p:nvSpPr>
        <p:spPr>
          <a:xfrm>
            <a:off x="6848766" y="2754715"/>
            <a:ext cx="1940529"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Create comprehensive proposal</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Document progress and artifacts in customer planning tools</a:t>
            </a:r>
          </a:p>
        </p:txBody>
      </p:sp>
      <p:sp>
        <p:nvSpPr>
          <p:cNvPr id="59" name="TextBox 58">
            <a:extLst>
              <a:ext uri="{FF2B5EF4-FFF2-40B4-BE49-F238E27FC236}">
                <a16:creationId xmlns:a16="http://schemas.microsoft.com/office/drawing/2014/main" id="{B7B65848-AF01-480B-BFB5-379CCAD9C393}"/>
              </a:ext>
            </a:extLst>
          </p:cNvPr>
          <p:cNvSpPr txBox="1"/>
          <p:nvPr/>
        </p:nvSpPr>
        <p:spPr>
          <a:xfrm>
            <a:off x="8351387" y="2754715"/>
            <a:ext cx="1925817" cy="1859706"/>
          </a:xfrm>
          <a:prstGeom prst="rect">
            <a:avLst/>
          </a:prstGeom>
          <a:noFill/>
          <a:ln w="3175">
            <a:noFill/>
          </a:ln>
        </p:spPr>
        <p:txBody>
          <a:bodyPr wrap="square" lIns="182880" tIns="0" rIns="182880" bIns="146304" rtlCol="0">
            <a:noAutofit/>
          </a:bodyPr>
          <a:lstStyle/>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Confirm customer EA agreemen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Define consumption targets for initial project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60" name="TextBox 59">
            <a:extLst>
              <a:ext uri="{FF2B5EF4-FFF2-40B4-BE49-F238E27FC236}">
                <a16:creationId xmlns:a16="http://schemas.microsoft.com/office/drawing/2014/main" id="{BA90F8B4-A0DA-40B8-A9CD-2048FA18E1A9}"/>
              </a:ext>
            </a:extLst>
          </p:cNvPr>
          <p:cNvSpPr txBox="1"/>
          <p:nvPr/>
        </p:nvSpPr>
        <p:spPr>
          <a:xfrm>
            <a:off x="2057114" y="5069450"/>
            <a:ext cx="1831019" cy="1391888"/>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Discovery Resour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hlinkClick r:id="rId2"/>
              </a:rPr>
              <a:t>AI sales play</a:t>
            </a:r>
            <a:r>
              <a:rPr kumimoji="0" lang="en-US" sz="1000" b="0"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rPr>
              <a:t> </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hlinkClick r:id="rId3"/>
              </a:rPr>
              <a:t>Designing AI with Microsoft values</a:t>
            </a:r>
            <a:endParaRPr kumimoji="0" lang="en-US" sz="1000" b="0"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4"/>
              </a:rPr>
              <a:t>Solution Maps</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5"/>
              </a:rPr>
              <a:t>DT/Industry POV</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6"/>
              </a:rPr>
              <a:t>Book of Dreams</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7"/>
              </a:rPr>
              <a:t>Envision the Art of the Possible</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61" name="TextBox 60">
            <a:extLst>
              <a:ext uri="{FF2B5EF4-FFF2-40B4-BE49-F238E27FC236}">
                <a16:creationId xmlns:a16="http://schemas.microsoft.com/office/drawing/2014/main" id="{5CDD0544-39A6-448E-B5D8-BDF14467B2CA}"/>
              </a:ext>
            </a:extLst>
          </p:cNvPr>
          <p:cNvSpPr txBox="1"/>
          <p:nvPr/>
        </p:nvSpPr>
        <p:spPr>
          <a:xfrm>
            <a:off x="3730049" y="5069450"/>
            <a:ext cx="1869053" cy="1422526"/>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Envisioning Resour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Joint customer engagemen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security review</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POC (DB, MCS, Partner)</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8"/>
              </a:rPr>
              <a:t>GBB TSP</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hlinkClick r:id="rId9"/>
              </a:rPr>
              <a:t>AI for all</a:t>
            </a:r>
            <a:r>
              <a:rPr kumimoji="0" lang="en-US" sz="1000" b="0"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rPr>
              <a:t> </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10"/>
              </a:rPr>
              <a:t>Vision Demonstrator</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5"/>
              </a:rPr>
              <a:t>Industry Playbooks</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11"/>
              </a:rPr>
              <a:t>DT Workshop</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12"/>
              </a:rPr>
              <a:t>Selling Through Storytelling</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62" name="TextBox 61">
            <a:extLst>
              <a:ext uri="{FF2B5EF4-FFF2-40B4-BE49-F238E27FC236}">
                <a16:creationId xmlns:a16="http://schemas.microsoft.com/office/drawing/2014/main" id="{4BBC63B5-5DE6-4E4F-8F9C-1E62A9B561D0}"/>
              </a:ext>
            </a:extLst>
          </p:cNvPr>
          <p:cNvSpPr txBox="1"/>
          <p:nvPr/>
        </p:nvSpPr>
        <p:spPr>
          <a:xfrm>
            <a:off x="5446257" y="5069450"/>
            <a:ext cx="1763113" cy="1422526"/>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Validation Resources</a:t>
            </a:r>
          </a:p>
          <a:p>
            <a:pPr marL="171450" marR="0" lvl="0" indent="-171450" algn="l" defTabSz="932539" rtl="0" eaLnBrk="1" fontAlgn="auto" latinLnBrk="0" hangingPunct="1">
              <a:lnSpc>
                <a:spcPct val="90000"/>
              </a:lnSpc>
              <a:spcBef>
                <a:spcPts val="0"/>
              </a:spcBef>
              <a:spcAft>
                <a:spcPts val="600"/>
              </a:spcAft>
              <a:buClrTx/>
              <a:buSzTx/>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13"/>
              </a:rPr>
              <a:t>Business Value Assessment</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171450" marR="0" lvl="0" indent="-171450" algn="l" defTabSz="932539" rtl="0" eaLnBrk="1" fontAlgn="auto" latinLnBrk="0" hangingPunct="1">
              <a:lnSpc>
                <a:spcPct val="90000"/>
              </a:lnSpc>
              <a:spcBef>
                <a:spcPts val="0"/>
              </a:spcBef>
              <a:spcAft>
                <a:spcPts val="600"/>
              </a:spcAft>
              <a:buClrTx/>
              <a:buSzTx/>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14"/>
              </a:rPr>
              <a:t>Digital Maturity Model</a:t>
            </a: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a:p>
            <a:pPr marL="0" marR="0" lvl="0" indent="0" algn="l" defTabSz="914367" rtl="0" eaLnBrk="1" fontAlgn="auto" latinLnBrk="0" hangingPunct="1">
              <a:lnSpc>
                <a:spcPct val="90000"/>
              </a:lnSpc>
              <a:spcBef>
                <a:spcPts val="0"/>
              </a:spcBef>
              <a:spcAft>
                <a:spcPts val="0"/>
              </a:spcAft>
              <a:buClrTx/>
              <a:buSzPct val="90000"/>
              <a:buFontTx/>
              <a:buNone/>
              <a:tabLst/>
              <a:defRPr/>
            </a:pP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63" name="TextBox 62">
            <a:extLst>
              <a:ext uri="{FF2B5EF4-FFF2-40B4-BE49-F238E27FC236}">
                <a16:creationId xmlns:a16="http://schemas.microsoft.com/office/drawing/2014/main" id="{FA33229B-6C37-486F-980B-525122C9907B}"/>
              </a:ext>
            </a:extLst>
          </p:cNvPr>
          <p:cNvSpPr txBox="1"/>
          <p:nvPr/>
        </p:nvSpPr>
        <p:spPr>
          <a:xfrm>
            <a:off x="10111672" y="5069450"/>
            <a:ext cx="1637144" cy="1137854"/>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Growth Resour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15"/>
              </a:rPr>
              <a:t>Partners</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16"/>
              </a:rPr>
              <a:t>MCS Services</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sp>
        <p:nvSpPr>
          <p:cNvPr id="65" name="TextBox 64">
            <a:extLst>
              <a:ext uri="{FF2B5EF4-FFF2-40B4-BE49-F238E27FC236}">
                <a16:creationId xmlns:a16="http://schemas.microsoft.com/office/drawing/2014/main" id="{A2E66846-CFCF-4FAD-86FC-CD0C73112410}"/>
              </a:ext>
            </a:extLst>
          </p:cNvPr>
          <p:cNvSpPr txBox="1"/>
          <p:nvPr/>
        </p:nvSpPr>
        <p:spPr>
          <a:xfrm>
            <a:off x="6973396" y="5069450"/>
            <a:ext cx="1876600" cy="1422526"/>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Commitment Resour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hlinkClick r:id="rId17"/>
              </a:rPr>
              <a:t>Implementation and Adoption Plan</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endPar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p:txBody>
      </p:sp>
      <p:sp>
        <p:nvSpPr>
          <p:cNvPr id="66" name="TextBox 65">
            <a:extLst>
              <a:ext uri="{FF2B5EF4-FFF2-40B4-BE49-F238E27FC236}">
                <a16:creationId xmlns:a16="http://schemas.microsoft.com/office/drawing/2014/main" id="{4358A7E5-64EA-4F07-B760-E5F36ED16DF6}"/>
              </a:ext>
            </a:extLst>
          </p:cNvPr>
          <p:cNvSpPr txBox="1"/>
          <p:nvPr/>
        </p:nvSpPr>
        <p:spPr>
          <a:xfrm>
            <a:off x="8476017" y="5069450"/>
            <a:ext cx="1884341" cy="1426691"/>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Onboarding Resources</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Licensing Specialis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Account Teams</a:t>
            </a:r>
          </a:p>
        </p:txBody>
      </p:sp>
      <p:sp>
        <p:nvSpPr>
          <p:cNvPr id="68" name="TextBox 67">
            <a:extLst>
              <a:ext uri="{FF2B5EF4-FFF2-40B4-BE49-F238E27FC236}">
                <a16:creationId xmlns:a16="http://schemas.microsoft.com/office/drawing/2014/main" id="{DD18E607-8275-48F9-938D-C28218E99BDF}"/>
              </a:ext>
            </a:extLst>
          </p:cNvPr>
          <p:cNvSpPr txBox="1"/>
          <p:nvPr/>
        </p:nvSpPr>
        <p:spPr>
          <a:xfrm>
            <a:off x="321252" y="5069450"/>
            <a:ext cx="1923080" cy="1441687"/>
          </a:xfrm>
          <a:prstGeom prst="rect">
            <a:avLst/>
          </a:prstGeom>
          <a:noFill/>
          <a:ln w="3175">
            <a:noFill/>
          </a:ln>
        </p:spPr>
        <p:txBody>
          <a:bodyPr wrap="square" lIns="182880" tIns="0" rIns="182880" bIns="146304" rtlCol="0">
            <a:no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Planning and Targeting Resources</a:t>
            </a:r>
          </a:p>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rPr>
              <a:t>Microsoft</a:t>
            </a: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18"/>
              </a:rPr>
              <a:t>Account Grid</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19"/>
              </a:rPr>
              <a:t>Mega Map</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20"/>
              </a:rPr>
              <a:t>Growth Planning for Sellers (GPS)</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a:p>
            <a:pPr marL="171450" marR="0" lvl="0" indent="-171450" algn="l" defTabSz="914367" rtl="0" eaLnBrk="1" fontAlgn="auto" latinLnBrk="0" hangingPunct="1">
              <a:lnSpc>
                <a:spcPct val="90000"/>
              </a:lnSpc>
              <a:spcBef>
                <a:spcPts val="0"/>
              </a:spcBef>
              <a:spcAft>
                <a:spcPts val="0"/>
              </a:spcAft>
              <a:buClrTx/>
              <a:buSzPct val="90000"/>
              <a:buFontTx/>
              <a:buChar char="-"/>
              <a:tabLst/>
              <a:defRPr/>
            </a:pPr>
            <a:r>
              <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hlinkClick r:id="rId21"/>
              </a:rPr>
              <a:t>AI GTM Portal</a:t>
            </a:r>
            <a:endParaRPr kumimoji="0" lang="en-US" sz="1000" b="1" i="0" u="none" strike="noStrike" kern="1200" cap="none" spc="0" normalizeH="0" baseline="0" noProof="0">
              <a:ln>
                <a:noFill/>
              </a:ln>
              <a:solidFill>
                <a:srgbClr val="505050">
                  <a:lumMod val="75000"/>
                </a:srgbClr>
              </a:solidFill>
              <a:effectLst/>
              <a:uLnTx/>
              <a:uFillTx/>
              <a:latin typeface="Calibri" panose="020F0502020204030204" pitchFamily="34" charset="0"/>
              <a:ea typeface="+mn-ea"/>
              <a:cs typeface="Calibri" panose="020F0502020204030204" pitchFamily="34" charset="0"/>
            </a:endParaRPr>
          </a:p>
        </p:txBody>
      </p:sp>
      <p:cxnSp>
        <p:nvCxnSpPr>
          <p:cNvPr id="4" name="Straight Connector 3">
            <a:extLst>
              <a:ext uri="{FF2B5EF4-FFF2-40B4-BE49-F238E27FC236}">
                <a16:creationId xmlns:a16="http://schemas.microsoft.com/office/drawing/2014/main" id="{2BAFBEFB-CBA9-4EDF-ADEB-1D9374DF6527}"/>
              </a:ext>
            </a:extLst>
          </p:cNvPr>
          <p:cNvCxnSpPr/>
          <p:nvPr/>
        </p:nvCxnSpPr>
        <p:spPr>
          <a:xfrm>
            <a:off x="194890" y="2694858"/>
            <a:ext cx="11526548" cy="0"/>
          </a:xfrm>
          <a:prstGeom prst="line">
            <a:avLst/>
          </a:prstGeom>
          <a:ln w="34925">
            <a:solidFill>
              <a:srgbClr val="363636">
                <a:alpha val="6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63C38F4-5544-4E42-93AE-9BB4593BE35F}"/>
              </a:ext>
            </a:extLst>
          </p:cNvPr>
          <p:cNvCxnSpPr/>
          <p:nvPr/>
        </p:nvCxnSpPr>
        <p:spPr>
          <a:xfrm>
            <a:off x="305396" y="4958391"/>
            <a:ext cx="11526548" cy="0"/>
          </a:xfrm>
          <a:prstGeom prst="line">
            <a:avLst/>
          </a:prstGeom>
          <a:ln w="34925">
            <a:solidFill>
              <a:srgbClr val="363636">
                <a:alpha val="6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38297AD-8FE7-47E5-ABB3-F6B7EA161775}"/>
              </a:ext>
            </a:extLst>
          </p:cNvPr>
          <p:cNvCxnSpPr/>
          <p:nvPr/>
        </p:nvCxnSpPr>
        <p:spPr>
          <a:xfrm>
            <a:off x="202077" y="1987222"/>
            <a:ext cx="11526548" cy="0"/>
          </a:xfrm>
          <a:prstGeom prst="line">
            <a:avLst/>
          </a:prstGeom>
          <a:ln w="34925">
            <a:solidFill>
              <a:srgbClr val="363636">
                <a:alpha val="60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6215AC8-B03F-4F80-A792-5EC48D4749BB}"/>
              </a:ext>
            </a:extLst>
          </p:cNvPr>
          <p:cNvSpPr txBox="1"/>
          <p:nvPr/>
        </p:nvSpPr>
        <p:spPr>
          <a:xfrm>
            <a:off x="8458973" y="6424035"/>
            <a:ext cx="4065857" cy="433965"/>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ome Resources may be only available internally at Microsoft</a:t>
            </a:r>
          </a:p>
        </p:txBody>
      </p:sp>
      <p:sp>
        <p:nvSpPr>
          <p:cNvPr id="64" name="Title 1">
            <a:extLst>
              <a:ext uri="{FF2B5EF4-FFF2-40B4-BE49-F238E27FC236}">
                <a16:creationId xmlns:a16="http://schemas.microsoft.com/office/drawing/2014/main" id="{104910E9-169B-4499-9156-FA10704C252F}"/>
              </a:ext>
            </a:extLst>
          </p:cNvPr>
          <p:cNvSpPr txBox="1">
            <a:spLocks/>
          </p:cNvSpPr>
          <p:nvPr/>
        </p:nvSpPr>
        <p:spPr>
          <a:xfrm>
            <a:off x="301360" y="492636"/>
            <a:ext cx="11502235" cy="79159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ea typeface="+mn-ea"/>
                <a:cs typeface="Segoe UI" pitchFamily="34" charset="0"/>
              </a:rPr>
              <a:t>Microsoft Engagement Process</a:t>
            </a:r>
          </a:p>
        </p:txBody>
      </p:sp>
    </p:spTree>
    <p:extLst>
      <p:ext uri="{BB962C8B-B14F-4D97-AF65-F5344CB8AC3E}">
        <p14:creationId xmlns:p14="http://schemas.microsoft.com/office/powerpoint/2010/main" val="294551972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F99812-106D-4883-8E9B-53DD1637233E}"/>
              </a:ext>
            </a:extLst>
          </p:cNvPr>
          <p:cNvSpPr>
            <a:spLocks noGrp="1"/>
          </p:cNvSpPr>
          <p:nvPr>
            <p:ph type="body" sz="quarter" idx="10"/>
          </p:nvPr>
        </p:nvSpPr>
        <p:spPr>
          <a:xfrm>
            <a:off x="365760" y="1991757"/>
            <a:ext cx="11018520" cy="2523768"/>
          </a:xfrm>
        </p:spPr>
        <p:txBody>
          <a:bodyPr/>
          <a:lstStyle/>
          <a:p>
            <a:r>
              <a:rPr lang="en-US" sz="2000" b="1">
                <a:solidFill>
                  <a:srgbClr val="505050"/>
                </a:solidFill>
              </a:rPr>
              <a:t>Maximize # of search units</a:t>
            </a:r>
          </a:p>
          <a:p>
            <a:endParaRPr lang="en-US" sz="2000">
              <a:solidFill>
                <a:srgbClr val="505050"/>
              </a:solidFill>
            </a:endParaRPr>
          </a:p>
          <a:p>
            <a:r>
              <a:rPr lang="en-US" sz="2000" b="1">
                <a:solidFill>
                  <a:srgbClr val="505050"/>
                </a:solidFill>
              </a:rPr>
              <a:t>Maximize the SKU </a:t>
            </a:r>
          </a:p>
          <a:p>
            <a:pPr lvl="1"/>
            <a:r>
              <a:rPr lang="en-US" sz="2000">
                <a:solidFill>
                  <a:srgbClr val="505050"/>
                </a:solidFill>
                <a:latin typeface="+mj-lt"/>
              </a:rPr>
              <a:t>Drive max volume of information the entire service can handle, or the max speed/capacity to index the service can perform</a:t>
            </a:r>
          </a:p>
          <a:p>
            <a:endParaRPr lang="en-US" sz="2000">
              <a:solidFill>
                <a:srgbClr val="505050"/>
              </a:solidFill>
            </a:endParaRPr>
          </a:p>
          <a:p>
            <a:r>
              <a:rPr lang="en-US" sz="2000" b="1">
                <a:solidFill>
                  <a:srgbClr val="505050"/>
                </a:solidFill>
              </a:rPr>
              <a:t>Maximize the # of services </a:t>
            </a:r>
          </a:p>
          <a:p>
            <a:pPr lvl="1"/>
            <a:r>
              <a:rPr lang="en-US" sz="2000">
                <a:solidFill>
                  <a:srgbClr val="505050"/>
                </a:solidFill>
                <a:latin typeface="+mj-lt"/>
              </a:rPr>
              <a:t>Create multiple search scenarios, internal/external solutions, target multi-market customers, learn about regions where end scenario is operating</a:t>
            </a:r>
          </a:p>
        </p:txBody>
      </p:sp>
      <p:sp>
        <p:nvSpPr>
          <p:cNvPr id="5" name="Title 2">
            <a:extLst>
              <a:ext uri="{FF2B5EF4-FFF2-40B4-BE49-F238E27FC236}">
                <a16:creationId xmlns:a16="http://schemas.microsoft.com/office/drawing/2014/main" id="{315FB2EB-D6C9-44B8-A721-1AB3C6C55DDE}"/>
              </a:ext>
            </a:extLst>
          </p:cNvPr>
          <p:cNvSpPr txBox="1">
            <a:spLocks/>
          </p:cNvSpPr>
          <p:nvPr/>
        </p:nvSpPr>
        <p:spPr>
          <a:xfrm>
            <a:off x="231360" y="569634"/>
            <a:ext cx="10342044" cy="1105126"/>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r>
              <a:rPr lang="en-US" sz="4400" b="1">
                <a:solidFill>
                  <a:srgbClr val="505050"/>
                </a:solidFill>
              </a:rPr>
              <a:t>Pricing and Consumption Drivers</a:t>
            </a:r>
          </a:p>
        </p:txBody>
      </p:sp>
    </p:spTree>
    <p:extLst>
      <p:ext uri="{BB962C8B-B14F-4D97-AF65-F5344CB8AC3E}">
        <p14:creationId xmlns:p14="http://schemas.microsoft.com/office/powerpoint/2010/main" val="284784374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C43C6DE-B5DB-4353-A222-7DB66A396AB4}"/>
              </a:ext>
            </a:extLst>
          </p:cNvPr>
          <p:cNvSpPr txBox="1"/>
          <p:nvPr/>
        </p:nvSpPr>
        <p:spPr>
          <a:xfrm>
            <a:off x="5329084" y="3954745"/>
            <a:ext cx="88436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a:ea typeface="+mn-ea"/>
                <a:cs typeface="+mn-cs"/>
              </a:rPr>
              <a:t>25 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a:ea typeface="+mn-ea"/>
                <a:cs typeface="+mn-cs"/>
              </a:rPr>
              <a:t>50 indexes</a:t>
            </a:r>
          </a:p>
        </p:txBody>
      </p:sp>
      <p:sp>
        <p:nvSpPr>
          <p:cNvPr id="7" name="TextBox 6">
            <a:extLst>
              <a:ext uri="{FF2B5EF4-FFF2-40B4-BE49-F238E27FC236}">
                <a16:creationId xmlns:a16="http://schemas.microsoft.com/office/drawing/2014/main" id="{95726ADF-A2E1-4A51-A63F-4460B9342F71}"/>
              </a:ext>
            </a:extLst>
          </p:cNvPr>
          <p:cNvSpPr txBox="1"/>
          <p:nvPr/>
        </p:nvSpPr>
        <p:spPr>
          <a:xfrm>
            <a:off x="6522416" y="3954745"/>
            <a:ext cx="98250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a:ea typeface="+mn-ea"/>
                <a:cs typeface="+mn-cs"/>
              </a:rPr>
              <a:t>100 G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a:ea typeface="+mn-ea"/>
                <a:cs typeface="+mn-cs"/>
              </a:rPr>
              <a:t>200 indexes</a:t>
            </a:r>
          </a:p>
        </p:txBody>
      </p:sp>
      <p:sp>
        <p:nvSpPr>
          <p:cNvPr id="9" name="TextBox 8">
            <a:extLst>
              <a:ext uri="{FF2B5EF4-FFF2-40B4-BE49-F238E27FC236}">
                <a16:creationId xmlns:a16="http://schemas.microsoft.com/office/drawing/2014/main" id="{BC8E8A9F-3DF6-49C8-96C3-2DD444DDB227}"/>
              </a:ext>
            </a:extLst>
          </p:cNvPr>
          <p:cNvSpPr txBox="1"/>
          <p:nvPr/>
        </p:nvSpPr>
        <p:spPr>
          <a:xfrm>
            <a:off x="7946323" y="3954745"/>
            <a:ext cx="100350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a:ea typeface="+mn-ea"/>
                <a:cs typeface="+mn-cs"/>
              </a:rPr>
              <a:t>200 G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a:ea typeface="+mn-ea"/>
                <a:cs typeface="+mn-cs"/>
              </a:rPr>
              <a:t>1000 indexes</a:t>
            </a:r>
          </a:p>
        </p:txBody>
      </p:sp>
      <p:sp>
        <p:nvSpPr>
          <p:cNvPr id="34" name="TextBox 33">
            <a:extLst>
              <a:ext uri="{FF2B5EF4-FFF2-40B4-BE49-F238E27FC236}">
                <a16:creationId xmlns:a16="http://schemas.microsoft.com/office/drawing/2014/main" id="{266E18FA-EEFE-45A8-8E7C-0173D62EAA65}"/>
              </a:ext>
            </a:extLst>
          </p:cNvPr>
          <p:cNvSpPr txBox="1"/>
          <p:nvPr/>
        </p:nvSpPr>
        <p:spPr>
          <a:xfrm>
            <a:off x="5438334" y="3779098"/>
            <a:ext cx="665866"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bold"/>
                <a:ea typeface="+mn-ea"/>
                <a:cs typeface="+mn-cs"/>
              </a:rPr>
              <a:t>S1 SKU</a:t>
            </a:r>
          </a:p>
        </p:txBody>
      </p:sp>
      <p:sp>
        <p:nvSpPr>
          <p:cNvPr id="41" name="TextBox 40">
            <a:extLst>
              <a:ext uri="{FF2B5EF4-FFF2-40B4-BE49-F238E27FC236}">
                <a16:creationId xmlns:a16="http://schemas.microsoft.com/office/drawing/2014/main" id="{0E335D10-7C3B-4369-B5E7-44DEA896F617}"/>
              </a:ext>
            </a:extLst>
          </p:cNvPr>
          <p:cNvSpPr txBox="1"/>
          <p:nvPr/>
        </p:nvSpPr>
        <p:spPr>
          <a:xfrm>
            <a:off x="6652847" y="3779098"/>
            <a:ext cx="665866"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bold"/>
                <a:ea typeface="+mn-ea"/>
                <a:cs typeface="+mn-cs"/>
              </a:rPr>
              <a:t>S2 SKU</a:t>
            </a:r>
          </a:p>
        </p:txBody>
      </p:sp>
      <p:sp>
        <p:nvSpPr>
          <p:cNvPr id="42" name="TextBox 41">
            <a:extLst>
              <a:ext uri="{FF2B5EF4-FFF2-40B4-BE49-F238E27FC236}">
                <a16:creationId xmlns:a16="http://schemas.microsoft.com/office/drawing/2014/main" id="{D4DAAA69-160A-48B5-84CE-9DDA88B53501}"/>
              </a:ext>
            </a:extLst>
          </p:cNvPr>
          <p:cNvSpPr txBox="1"/>
          <p:nvPr/>
        </p:nvSpPr>
        <p:spPr>
          <a:xfrm>
            <a:off x="8113176" y="3779098"/>
            <a:ext cx="665866"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bold"/>
                <a:ea typeface="+mn-ea"/>
                <a:cs typeface="+mn-cs"/>
              </a:rPr>
              <a:t>S3 SKU</a:t>
            </a:r>
          </a:p>
        </p:txBody>
      </p:sp>
      <p:sp>
        <p:nvSpPr>
          <p:cNvPr id="17" name="Text Placeholder 16">
            <a:extLst>
              <a:ext uri="{FF2B5EF4-FFF2-40B4-BE49-F238E27FC236}">
                <a16:creationId xmlns:a16="http://schemas.microsoft.com/office/drawing/2014/main" id="{FF0DF8F8-3171-4550-BD7C-4B104D2DF1C4}"/>
              </a:ext>
            </a:extLst>
          </p:cNvPr>
          <p:cNvSpPr>
            <a:spLocks noGrp="1"/>
          </p:cNvSpPr>
          <p:nvPr>
            <p:ph type="body" sz="quarter" idx="10"/>
          </p:nvPr>
        </p:nvSpPr>
        <p:spPr>
          <a:xfrm>
            <a:off x="588263" y="2018327"/>
            <a:ext cx="7683539" cy="738664"/>
          </a:xfrm>
        </p:spPr>
        <p:txBody>
          <a:bodyPr/>
          <a:lstStyle/>
          <a:p>
            <a:r>
              <a:rPr lang="en-US" sz="1200">
                <a:latin typeface="+mn-lt"/>
              </a:rPr>
              <a:t>Azure Search is paid by number of Search Units (SU) provisioned, NOT by the amount of indexing/end user activity. SUs are combinable units where you can have up to 12 as partitions and 12 as replicas. Adding partitions increases the volume of information you can index. Replicas will increase the throughput, or speed at which you can index a given amount of information.</a:t>
            </a:r>
          </a:p>
        </p:txBody>
      </p:sp>
      <p:sp>
        <p:nvSpPr>
          <p:cNvPr id="20" name="Text Placeholder 19">
            <a:extLst>
              <a:ext uri="{FF2B5EF4-FFF2-40B4-BE49-F238E27FC236}">
                <a16:creationId xmlns:a16="http://schemas.microsoft.com/office/drawing/2014/main" id="{4533314B-0895-4C2F-8FCB-903A7F0A95ED}"/>
              </a:ext>
            </a:extLst>
          </p:cNvPr>
          <p:cNvSpPr>
            <a:spLocks noGrp="1"/>
          </p:cNvSpPr>
          <p:nvPr>
            <p:ph type="body" sz="quarter" idx="12"/>
          </p:nvPr>
        </p:nvSpPr>
        <p:spPr>
          <a:xfrm>
            <a:off x="588263" y="3589562"/>
            <a:ext cx="3685631" cy="369332"/>
          </a:xfrm>
        </p:spPr>
        <p:txBody>
          <a:bodyPr/>
          <a:lstStyle/>
          <a:p>
            <a:r>
              <a:rPr lang="en-US" sz="1200">
                <a:latin typeface="+mn-lt"/>
              </a:rPr>
              <a:t>The </a:t>
            </a:r>
            <a:r>
              <a:rPr lang="en-US" sz="1200" b="1">
                <a:latin typeface="+mn-lt"/>
              </a:rPr>
              <a:t>speed</a:t>
            </a:r>
            <a:r>
              <a:rPr lang="en-US" sz="1200">
                <a:latin typeface="+mn-lt"/>
              </a:rPr>
              <a:t> of indexing that a Search Unit can handle depends on </a:t>
            </a:r>
            <a:r>
              <a:rPr lang="en-US" sz="1200" b="1">
                <a:latin typeface="+mn-lt"/>
              </a:rPr>
              <a:t>SKU (S1/S2/S3)</a:t>
            </a:r>
          </a:p>
        </p:txBody>
      </p:sp>
      <p:pic>
        <p:nvPicPr>
          <p:cNvPr id="22" name="Graphic 21" descr="Barcode">
            <a:extLst>
              <a:ext uri="{FF2B5EF4-FFF2-40B4-BE49-F238E27FC236}">
                <a16:creationId xmlns:a16="http://schemas.microsoft.com/office/drawing/2014/main" id="{69E99A59-EEAE-4F19-B128-EF5E0EECE8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41013" y="3309959"/>
            <a:ext cx="460505" cy="460505"/>
          </a:xfrm>
          <a:prstGeom prst="rect">
            <a:avLst/>
          </a:prstGeom>
        </p:spPr>
      </p:pic>
      <p:pic>
        <p:nvPicPr>
          <p:cNvPr id="26" name="Graphic 25" descr="Barcode">
            <a:extLst>
              <a:ext uri="{FF2B5EF4-FFF2-40B4-BE49-F238E27FC236}">
                <a16:creationId xmlns:a16="http://schemas.microsoft.com/office/drawing/2014/main" id="{6BB168AF-0E2B-4183-9EF2-BB8262B714A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07175" y="3237296"/>
            <a:ext cx="557211" cy="557211"/>
          </a:xfrm>
          <a:prstGeom prst="rect">
            <a:avLst/>
          </a:prstGeom>
        </p:spPr>
      </p:pic>
      <p:pic>
        <p:nvPicPr>
          <p:cNvPr id="27" name="Graphic 26" descr="Barcode">
            <a:extLst>
              <a:ext uri="{FF2B5EF4-FFF2-40B4-BE49-F238E27FC236}">
                <a16:creationId xmlns:a16="http://schemas.microsoft.com/office/drawing/2014/main" id="{08D472E5-0E6B-486B-A50C-443E2D48D3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8997" y="3142795"/>
            <a:ext cx="674225" cy="674225"/>
          </a:xfrm>
          <a:prstGeom prst="rect">
            <a:avLst/>
          </a:prstGeom>
        </p:spPr>
      </p:pic>
      <p:cxnSp>
        <p:nvCxnSpPr>
          <p:cNvPr id="19" name="Straight Connector 18">
            <a:extLst>
              <a:ext uri="{FF2B5EF4-FFF2-40B4-BE49-F238E27FC236}">
                <a16:creationId xmlns:a16="http://schemas.microsoft.com/office/drawing/2014/main" id="{6252B5C1-DD79-4BF1-8B05-ACD386F2F397}"/>
              </a:ext>
            </a:extLst>
          </p:cNvPr>
          <p:cNvCxnSpPr/>
          <p:nvPr/>
        </p:nvCxnSpPr>
        <p:spPr>
          <a:xfrm flipV="1">
            <a:off x="458472" y="3094846"/>
            <a:ext cx="11291455" cy="1920"/>
          </a:xfrm>
          <a:prstGeom prst="line">
            <a:avLst/>
          </a:prstGeom>
          <a:ln w="1270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2EFB1B5-C44E-4DCE-BAAA-882B4731D129}"/>
              </a:ext>
            </a:extLst>
          </p:cNvPr>
          <p:cNvCxnSpPr/>
          <p:nvPr/>
        </p:nvCxnSpPr>
        <p:spPr>
          <a:xfrm flipV="1">
            <a:off x="458472" y="4493884"/>
            <a:ext cx="11291455" cy="1920"/>
          </a:xfrm>
          <a:prstGeom prst="line">
            <a:avLst/>
          </a:prstGeom>
          <a:ln w="1270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103D31C-E703-4989-B1CC-10C30351EFB0}"/>
              </a:ext>
            </a:extLst>
          </p:cNvPr>
          <p:cNvSpPr txBox="1"/>
          <p:nvPr/>
        </p:nvSpPr>
        <p:spPr>
          <a:xfrm>
            <a:off x="450271" y="1632459"/>
            <a:ext cx="2700891" cy="3139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Volume vs. performance</a:t>
            </a:r>
          </a:p>
        </p:txBody>
      </p:sp>
      <p:sp>
        <p:nvSpPr>
          <p:cNvPr id="24" name="TextBox 23">
            <a:extLst>
              <a:ext uri="{FF2B5EF4-FFF2-40B4-BE49-F238E27FC236}">
                <a16:creationId xmlns:a16="http://schemas.microsoft.com/office/drawing/2014/main" id="{E9780C31-956D-4DA5-B5CA-DE635164B615}"/>
              </a:ext>
            </a:extLst>
          </p:cNvPr>
          <p:cNvSpPr txBox="1"/>
          <p:nvPr/>
        </p:nvSpPr>
        <p:spPr>
          <a:xfrm>
            <a:off x="450270" y="3212683"/>
            <a:ext cx="2700891" cy="3139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SKU ranges</a:t>
            </a:r>
          </a:p>
        </p:txBody>
      </p:sp>
      <p:graphicFrame>
        <p:nvGraphicFramePr>
          <p:cNvPr id="25" name="Table 24">
            <a:extLst>
              <a:ext uri="{FF2B5EF4-FFF2-40B4-BE49-F238E27FC236}">
                <a16:creationId xmlns:a16="http://schemas.microsoft.com/office/drawing/2014/main" id="{72B0F423-ED02-495B-BD72-96D61BF78AE7}"/>
              </a:ext>
            </a:extLst>
          </p:cNvPr>
          <p:cNvGraphicFramePr>
            <a:graphicFrameLocks noGrp="1" noChangeAspect="1"/>
          </p:cNvGraphicFramePr>
          <p:nvPr>
            <p:extLst>
              <p:ext uri="{D42A27DB-BD31-4B8C-83A1-F6EECF244321}">
                <p14:modId xmlns:p14="http://schemas.microsoft.com/office/powerpoint/2010/main" val="3657548195"/>
              </p:ext>
            </p:extLst>
          </p:nvPr>
        </p:nvGraphicFramePr>
        <p:xfrm>
          <a:off x="9490510" y="1710274"/>
          <a:ext cx="1456871" cy="1201032"/>
        </p:xfrm>
        <a:graphic>
          <a:graphicData uri="http://schemas.openxmlformats.org/drawingml/2006/table">
            <a:tbl>
              <a:tblPr bandRow="1">
                <a:tableStyleId>{5C22544A-7EE6-4342-B048-85BDC9FD1C3A}</a:tableStyleId>
              </a:tblPr>
              <a:tblGrid>
                <a:gridCol w="121406">
                  <a:extLst>
                    <a:ext uri="{9D8B030D-6E8A-4147-A177-3AD203B41FA5}">
                      <a16:colId xmlns:a16="http://schemas.microsoft.com/office/drawing/2014/main" val="1383069335"/>
                    </a:ext>
                  </a:extLst>
                </a:gridCol>
                <a:gridCol w="121406">
                  <a:extLst>
                    <a:ext uri="{9D8B030D-6E8A-4147-A177-3AD203B41FA5}">
                      <a16:colId xmlns:a16="http://schemas.microsoft.com/office/drawing/2014/main" val="3795418378"/>
                    </a:ext>
                  </a:extLst>
                </a:gridCol>
                <a:gridCol w="121406">
                  <a:extLst>
                    <a:ext uri="{9D8B030D-6E8A-4147-A177-3AD203B41FA5}">
                      <a16:colId xmlns:a16="http://schemas.microsoft.com/office/drawing/2014/main" val="3872967400"/>
                    </a:ext>
                  </a:extLst>
                </a:gridCol>
                <a:gridCol w="121406">
                  <a:extLst>
                    <a:ext uri="{9D8B030D-6E8A-4147-A177-3AD203B41FA5}">
                      <a16:colId xmlns:a16="http://schemas.microsoft.com/office/drawing/2014/main" val="1285763965"/>
                    </a:ext>
                  </a:extLst>
                </a:gridCol>
                <a:gridCol w="121406">
                  <a:extLst>
                    <a:ext uri="{9D8B030D-6E8A-4147-A177-3AD203B41FA5}">
                      <a16:colId xmlns:a16="http://schemas.microsoft.com/office/drawing/2014/main" val="519411271"/>
                    </a:ext>
                  </a:extLst>
                </a:gridCol>
                <a:gridCol w="121406">
                  <a:extLst>
                    <a:ext uri="{9D8B030D-6E8A-4147-A177-3AD203B41FA5}">
                      <a16:colId xmlns:a16="http://schemas.microsoft.com/office/drawing/2014/main" val="1487416824"/>
                    </a:ext>
                  </a:extLst>
                </a:gridCol>
                <a:gridCol w="125149">
                  <a:extLst>
                    <a:ext uri="{9D8B030D-6E8A-4147-A177-3AD203B41FA5}">
                      <a16:colId xmlns:a16="http://schemas.microsoft.com/office/drawing/2014/main" val="983390479"/>
                    </a:ext>
                  </a:extLst>
                </a:gridCol>
                <a:gridCol w="117662">
                  <a:extLst>
                    <a:ext uri="{9D8B030D-6E8A-4147-A177-3AD203B41FA5}">
                      <a16:colId xmlns:a16="http://schemas.microsoft.com/office/drawing/2014/main" val="695710609"/>
                    </a:ext>
                  </a:extLst>
                </a:gridCol>
                <a:gridCol w="121406">
                  <a:extLst>
                    <a:ext uri="{9D8B030D-6E8A-4147-A177-3AD203B41FA5}">
                      <a16:colId xmlns:a16="http://schemas.microsoft.com/office/drawing/2014/main" val="3657380844"/>
                    </a:ext>
                  </a:extLst>
                </a:gridCol>
                <a:gridCol w="121406">
                  <a:extLst>
                    <a:ext uri="{9D8B030D-6E8A-4147-A177-3AD203B41FA5}">
                      <a16:colId xmlns:a16="http://schemas.microsoft.com/office/drawing/2014/main" val="1922387199"/>
                    </a:ext>
                  </a:extLst>
                </a:gridCol>
                <a:gridCol w="121406">
                  <a:extLst>
                    <a:ext uri="{9D8B030D-6E8A-4147-A177-3AD203B41FA5}">
                      <a16:colId xmlns:a16="http://schemas.microsoft.com/office/drawing/2014/main" val="1417795571"/>
                    </a:ext>
                  </a:extLst>
                </a:gridCol>
                <a:gridCol w="121406">
                  <a:extLst>
                    <a:ext uri="{9D8B030D-6E8A-4147-A177-3AD203B41FA5}">
                      <a16:colId xmlns:a16="http://schemas.microsoft.com/office/drawing/2014/main" val="3337445385"/>
                    </a:ext>
                  </a:extLst>
                </a:gridCol>
              </a:tblGrid>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extLst>
                  <a:ext uri="{0D108BD9-81ED-4DB2-BD59-A6C34878D82A}">
                    <a16:rowId xmlns:a16="http://schemas.microsoft.com/office/drawing/2014/main" val="1553108335"/>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970235156"/>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3292513163"/>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2140013378"/>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3645245863"/>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2214305972"/>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3567600407"/>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559981479"/>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2306893950"/>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4164722251"/>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249321670"/>
                  </a:ext>
                </a:extLst>
              </a:tr>
              <a:tr h="100086">
                <a:tc>
                  <a:txBody>
                    <a:bodyPr/>
                    <a:lstStyle/>
                    <a:p>
                      <a:endParaRPr lang="en-US" sz="200"/>
                    </a:p>
                  </a:txBody>
                  <a:tcPr marL="27712" marR="27712" marT="13857" marB="13857">
                    <a:solidFill>
                      <a:schemeClr val="accent1"/>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tc>
                  <a:txBody>
                    <a:bodyPr/>
                    <a:lstStyle/>
                    <a:p>
                      <a:endParaRPr lang="en-US" sz="200"/>
                    </a:p>
                  </a:txBody>
                  <a:tcPr marL="27712" marR="27712" marT="13857" marB="13857">
                    <a:solidFill>
                      <a:schemeClr val="bg1">
                        <a:lumMod val="95000"/>
                      </a:schemeClr>
                    </a:solidFill>
                  </a:tcPr>
                </a:tc>
                <a:extLst>
                  <a:ext uri="{0D108BD9-81ED-4DB2-BD59-A6C34878D82A}">
                    <a16:rowId xmlns:a16="http://schemas.microsoft.com/office/drawing/2014/main" val="1095167882"/>
                  </a:ext>
                </a:extLst>
              </a:tr>
            </a:tbl>
          </a:graphicData>
        </a:graphic>
      </p:graphicFrame>
      <p:sp>
        <p:nvSpPr>
          <p:cNvPr id="28" name="Left Brace 27">
            <a:extLst>
              <a:ext uri="{FF2B5EF4-FFF2-40B4-BE49-F238E27FC236}">
                <a16:creationId xmlns:a16="http://schemas.microsoft.com/office/drawing/2014/main" id="{6CD856A3-F1B3-4BFD-BE21-1A76A8749B20}"/>
              </a:ext>
            </a:extLst>
          </p:cNvPr>
          <p:cNvSpPr/>
          <p:nvPr/>
        </p:nvSpPr>
        <p:spPr>
          <a:xfrm>
            <a:off x="9219983" y="1716482"/>
            <a:ext cx="246888" cy="1189065"/>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TextBox 28">
            <a:extLst>
              <a:ext uri="{FF2B5EF4-FFF2-40B4-BE49-F238E27FC236}">
                <a16:creationId xmlns:a16="http://schemas.microsoft.com/office/drawing/2014/main" id="{A964710D-338A-4790-A1B6-743E55827362}"/>
              </a:ext>
            </a:extLst>
          </p:cNvPr>
          <p:cNvSpPr txBox="1"/>
          <p:nvPr/>
        </p:nvSpPr>
        <p:spPr>
          <a:xfrm rot="16200000">
            <a:off x="8744543" y="2179985"/>
            <a:ext cx="74763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bold"/>
                <a:ea typeface="+mn-ea"/>
                <a:cs typeface="+mn-cs"/>
              </a:rPr>
              <a:t>Replicas</a:t>
            </a:r>
          </a:p>
        </p:txBody>
      </p:sp>
      <p:sp>
        <p:nvSpPr>
          <p:cNvPr id="30" name="TextBox 29">
            <a:extLst>
              <a:ext uri="{FF2B5EF4-FFF2-40B4-BE49-F238E27FC236}">
                <a16:creationId xmlns:a16="http://schemas.microsoft.com/office/drawing/2014/main" id="{A0E10C8A-681F-4BC0-9C00-A4CFE374A681}"/>
              </a:ext>
            </a:extLst>
          </p:cNvPr>
          <p:cNvSpPr txBox="1"/>
          <p:nvPr/>
        </p:nvSpPr>
        <p:spPr>
          <a:xfrm>
            <a:off x="9681860" y="970241"/>
            <a:ext cx="10658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bold"/>
                <a:ea typeface="+mn-ea"/>
                <a:cs typeface="+mn-cs"/>
              </a:rPr>
              <a:t>Partitions</a:t>
            </a:r>
          </a:p>
        </p:txBody>
      </p:sp>
      <p:sp>
        <p:nvSpPr>
          <p:cNvPr id="31" name="Left Brace 30">
            <a:extLst>
              <a:ext uri="{FF2B5EF4-FFF2-40B4-BE49-F238E27FC236}">
                <a16:creationId xmlns:a16="http://schemas.microsoft.com/office/drawing/2014/main" id="{0DF160BD-BB3D-49FE-9D5F-7C5A7D1C193F}"/>
              </a:ext>
            </a:extLst>
          </p:cNvPr>
          <p:cNvSpPr/>
          <p:nvPr/>
        </p:nvSpPr>
        <p:spPr>
          <a:xfrm rot="5400000">
            <a:off x="10093179" y="629182"/>
            <a:ext cx="243263" cy="1448602"/>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C5484EC9-3A41-49BC-82CD-90DCD9AFC823}"/>
              </a:ext>
            </a:extLst>
          </p:cNvPr>
          <p:cNvSpPr txBox="1"/>
          <p:nvPr/>
        </p:nvSpPr>
        <p:spPr>
          <a:xfrm>
            <a:off x="450270" y="4588258"/>
            <a:ext cx="2700891" cy="3139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dding services</a:t>
            </a:r>
          </a:p>
        </p:txBody>
      </p:sp>
      <p:sp>
        <p:nvSpPr>
          <p:cNvPr id="33" name="Text Placeholder 4">
            <a:extLst>
              <a:ext uri="{FF2B5EF4-FFF2-40B4-BE49-F238E27FC236}">
                <a16:creationId xmlns:a16="http://schemas.microsoft.com/office/drawing/2014/main" id="{E3D5B207-EA74-4877-8562-3DC101860479}"/>
              </a:ext>
            </a:extLst>
          </p:cNvPr>
          <p:cNvSpPr txBox="1">
            <a:spLocks/>
          </p:cNvSpPr>
          <p:nvPr/>
        </p:nvSpPr>
        <p:spPr>
          <a:xfrm>
            <a:off x="574192" y="4965137"/>
            <a:ext cx="8708015" cy="18466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prstClr val="black"/>
              </a:buClr>
              <a:buSzPct val="90000"/>
              <a:buFont typeface="Wingdings" panose="05000000000000000000" pitchFamily="2" charset="2"/>
              <a:buNone/>
              <a:tabLst/>
              <a:defRPr/>
            </a:pP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Semilight" panose="020B0402040204020203" pitchFamily="34" charset="0"/>
              </a:rPr>
              <a:t>The </a:t>
            </a:r>
            <a:r>
              <a:rPr kumimoji="0" lang="en-US" sz="1200" b="1"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Semilight" panose="020B0402040204020203" pitchFamily="34" charset="0"/>
              </a:rPr>
              <a:t>number of Azure Search services </a:t>
            </a: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Semilight" panose="020B0402040204020203" pitchFamily="34" charset="0"/>
              </a:rPr>
              <a:t>will drive revenue. A customer will want to create multiple services in order to: </a:t>
            </a:r>
          </a:p>
        </p:txBody>
      </p:sp>
      <p:sp>
        <p:nvSpPr>
          <p:cNvPr id="35" name="TextBox 34">
            <a:extLst>
              <a:ext uri="{FF2B5EF4-FFF2-40B4-BE49-F238E27FC236}">
                <a16:creationId xmlns:a16="http://schemas.microsoft.com/office/drawing/2014/main" id="{54D681F3-E96C-4EB1-8CB0-632568870989}"/>
              </a:ext>
            </a:extLst>
          </p:cNvPr>
          <p:cNvSpPr txBox="1"/>
          <p:nvPr/>
        </p:nvSpPr>
        <p:spPr>
          <a:xfrm>
            <a:off x="762672" y="5322960"/>
            <a:ext cx="3336811" cy="12926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Optimize on scenarios for their business</a:t>
            </a:r>
            <a:r>
              <a:rPr kumimoji="0" lang="en-US" sz="1200" b="0" i="0" u="none" strike="noStrike" kern="1200" cap="none" spc="0" normalizeH="0" baseline="0" noProof="0">
                <a:ln>
                  <a:noFill/>
                </a:ln>
                <a:solidFill>
                  <a:prstClr val="black"/>
                </a:solidFill>
                <a:effectLst/>
                <a:uLnTx/>
                <a:uFillTx/>
                <a:latin typeface="Segoe UI"/>
                <a:ea typeface="+mn-ea"/>
                <a:cs typeface="+mn-cs"/>
              </a:rPr>
              <a:t>. If one search solution requires a high volume of speed to index over a medium amount of data, they will create service 1 separate from service 2, which is searching over a large amount of data but only a small group of people need to index it or index it infrequently. </a:t>
            </a:r>
          </a:p>
        </p:txBody>
      </p:sp>
      <p:sp>
        <p:nvSpPr>
          <p:cNvPr id="36" name="TextBox 35">
            <a:extLst>
              <a:ext uri="{FF2B5EF4-FFF2-40B4-BE49-F238E27FC236}">
                <a16:creationId xmlns:a16="http://schemas.microsoft.com/office/drawing/2014/main" id="{94784F0C-0306-491F-8839-6547F2F816AE}"/>
              </a:ext>
            </a:extLst>
          </p:cNvPr>
          <p:cNvSpPr txBox="1"/>
          <p:nvPr/>
        </p:nvSpPr>
        <p:spPr>
          <a:xfrm>
            <a:off x="4755708" y="5322960"/>
            <a:ext cx="333681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Segment between </a:t>
            </a:r>
            <a:r>
              <a:rPr kumimoji="0" lang="en-US" sz="1200" b="1" i="0" u="none" strike="noStrike" kern="1200" cap="none" spc="0" normalizeH="0" baseline="0" noProof="0">
                <a:ln>
                  <a:noFill/>
                </a:ln>
                <a:solidFill>
                  <a:prstClr val="black"/>
                </a:solidFill>
                <a:effectLst/>
                <a:uLnTx/>
                <a:uFillTx/>
                <a:latin typeface="Segoe UI"/>
                <a:ea typeface="+mn-ea"/>
                <a:cs typeface="+mn-cs"/>
              </a:rPr>
              <a:t>external and internal</a:t>
            </a:r>
            <a:r>
              <a:rPr kumimoji="0" lang="en-US" sz="1200" b="0" i="0" u="none" strike="noStrike" kern="1200" cap="none" spc="0" normalizeH="0" baseline="0" noProof="0">
                <a:ln>
                  <a:noFill/>
                </a:ln>
                <a:solidFill>
                  <a:prstClr val="black"/>
                </a:solidFill>
                <a:effectLst/>
                <a:uLnTx/>
                <a:uFillTx/>
                <a:latin typeface="Segoe UI"/>
                <a:ea typeface="+mn-ea"/>
                <a:cs typeface="+mn-cs"/>
              </a:rPr>
              <a:t> applications</a:t>
            </a:r>
          </a:p>
        </p:txBody>
      </p:sp>
      <p:sp>
        <p:nvSpPr>
          <p:cNvPr id="37" name="TextBox 36">
            <a:extLst>
              <a:ext uri="{FF2B5EF4-FFF2-40B4-BE49-F238E27FC236}">
                <a16:creationId xmlns:a16="http://schemas.microsoft.com/office/drawing/2014/main" id="{A9BC4132-B977-422A-96AE-58206C81E7FC}"/>
              </a:ext>
            </a:extLst>
          </p:cNvPr>
          <p:cNvSpPr txBox="1"/>
          <p:nvPr/>
        </p:nvSpPr>
        <p:spPr>
          <a:xfrm>
            <a:off x="8546404" y="5338884"/>
            <a:ext cx="333681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Serve </a:t>
            </a:r>
            <a:r>
              <a:rPr kumimoji="0" lang="en-US" sz="1200" b="1" i="0" u="none" strike="noStrike" kern="1200" cap="none" spc="0" normalizeH="0" baseline="0" noProof="0">
                <a:ln>
                  <a:noFill/>
                </a:ln>
                <a:solidFill>
                  <a:prstClr val="black"/>
                </a:solidFill>
                <a:effectLst/>
                <a:uLnTx/>
                <a:uFillTx/>
                <a:latin typeface="Segoe UI"/>
                <a:ea typeface="+mn-ea"/>
                <a:cs typeface="+mn-cs"/>
              </a:rPr>
              <a:t>multiple markets</a:t>
            </a:r>
            <a:r>
              <a:rPr kumimoji="0" lang="en-US" sz="1200" b="0" i="0" u="none" strike="noStrike" kern="1200" cap="none" spc="0" normalizeH="0" baseline="0" noProof="0">
                <a:ln>
                  <a:noFill/>
                </a:ln>
                <a:solidFill>
                  <a:prstClr val="black"/>
                </a:solidFill>
                <a:effectLst/>
                <a:uLnTx/>
                <a:uFillTx/>
                <a:latin typeface="Segoe UI"/>
                <a:ea typeface="+mn-ea"/>
                <a:cs typeface="+mn-cs"/>
              </a:rPr>
              <a:t>.</a:t>
            </a:r>
          </a:p>
        </p:txBody>
      </p:sp>
      <p:sp>
        <p:nvSpPr>
          <p:cNvPr id="39" name="Title 2">
            <a:extLst>
              <a:ext uri="{FF2B5EF4-FFF2-40B4-BE49-F238E27FC236}">
                <a16:creationId xmlns:a16="http://schemas.microsoft.com/office/drawing/2014/main" id="{CA3E7AFF-0711-4C77-9E43-F17AF948C9A1}"/>
              </a:ext>
            </a:extLst>
          </p:cNvPr>
          <p:cNvSpPr txBox="1">
            <a:spLocks/>
          </p:cNvSpPr>
          <p:nvPr/>
        </p:nvSpPr>
        <p:spPr>
          <a:xfrm>
            <a:off x="231360" y="578268"/>
            <a:ext cx="10342044" cy="1096492"/>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r>
              <a:rPr lang="en-US" sz="4400" b="1">
                <a:solidFill>
                  <a:srgbClr val="505050"/>
                </a:solidFill>
              </a:rPr>
              <a:t>Consumption Driver Details</a:t>
            </a:r>
          </a:p>
        </p:txBody>
      </p:sp>
    </p:spTree>
    <p:extLst>
      <p:ext uri="{BB962C8B-B14F-4D97-AF65-F5344CB8AC3E}">
        <p14:creationId xmlns:p14="http://schemas.microsoft.com/office/powerpoint/2010/main" val="62550312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56340A-D5EF-48F1-BAF4-1381E88C6DCF}"/>
              </a:ext>
            </a:extLst>
          </p:cNvPr>
          <p:cNvSpPr>
            <a:spLocks noGrp="1"/>
          </p:cNvSpPr>
          <p:nvPr>
            <p:ph type="body" sz="quarter" idx="10"/>
          </p:nvPr>
        </p:nvSpPr>
        <p:spPr>
          <a:xfrm>
            <a:off x="269238" y="1693140"/>
            <a:ext cx="11653523" cy="3471720"/>
          </a:xfrm>
        </p:spPr>
        <p:txBody>
          <a:bodyPr/>
          <a:lstStyle/>
          <a:p>
            <a:r>
              <a:rPr lang="en-US" sz="2400"/>
              <a:t>The ECIF policy guide can be found at this </a:t>
            </a:r>
            <a:r>
              <a:rPr lang="en-US" sz="2400">
                <a:hlinkClick r:id="rId2"/>
              </a:rPr>
              <a:t>link</a:t>
            </a:r>
            <a:endParaRPr lang="en-US" sz="2400"/>
          </a:p>
          <a:p>
            <a:r>
              <a:rPr lang="en-US" sz="2400"/>
              <a:t>ROI for ECIF requests for AI workloads is </a:t>
            </a:r>
            <a:r>
              <a:rPr lang="en-US" sz="2400" b="1"/>
              <a:t>1.5-2.5x</a:t>
            </a:r>
            <a:r>
              <a:rPr lang="en-US" sz="2400"/>
              <a:t> vs. 10x for other workloads</a:t>
            </a:r>
          </a:p>
          <a:p>
            <a:r>
              <a:rPr lang="en-US" sz="2400"/>
              <a:t>ECIF request are to be made through the OneAsk process via the </a:t>
            </a:r>
            <a:r>
              <a:rPr lang="en-US" sz="2400">
                <a:hlinkClick r:id="rId3"/>
              </a:rPr>
              <a:t>OneAsk Portal</a:t>
            </a:r>
            <a:endParaRPr lang="en-US" sz="2400"/>
          </a:p>
          <a:p>
            <a:r>
              <a:rPr lang="en-US" sz="2400"/>
              <a:t>ECIF requests must be made by sales teams in the country where it will be utilized</a:t>
            </a:r>
          </a:p>
          <a:p>
            <a:endParaRPr lang="en-US" sz="2400"/>
          </a:p>
          <a:p>
            <a:r>
              <a:rPr lang="en-US" sz="2400"/>
              <a:t>ECIF is defined as monetary funding of, or payments for, services delivered to Microsoft end-customers in support of Microsoft products, to drive deployment or migration of MS products, or provide support or Product Quality Remediation (“PQR”)</a:t>
            </a:r>
          </a:p>
          <a:p>
            <a:endParaRPr lang="en-US" sz="2400"/>
          </a:p>
        </p:txBody>
      </p:sp>
      <p:sp>
        <p:nvSpPr>
          <p:cNvPr id="7" name="Title 2">
            <a:extLst>
              <a:ext uri="{FF2B5EF4-FFF2-40B4-BE49-F238E27FC236}">
                <a16:creationId xmlns:a16="http://schemas.microsoft.com/office/drawing/2014/main" id="{40023DCA-FFE3-4ED5-8BFB-F3468C904437}"/>
              </a:ext>
            </a:extLst>
          </p:cNvPr>
          <p:cNvSpPr txBox="1">
            <a:spLocks/>
          </p:cNvSpPr>
          <p:nvPr/>
        </p:nvSpPr>
        <p:spPr>
          <a:xfrm>
            <a:off x="231360" y="569634"/>
            <a:ext cx="10342044" cy="1105126"/>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r>
              <a:rPr lang="en-US" sz="4400" b="1">
                <a:solidFill>
                  <a:srgbClr val="505050"/>
                </a:solidFill>
              </a:rPr>
              <a:t>ECIF Guidance</a:t>
            </a:r>
          </a:p>
        </p:txBody>
      </p:sp>
    </p:spTree>
    <p:extLst>
      <p:ext uri="{BB962C8B-B14F-4D97-AF65-F5344CB8AC3E}">
        <p14:creationId xmlns:p14="http://schemas.microsoft.com/office/powerpoint/2010/main" val="19884373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1E5AD2-B35D-4243-9E49-084A36AE574B}"/>
              </a:ext>
            </a:extLst>
          </p:cNvPr>
          <p:cNvPicPr>
            <a:picLocks noChangeAspect="1"/>
          </p:cNvPicPr>
          <p:nvPr/>
        </p:nvPicPr>
        <p:blipFill>
          <a:blip r:embed="rId4"/>
          <a:stretch>
            <a:fillRect/>
          </a:stretch>
        </p:blipFill>
        <p:spPr>
          <a:xfrm>
            <a:off x="7019925" y="-11638"/>
            <a:ext cx="5172075" cy="6869638"/>
          </a:xfrm>
          <a:prstGeom prst="rect">
            <a:avLst/>
          </a:prstGeom>
        </p:spPr>
      </p:pic>
      <p:sp>
        <p:nvSpPr>
          <p:cNvPr id="5" name="Content Placeholder 10"/>
          <p:cNvSpPr txBox="1">
            <a:spLocks/>
          </p:cNvSpPr>
          <p:nvPr/>
        </p:nvSpPr>
        <p:spPr>
          <a:xfrm>
            <a:off x="276225" y="1512408"/>
            <a:ext cx="6602557" cy="643415"/>
          </a:xfrm>
          <a:prstGeom prst="rect">
            <a:avLst/>
          </a:prstGeom>
        </p:spPr>
        <p:txBody>
          <a:bodyPr wrap="square" lIns="0" tIns="0" rIns="0" bIns="0" anchor="b" anchorCtr="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20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231775" indent="-231775" algn="l" defTabSz="914400" rtl="0" eaLnBrk="1" latinLnBrk="0" hangingPunct="1">
              <a:lnSpc>
                <a:spcPct val="100000"/>
              </a:lnSpc>
              <a:spcBef>
                <a:spcPts val="0"/>
              </a:spcBef>
              <a:spcAft>
                <a:spcPts val="900"/>
              </a:spcAft>
              <a:buSzPct val="80000"/>
              <a:buFont typeface="Arial" panose="020B0604020202020204" pitchFamily="34" charset="0"/>
              <a:buChar char="•"/>
              <a:defRPr sz="20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458788" indent="-228600" algn="l" defTabSz="914400" rtl="0" eaLnBrk="1" latinLnBrk="0" hangingPunct="1">
              <a:lnSpc>
                <a:spcPct val="100000"/>
              </a:lnSpc>
              <a:spcBef>
                <a:spcPts val="0"/>
              </a:spcBef>
              <a:spcAft>
                <a:spcPts val="900"/>
              </a:spcAft>
              <a:buSzPct val="80000"/>
              <a:buFont typeface="Arial" panose="020B0604020202020204" pitchFamily="34" charset="0"/>
              <a:buChar char="•"/>
              <a:defRPr sz="16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685800" indent="-228600" algn="l" defTabSz="914400" rtl="0" eaLnBrk="1" latinLnBrk="0" hangingPunct="1">
              <a:lnSpc>
                <a:spcPct val="100000"/>
              </a:lnSpc>
              <a:spcBef>
                <a:spcPts val="0"/>
              </a:spcBef>
              <a:spcAft>
                <a:spcPts val="900"/>
              </a:spcAft>
              <a:buSzPct val="80000"/>
              <a:buFont typeface="Arial" panose="020B0604020202020204" pitchFamily="34" charset="0"/>
              <a:buChar char="•"/>
              <a:defRPr sz="16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911225" indent="-228600" algn="l" defTabSz="914400" rtl="0" eaLnBrk="1" latinLnBrk="0" hangingPunct="1">
              <a:lnSpc>
                <a:spcPct val="100000"/>
              </a:lnSpc>
              <a:spcBef>
                <a:spcPts val="0"/>
              </a:spcBef>
              <a:spcAft>
                <a:spcPts val="900"/>
              </a:spcAft>
              <a:buSzPct val="80000"/>
              <a:buFont typeface="Arial" panose="020B0604020202020204" pitchFamily="34" charset="0"/>
              <a:buChar char="•"/>
              <a:defRPr sz="1200" kern="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72C6"/>
                </a:solidFill>
                <a:effectLst/>
                <a:uLnTx/>
                <a:uFillTx/>
                <a:latin typeface="Segoe UI" panose="020B0502040204020203" pitchFamily="34" charset="0"/>
                <a:cs typeface="Segoe UI" panose="020B0502040204020203" pitchFamily="34" charset="0"/>
              </a:rPr>
              <a:t>Commercial Software Engineering </a:t>
            </a:r>
          </a:p>
        </p:txBody>
      </p:sp>
      <p:sp>
        <p:nvSpPr>
          <p:cNvPr id="12" name="Content Placeholder 3">
            <a:extLst>
              <a:ext uri="{FF2B5EF4-FFF2-40B4-BE49-F238E27FC236}">
                <a16:creationId xmlns:a16="http://schemas.microsoft.com/office/drawing/2014/main" id="{F7FFF5F5-12B3-4056-9516-8C06313C82B9}"/>
              </a:ext>
            </a:extLst>
          </p:cNvPr>
          <p:cNvSpPr txBox="1">
            <a:spLocks/>
          </p:cNvSpPr>
          <p:nvPr/>
        </p:nvSpPr>
        <p:spPr>
          <a:xfrm>
            <a:off x="276225" y="2371402"/>
            <a:ext cx="6602557" cy="2330776"/>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192" rtl="0" eaLnBrk="1" fontAlgn="auto" latinLnBrk="0" hangingPunct="1">
              <a:lnSpc>
                <a:spcPct val="90000"/>
              </a:lnSpc>
              <a:spcBef>
                <a:spcPct val="0"/>
              </a:spcBef>
              <a:spcAft>
                <a:spcPts val="1176"/>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CSE has developed capabilities around Knowledge Mining and has delivered a number of Knowledge Mining projects</a:t>
            </a:r>
          </a:p>
          <a:p>
            <a:pPr marL="285750" marR="0" lvl="1" indent="-285750" algn="l" defTabSz="914192" rtl="0" eaLnBrk="1" fontAlgn="auto" latinLnBrk="0" hangingPunct="1">
              <a:lnSpc>
                <a:spcPct val="90000"/>
              </a:lnSpc>
              <a:spcBef>
                <a:spcPct val="0"/>
              </a:spcBef>
              <a:spcAft>
                <a:spcPts val="1176"/>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CSE typically engages on S400 and Global ISV 120 accounts</a:t>
            </a:r>
          </a:p>
          <a:p>
            <a:pPr marL="285750" marR="0" lvl="1" indent="-285750" algn="l" defTabSz="914192" rtl="0" eaLnBrk="1" fontAlgn="auto" latinLnBrk="0" hangingPunct="1">
              <a:lnSpc>
                <a:spcPct val="90000"/>
              </a:lnSpc>
              <a:spcBef>
                <a:spcPct val="0"/>
              </a:spcBef>
              <a:spcAft>
                <a:spcPts val="1176"/>
              </a:spcAft>
              <a:buClrTx/>
              <a:buSzPct val="90000"/>
              <a:buFont typeface="Arial" pitchFamily="34" charset="0"/>
              <a:buChar char="•"/>
              <a:tabLst/>
              <a:defRPr/>
            </a:pPr>
            <a:r>
              <a:rPr lang="en-US" sz="2000" spc="-100">
                <a:ln w="3175">
                  <a:noFill/>
                </a:ln>
                <a:solidFill>
                  <a:srgbClr val="505050"/>
                </a:solidFill>
                <a:latin typeface="Segoe UI Light" panose="020B0502040204020203" pitchFamily="34" charset="0"/>
                <a:cs typeface="Segoe UI Light" panose="020B0502040204020203" pitchFamily="34" charset="0"/>
              </a:rPr>
              <a:t>Depending on needs there are several approaches that can be taken</a:t>
            </a:r>
          </a:p>
          <a:p>
            <a:pPr marL="501650" lvl="2" indent="-285750" defTabSz="914192">
              <a:spcBef>
                <a:spcPct val="0"/>
              </a:spcBef>
              <a:spcAft>
                <a:spcPts val="1176"/>
              </a:spcAft>
              <a:defRPr/>
            </a:pPr>
            <a:r>
              <a:rPr kumimoji="0" lang="en-US"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Begin with an Architecture Design Session</a:t>
            </a:r>
          </a:p>
          <a:p>
            <a:pPr marL="501650" lvl="2" indent="-285750" defTabSz="914192">
              <a:spcBef>
                <a:spcPct val="0"/>
              </a:spcBef>
              <a:spcAft>
                <a:spcPts val="1176"/>
              </a:spcAft>
              <a:defRPr/>
            </a:pPr>
            <a:r>
              <a:rPr kumimoji="0" lang="en-US"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Open Hacks are being developed and may be deployed on a case by case basis</a:t>
            </a:r>
          </a:p>
          <a:p>
            <a:pPr marL="285750" lvl="1" indent="-285750" defTabSz="914192">
              <a:spcBef>
                <a:spcPct val="0"/>
              </a:spcBef>
              <a:spcAft>
                <a:spcPts val="1176"/>
              </a:spcAft>
              <a:defRPr/>
            </a:pPr>
            <a:r>
              <a:rPr lang="en-US" sz="2000" spc="-100">
                <a:ln w="3175">
                  <a:noFill/>
                </a:ln>
                <a:solidFill>
                  <a:srgbClr val="505050"/>
                </a:solidFill>
                <a:latin typeface="Segoe UI Light" panose="020B0502040204020203" pitchFamily="34" charset="0"/>
                <a:cs typeface="Segoe UI Light" panose="020B0502040204020203" pitchFamily="34" charset="0"/>
              </a:rPr>
              <a:t>CSE Contacts </a:t>
            </a:r>
            <a:r>
              <a:rPr lang="en-US" sz="2000" spc="-100">
                <a:ln w="3175">
                  <a:noFill/>
                </a:ln>
                <a:solidFill>
                  <a:srgbClr val="434343"/>
                </a:solidFill>
                <a:latin typeface="Segoe UI Light" panose="020B0502040204020203" pitchFamily="34" charset="0"/>
                <a:cs typeface="Segoe UI Light" panose="020B0502040204020203" pitchFamily="34" charset="0"/>
                <a:hlinkClick r:id="rId5"/>
              </a:rPr>
              <a:t>https://microsoft.sharepoint.com/teams/CSEHub/Pages/CSEContacts.aspx</a:t>
            </a:r>
            <a:endParaRPr lang="en-US" sz="2000" spc="-100">
              <a:ln w="3175">
                <a:noFill/>
              </a:ln>
              <a:solidFill>
                <a:srgbClr val="434343"/>
              </a:solidFill>
              <a:latin typeface="Segoe UI Light" panose="020B0502040204020203" pitchFamily="34" charset="0"/>
              <a:cs typeface="Segoe UI Light" panose="020B0502040204020203" pitchFamily="34" charset="0"/>
            </a:endParaRPr>
          </a:p>
        </p:txBody>
      </p:sp>
      <p:sp>
        <p:nvSpPr>
          <p:cNvPr id="7" name="Title 1">
            <a:extLst>
              <a:ext uri="{FF2B5EF4-FFF2-40B4-BE49-F238E27FC236}">
                <a16:creationId xmlns:a16="http://schemas.microsoft.com/office/drawing/2014/main" id="{ADD83DDE-6E17-497D-8F3E-A0E834B5227B}"/>
              </a:ext>
            </a:extLst>
          </p:cNvPr>
          <p:cNvSpPr txBox="1">
            <a:spLocks/>
          </p:cNvSpPr>
          <p:nvPr/>
        </p:nvSpPr>
        <p:spPr>
          <a:xfrm>
            <a:off x="89189" y="569634"/>
            <a:ext cx="6867871" cy="911710"/>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b="1" i="0" u="none" strike="noStrike" kern="1200" cap="none" spc="-100" normalizeH="0" baseline="0" noProof="0">
                <a:ln w="3175">
                  <a:noFill/>
                </a:ln>
                <a:solidFill>
                  <a:srgbClr val="505050"/>
                </a:solidFill>
                <a:effectLst/>
                <a:uLnTx/>
                <a:uFillTx/>
                <a:latin typeface="Segoe UI Light"/>
                <a:ea typeface="+mn-ea"/>
                <a:cs typeface="Segoe UI" pitchFamily="34" charset="0"/>
              </a:rPr>
              <a:t>CSE Team</a:t>
            </a:r>
          </a:p>
        </p:txBody>
      </p:sp>
    </p:spTree>
    <p:custDataLst>
      <p:tags r:id="rId1"/>
    </p:custDataLst>
    <p:extLst>
      <p:ext uri="{BB962C8B-B14F-4D97-AF65-F5344CB8AC3E}">
        <p14:creationId xmlns:p14="http://schemas.microsoft.com/office/powerpoint/2010/main" val="310094991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40023DCA-FFE3-4ED5-8BFB-F3468C904437}"/>
              </a:ext>
            </a:extLst>
          </p:cNvPr>
          <p:cNvSpPr txBox="1">
            <a:spLocks/>
          </p:cNvSpPr>
          <p:nvPr/>
        </p:nvSpPr>
        <p:spPr>
          <a:xfrm>
            <a:off x="231360" y="569634"/>
            <a:ext cx="10342044" cy="1105126"/>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r>
              <a:rPr lang="en-US" sz="4400" b="1">
                <a:solidFill>
                  <a:srgbClr val="505050"/>
                </a:solidFill>
              </a:rPr>
              <a:t>CTA &amp; Field Resources</a:t>
            </a:r>
          </a:p>
        </p:txBody>
      </p:sp>
      <p:sp>
        <p:nvSpPr>
          <p:cNvPr id="8" name="Content Placeholder 3">
            <a:extLst>
              <a:ext uri="{FF2B5EF4-FFF2-40B4-BE49-F238E27FC236}">
                <a16:creationId xmlns:a16="http://schemas.microsoft.com/office/drawing/2014/main" id="{983CAB09-8B21-437E-BC10-16A14C3FAA05}"/>
              </a:ext>
            </a:extLst>
          </p:cNvPr>
          <p:cNvSpPr txBox="1">
            <a:spLocks/>
          </p:cNvSpPr>
          <p:nvPr/>
        </p:nvSpPr>
        <p:spPr>
          <a:xfrm>
            <a:off x="329662" y="1635406"/>
            <a:ext cx="5863319" cy="2330776"/>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ct val="0"/>
              </a:spcBef>
              <a:spcAft>
                <a:spcPts val="1200"/>
              </a:spcAft>
              <a:buClrTx/>
              <a:buSzPct val="90000"/>
              <a:buFont typeface="Arial" pitchFamily="34" charset="0"/>
              <a:buNone/>
              <a:tabLst/>
              <a:defRPr/>
            </a:pPr>
            <a:r>
              <a:rPr kumimoji="0" lang="en-US" sz="20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Call To Action</a:t>
            </a:r>
            <a:endPar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endParaRP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lang="en-US" sz="2000" spc="-100">
                <a:ln w="3175">
                  <a:noFill/>
                </a:ln>
                <a:solidFill>
                  <a:srgbClr val="505050"/>
                </a:solidFill>
                <a:latin typeface="Segoe UI Light" panose="020B0502040204020203" pitchFamily="34" charset="0"/>
                <a:cs typeface="Segoe UI Light" panose="020B0502040204020203" pitchFamily="34" charset="0"/>
              </a:rPr>
              <a:t>Utilize the </a:t>
            </a:r>
            <a:r>
              <a:rPr lang="en-US" sz="2000" spc="-100">
                <a:ln w="3175">
                  <a:noFill/>
                </a:ln>
                <a:solidFill>
                  <a:srgbClr val="505050"/>
                </a:solidFill>
                <a:latin typeface="Segoe UI Light" panose="020B0502040204020203" pitchFamily="34" charset="0"/>
                <a:cs typeface="Segoe UI Light" panose="020B0502040204020203" pitchFamily="34" charset="0"/>
                <a:hlinkClick r:id="rId2" action="ppaction://hlinksldjump"/>
              </a:rPr>
              <a:t>AI engagement process </a:t>
            </a:r>
            <a:r>
              <a:rPr lang="en-US" sz="2000" spc="-100">
                <a:ln w="3175">
                  <a:noFill/>
                </a:ln>
                <a:solidFill>
                  <a:srgbClr val="505050"/>
                </a:solidFill>
                <a:latin typeface="Segoe UI Light" panose="020B0502040204020203" pitchFamily="34" charset="0"/>
                <a:cs typeface="Segoe UI Light" panose="020B0502040204020203" pitchFamily="34" charset="0"/>
              </a:rPr>
              <a:t>and tools</a:t>
            </a:r>
            <a:endPar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endParaRP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Identify 3-5 new </a:t>
            </a:r>
            <a:r>
              <a:rPr lang="en-US" sz="2000" spc="-100">
                <a:ln w="3175">
                  <a:noFill/>
                </a:ln>
                <a:solidFill>
                  <a:srgbClr val="505050"/>
                </a:solidFill>
                <a:latin typeface="Segoe UI Light" panose="020B0502040204020203" pitchFamily="34" charset="0"/>
                <a:cs typeface="Segoe UI Light" panose="020B0502040204020203" pitchFamily="34" charset="0"/>
              </a:rPr>
              <a:t>Knowledge Mining</a:t>
            </a: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 Opportunities for initial discussions</a:t>
            </a: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Determine which </a:t>
            </a: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hlinkClick r:id="rId3" action="ppaction://hlinksldjump"/>
              </a:rPr>
              <a:t>partners</a:t>
            </a: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 you would like to leverage for each opportunity and engage them early </a:t>
            </a: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Set and conduct an envisioning session with customers to qualify the opportunity or deliver via a partner</a:t>
            </a: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Leverage TSPs, CSAs, AI Ambassadors and GBB TSPs as needed to move the opportunity forward</a:t>
            </a: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Bring top deals to the </a:t>
            </a:r>
            <a:r>
              <a:rPr kumimoji="0" lang="en-US" sz="2000" b="0" i="0" u="none" strike="noStrike" kern="1200" cap="none" spc="-100" normalizeH="0" baseline="0" noProof="0">
                <a:ln w="3175">
                  <a:noFill/>
                </a:ln>
                <a:solidFill>
                  <a:srgbClr val="00B0F0"/>
                </a:solidFill>
                <a:effectLst/>
                <a:uLnTx/>
                <a:uFillTx/>
                <a:latin typeface="Segoe UI Light" panose="020B0502040204020203" pitchFamily="34" charset="0"/>
                <a:cs typeface="Segoe UI Light" panose="020B0502040204020203" pitchFamily="34" charset="0"/>
                <a:hlinkClick r:id="rId4">
                  <a:extLst>
                    <a:ext uri="{A12FA001-AC4F-418D-AE19-62706E023703}">
                      <ahyp:hlinkClr xmlns:ahyp="http://schemas.microsoft.com/office/drawing/2018/hyperlinkcolor" val="tx"/>
                    </a:ext>
                  </a:extLst>
                </a:hlinkClick>
              </a:rPr>
              <a:t>DWR</a:t>
            </a: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 for support</a:t>
            </a: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endParaRPr kumimoji="0" lang="en-US" sz="2000" b="0" i="0" u="none" strike="noStrike" kern="1200" cap="none" spc="0" normalizeH="0" baseline="0" noProof="0">
              <a:ln>
                <a:noFill/>
              </a:ln>
              <a:solidFill>
                <a:srgbClr val="505050"/>
              </a:solidFill>
              <a:effectLst/>
              <a:uLnTx/>
              <a:uFillTx/>
              <a:latin typeface="Segoe UI Light" panose="020B0502040204020203" pitchFamily="34" charset="0"/>
              <a:cs typeface="Segoe UI Light" panose="020B0502040204020203" pitchFamily="34" charset="0"/>
            </a:endParaRPr>
          </a:p>
        </p:txBody>
      </p:sp>
      <p:sp>
        <p:nvSpPr>
          <p:cNvPr id="12" name="Content Placeholder 3">
            <a:extLst>
              <a:ext uri="{FF2B5EF4-FFF2-40B4-BE49-F238E27FC236}">
                <a16:creationId xmlns:a16="http://schemas.microsoft.com/office/drawing/2014/main" id="{5CCCB3BB-B471-41C5-B75E-E96C3A984935}"/>
              </a:ext>
            </a:extLst>
          </p:cNvPr>
          <p:cNvSpPr txBox="1">
            <a:spLocks/>
          </p:cNvSpPr>
          <p:nvPr/>
        </p:nvSpPr>
        <p:spPr>
          <a:xfrm>
            <a:off x="6400799" y="1635406"/>
            <a:ext cx="5559841" cy="5302876"/>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14102" fontAlgn="base">
              <a:lnSpc>
                <a:spcPct val="100000"/>
              </a:lnSpc>
              <a:spcBef>
                <a:spcPct val="0"/>
              </a:spcBef>
              <a:spcAft>
                <a:spcPts val="600"/>
              </a:spcAft>
              <a:buSzTx/>
              <a:buNone/>
              <a:defRPr/>
            </a:pPr>
            <a:r>
              <a:rPr lang="en-US" sz="2000" b="1" spc="-100">
                <a:ln w="3175">
                  <a:noFill/>
                </a:ln>
                <a:solidFill>
                  <a:srgbClr val="434343"/>
                </a:solidFill>
                <a:latin typeface="Segoe UI Light" panose="020B0502040204020203" pitchFamily="34" charset="0"/>
                <a:cs typeface="Segoe UI Light" panose="020B0502040204020203" pitchFamily="34" charset="0"/>
              </a:rPr>
              <a:t>Resources </a:t>
            </a:r>
          </a:p>
          <a:p>
            <a:pPr defTabSz="914102" fontAlgn="base">
              <a:lnSpc>
                <a:spcPct val="100000"/>
              </a:lnSpc>
              <a:spcBef>
                <a:spcPct val="0"/>
              </a:spcBef>
              <a:spcAft>
                <a:spcPts val="600"/>
              </a:spcAft>
              <a:buSzTx/>
              <a:defRPr/>
            </a:pPr>
            <a:r>
              <a:rPr lang="en-US" sz="2000" spc="-100">
                <a:ln w="3175">
                  <a:noFill/>
                </a:ln>
                <a:solidFill>
                  <a:srgbClr val="434343"/>
                </a:solidFill>
                <a:latin typeface="Segoe UI Light" panose="020B0502040204020203" pitchFamily="34" charset="0"/>
                <a:cs typeface="Segoe UI Light" panose="020B0502040204020203" pitchFamily="34" charset="0"/>
              </a:rPr>
              <a:t>Account Targeting</a:t>
            </a:r>
          </a:p>
          <a:p>
            <a:pPr marL="0" lvl="1" indent="0" defTabSz="914367">
              <a:lnSpc>
                <a:spcPct val="100000"/>
              </a:lnSpc>
              <a:spcBef>
                <a:spcPts val="0"/>
              </a:spcBef>
              <a:spcAft>
                <a:spcPts val="600"/>
              </a:spcAft>
              <a:buNone/>
              <a:defRPr/>
            </a:pPr>
            <a:r>
              <a:rPr lang="en-US" sz="2000">
                <a:gradFill>
                  <a:gsLst>
                    <a:gs pos="1250">
                      <a:srgbClr val="434343"/>
                    </a:gs>
                    <a:gs pos="100000">
                      <a:srgbClr val="434343"/>
                    </a:gs>
                  </a:gsLst>
                  <a:lin ang="5400000" scaled="0"/>
                </a:gradFill>
                <a:latin typeface="Segoe UI Light" panose="020B0502040204020203" pitchFamily="34" charset="0"/>
                <a:cs typeface="Segoe UI Light" panose="020B0502040204020203" pitchFamily="34" charset="0"/>
                <a:hlinkClick r:id="rId5"/>
              </a:rPr>
              <a:t>Account Grid</a:t>
            </a:r>
            <a:r>
              <a:rPr lang="en-US" sz="2000">
                <a:gradFill>
                  <a:gsLst>
                    <a:gs pos="1250">
                      <a:srgbClr val="434343"/>
                    </a:gs>
                    <a:gs pos="100000">
                      <a:srgbClr val="434343"/>
                    </a:gs>
                  </a:gsLst>
                  <a:lin ang="5400000" scaled="0"/>
                </a:gradFill>
                <a:latin typeface="Segoe UI Light" panose="020B0502040204020203" pitchFamily="34" charset="0"/>
                <a:cs typeface="Segoe UI Light" panose="020B0502040204020203" pitchFamily="34" charset="0"/>
              </a:rPr>
              <a:t> </a:t>
            </a:r>
            <a:r>
              <a:rPr lang="en-US" sz="2000">
                <a:solidFill>
                  <a:srgbClr val="505050"/>
                </a:solidFill>
                <a:latin typeface="Segoe UI Light" panose="020B0502040204020203" pitchFamily="34" charset="0"/>
                <a:ea typeface="Segoe UI Semilight" charset="0"/>
                <a:cs typeface="Segoe UI Light" panose="020B0502040204020203" pitchFamily="34" charset="0"/>
              </a:rPr>
              <a:t>| </a:t>
            </a:r>
            <a:r>
              <a:rPr lang="en-US" sz="2000" err="1">
                <a:gradFill>
                  <a:gsLst>
                    <a:gs pos="1250">
                      <a:srgbClr val="434343"/>
                    </a:gs>
                    <a:gs pos="100000">
                      <a:srgbClr val="434343"/>
                    </a:gs>
                  </a:gsLst>
                  <a:lin ang="5400000" scaled="0"/>
                </a:gradFill>
                <a:latin typeface="Segoe UI Light" panose="020B0502040204020203" pitchFamily="34" charset="0"/>
                <a:cs typeface="Segoe UI Light" panose="020B0502040204020203" pitchFamily="34" charset="0"/>
                <a:hlinkClick r:id="rId6"/>
              </a:rPr>
              <a:t>MegaMap</a:t>
            </a:r>
            <a:endParaRPr lang="en-US" sz="2000">
              <a:solidFill>
                <a:srgbClr val="505050"/>
              </a:solidFill>
              <a:latin typeface="Segoe UI Light" panose="020B0502040204020203" pitchFamily="34" charset="0"/>
              <a:ea typeface="Segoe UI" charset="0"/>
              <a:cs typeface="Segoe UI Light" panose="020B0502040204020203" pitchFamily="34" charset="0"/>
            </a:endParaRPr>
          </a:p>
          <a:p>
            <a:pPr defTabSz="914102" fontAlgn="base">
              <a:lnSpc>
                <a:spcPct val="100000"/>
              </a:lnSpc>
              <a:spcBef>
                <a:spcPct val="0"/>
              </a:spcBef>
              <a:spcAft>
                <a:spcPct val="0"/>
              </a:spcAft>
              <a:buSzTx/>
              <a:defRPr/>
            </a:pPr>
            <a:r>
              <a:rPr lang="en-US" sz="2000">
                <a:solidFill>
                  <a:srgbClr val="505050"/>
                </a:solidFill>
                <a:latin typeface="Segoe UI Light" panose="020B0502040204020203" pitchFamily="34" charset="0"/>
                <a:ea typeface="Segoe UI" charset="0"/>
                <a:cs typeface="Segoe UI Light" panose="020B0502040204020203" pitchFamily="34" charset="0"/>
              </a:rPr>
              <a:t>Envisioning Resources</a:t>
            </a:r>
          </a:p>
          <a:p>
            <a:pPr marL="0" lvl="0" indent="0" defTabSz="914367">
              <a:spcBef>
                <a:spcPts val="0"/>
              </a:spcBef>
              <a:buNone/>
              <a:defRPr/>
            </a:pPr>
            <a:r>
              <a:rPr lang="en-US" sz="2000">
                <a:gradFill>
                  <a:gsLst>
                    <a:gs pos="2917">
                      <a:srgbClr val="505050"/>
                    </a:gs>
                    <a:gs pos="30000">
                      <a:srgbClr val="505050"/>
                    </a:gs>
                  </a:gsLst>
                  <a:lin ang="5400000" scaled="0"/>
                </a:gradFill>
                <a:cs typeface="Calibri" panose="020F0502020204030204" pitchFamily="34" charset="0"/>
                <a:hlinkClick r:id="rId7"/>
              </a:rPr>
              <a:t>Book of Dreams</a:t>
            </a:r>
            <a:r>
              <a:rPr lang="en-US" sz="2000">
                <a:gradFill>
                  <a:gsLst>
                    <a:gs pos="2917">
                      <a:srgbClr val="505050"/>
                    </a:gs>
                    <a:gs pos="30000">
                      <a:srgbClr val="505050"/>
                    </a:gs>
                  </a:gsLst>
                  <a:lin ang="5400000" scaled="0"/>
                </a:gradFill>
                <a:cs typeface="Calibri" panose="020F0502020204030204" pitchFamily="34" charset="0"/>
              </a:rPr>
              <a:t> </a:t>
            </a:r>
            <a:r>
              <a:rPr lang="en-US" sz="2000">
                <a:gradFill>
                  <a:gsLst>
                    <a:gs pos="1250">
                      <a:srgbClr val="434343"/>
                    </a:gs>
                    <a:gs pos="100000">
                      <a:srgbClr val="434343"/>
                    </a:gs>
                  </a:gsLst>
                  <a:lin ang="5400000" scaled="0"/>
                </a:gradFill>
                <a:latin typeface="Segoe UI Light" panose="020B0502040204020203" pitchFamily="34" charset="0"/>
                <a:cs typeface="Segoe UI Light" panose="020B0502040204020203" pitchFamily="34" charset="0"/>
              </a:rPr>
              <a:t> </a:t>
            </a:r>
            <a:r>
              <a:rPr lang="en-US" sz="2000">
                <a:solidFill>
                  <a:srgbClr val="505050"/>
                </a:solidFill>
                <a:latin typeface="Segoe UI Light" panose="020B0502040204020203" pitchFamily="34" charset="0"/>
                <a:ea typeface="Segoe UI Semilight" charset="0"/>
                <a:cs typeface="Segoe UI Light" panose="020B0502040204020203" pitchFamily="34" charset="0"/>
              </a:rPr>
              <a:t>| </a:t>
            </a:r>
            <a:r>
              <a:rPr lang="en-US" sz="2000">
                <a:gradFill>
                  <a:gsLst>
                    <a:gs pos="2917">
                      <a:srgbClr val="505050"/>
                    </a:gs>
                    <a:gs pos="30000">
                      <a:srgbClr val="505050"/>
                    </a:gs>
                  </a:gsLst>
                  <a:lin ang="5400000" scaled="0"/>
                </a:gradFill>
                <a:cs typeface="Calibri" panose="020F0502020204030204" pitchFamily="34" charset="0"/>
                <a:hlinkClick r:id="rId8"/>
              </a:rPr>
              <a:t>Envision the Art of the Possible</a:t>
            </a:r>
            <a:endParaRPr lang="en-US" sz="2000">
              <a:solidFill>
                <a:srgbClr val="505050"/>
              </a:solidFill>
              <a:ea typeface="Segoe UI" charset="0"/>
              <a:cs typeface="Segoe UI Light" panose="020B0502040204020203" pitchFamily="34" charset="0"/>
            </a:endParaRPr>
          </a:p>
          <a:p>
            <a:pPr defTabSz="914102" fontAlgn="base">
              <a:lnSpc>
                <a:spcPct val="100000"/>
              </a:lnSpc>
              <a:spcBef>
                <a:spcPct val="0"/>
              </a:spcBef>
              <a:spcAft>
                <a:spcPct val="0"/>
              </a:spcAft>
              <a:buSzTx/>
              <a:defRPr/>
            </a:pPr>
            <a:r>
              <a:rPr lang="en-US" sz="2000">
                <a:solidFill>
                  <a:srgbClr val="505050"/>
                </a:solidFill>
                <a:latin typeface="Segoe UI Light" panose="020B0502040204020203" pitchFamily="34" charset="0"/>
                <a:ea typeface="Segoe UI" charset="0"/>
                <a:cs typeface="Segoe UI Light" panose="020B0502040204020203" pitchFamily="34" charset="0"/>
              </a:rPr>
              <a:t>Cognitive Search </a:t>
            </a:r>
          </a:p>
          <a:p>
            <a:pPr marL="0" indent="0" defTabSz="914102" fontAlgn="base">
              <a:lnSpc>
                <a:spcPct val="100000"/>
              </a:lnSpc>
              <a:spcBef>
                <a:spcPct val="0"/>
              </a:spcBef>
              <a:spcAft>
                <a:spcPct val="0"/>
              </a:spcAft>
              <a:buSzTx/>
              <a:buNone/>
              <a:defRPr/>
            </a:pP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9"/>
              </a:rPr>
              <a:t>Documentation</a:t>
            </a:r>
            <a:r>
              <a:rPr lang="en-US" sz="2000">
                <a:solidFill>
                  <a:srgbClr val="505050"/>
                </a:solidFill>
                <a:latin typeface="Segoe UI Light" panose="020B0502040204020203" pitchFamily="34" charset="0"/>
                <a:ea typeface="Segoe UI Semilight" charset="0"/>
                <a:cs typeface="Segoe UI Light" panose="020B0502040204020203" pitchFamily="34" charset="0"/>
              </a:rPr>
              <a:t> | </a:t>
            </a: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0"/>
              </a:rPr>
              <a:t>Sign up for Azure Search</a:t>
            </a:r>
            <a:endParaRPr lang="en-US" sz="2000">
              <a:solidFill>
                <a:srgbClr val="505050"/>
              </a:solidFill>
              <a:latin typeface="Segoe UI Light" panose="020B0502040204020203" pitchFamily="34" charset="0"/>
              <a:ea typeface="Segoe UI" charset="0"/>
              <a:cs typeface="Segoe UI Light" panose="020B0502040204020203" pitchFamily="34" charset="0"/>
            </a:endParaRPr>
          </a:p>
          <a:p>
            <a:pPr defTabSz="914102" fontAlgn="base">
              <a:lnSpc>
                <a:spcPct val="100000"/>
              </a:lnSpc>
              <a:spcBef>
                <a:spcPct val="0"/>
              </a:spcBef>
              <a:spcAft>
                <a:spcPct val="0"/>
              </a:spcAft>
              <a:buSzTx/>
              <a:defRPr/>
            </a:pPr>
            <a:r>
              <a:rPr lang="en-US" sz="2000">
                <a:solidFill>
                  <a:srgbClr val="505050"/>
                </a:solidFill>
                <a:latin typeface="Segoe UI Light" panose="020B0502040204020203" pitchFamily="34" charset="0"/>
                <a:ea typeface="Segoe UI" charset="0"/>
                <a:cs typeface="Segoe UI Light" panose="020B0502040204020203" pitchFamily="34" charset="0"/>
              </a:rPr>
              <a:t>Azure ML Package for Text Analytics</a:t>
            </a:r>
          </a:p>
          <a:p>
            <a:pPr marL="468313" lvl="0" indent="-468313" defTabSz="914102" fontAlgn="base">
              <a:lnSpc>
                <a:spcPct val="100000"/>
              </a:lnSpc>
              <a:spcBef>
                <a:spcPct val="0"/>
              </a:spcBef>
              <a:spcAft>
                <a:spcPct val="0"/>
              </a:spcAft>
              <a:buSzTx/>
              <a:buNone/>
              <a:defRPr/>
            </a:pP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1"/>
              </a:rPr>
              <a:t>Documentation</a:t>
            </a:r>
            <a:r>
              <a:rPr lang="en-US" sz="2000">
                <a:solidFill>
                  <a:srgbClr val="505050"/>
                </a:solidFill>
                <a:latin typeface="Segoe UI Light" panose="020B0502040204020203" pitchFamily="34" charset="0"/>
                <a:ea typeface="Segoe UI Semilight" charset="0"/>
                <a:cs typeface="Segoe UI Light" panose="020B0502040204020203" pitchFamily="34" charset="0"/>
              </a:rPr>
              <a:t> | </a:t>
            </a: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2"/>
              </a:rPr>
              <a:t>Create a DS Virtual Machine</a:t>
            </a:r>
            <a:endParaRPr lang="en-US" sz="2000">
              <a:solidFill>
                <a:srgbClr val="505050"/>
              </a:solidFill>
              <a:latin typeface="Segoe UI Light" panose="020B0502040204020203" pitchFamily="34" charset="0"/>
              <a:ea typeface="Segoe UI" charset="0"/>
              <a:cs typeface="Segoe UI Light" panose="020B0502040204020203" pitchFamily="34" charset="0"/>
            </a:endParaRPr>
          </a:p>
          <a:p>
            <a:pPr defTabSz="914102" fontAlgn="base">
              <a:spcBef>
                <a:spcPct val="0"/>
              </a:spcBef>
              <a:spcAft>
                <a:spcPct val="0"/>
              </a:spcAft>
              <a:defRPr/>
            </a:pPr>
            <a:r>
              <a:rPr lang="en-US" sz="2000">
                <a:solidFill>
                  <a:srgbClr val="505050"/>
                </a:solidFill>
                <a:latin typeface="Segoe UI Light" panose="020B0502040204020203" pitchFamily="34" charset="0"/>
                <a:ea typeface="Segoe UI" charset="0"/>
                <a:cs typeface="Segoe UI Light" panose="020B0502040204020203" pitchFamily="34" charset="0"/>
              </a:rPr>
              <a:t>Cognitive Services</a:t>
            </a:r>
          </a:p>
          <a:p>
            <a:pPr marL="468313" lvl="0" indent="-468313" defTabSz="914102" fontAlgn="base">
              <a:lnSpc>
                <a:spcPct val="100000"/>
              </a:lnSpc>
              <a:spcBef>
                <a:spcPct val="0"/>
              </a:spcBef>
              <a:spcAft>
                <a:spcPct val="0"/>
              </a:spcAft>
              <a:buSzTx/>
              <a:buNone/>
              <a:defRPr/>
            </a:pP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3"/>
              </a:rPr>
              <a:t>Documentation </a:t>
            </a:r>
            <a:r>
              <a:rPr lang="en-US" sz="2000">
                <a:solidFill>
                  <a:srgbClr val="505050"/>
                </a:solidFill>
                <a:latin typeface="Segoe UI Light" panose="020B0502040204020203" pitchFamily="34" charset="0"/>
                <a:ea typeface="Segoe UI Semilight" charset="0"/>
                <a:cs typeface="Segoe UI Light" panose="020B0502040204020203" pitchFamily="34" charset="0"/>
              </a:rPr>
              <a:t>| </a:t>
            </a: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4"/>
              </a:rPr>
              <a:t>Sign up</a:t>
            </a:r>
            <a:r>
              <a:rPr lang="en-US" sz="2000">
                <a:solidFill>
                  <a:srgbClr val="505050"/>
                </a:solidFill>
                <a:latin typeface="Segoe UI Light" panose="020B0502040204020203" pitchFamily="34" charset="0"/>
                <a:ea typeface="Segoe UI Semilight" charset="0"/>
                <a:cs typeface="Segoe UI Light" panose="020B0502040204020203" pitchFamily="34" charset="0"/>
              </a:rPr>
              <a:t> | </a:t>
            </a: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5"/>
              </a:rPr>
              <a:t>Contact</a:t>
            </a:r>
            <a:endParaRPr lang="en-US" sz="2000">
              <a:solidFill>
                <a:srgbClr val="505050"/>
              </a:solidFill>
              <a:latin typeface="Segoe UI Light" panose="020B0502040204020203" pitchFamily="34" charset="0"/>
              <a:ea typeface="Segoe UI" charset="0"/>
              <a:cs typeface="Segoe UI Light" panose="020B0502040204020203" pitchFamily="34" charset="0"/>
            </a:endParaRPr>
          </a:p>
          <a:p>
            <a:pPr defTabSz="914102" fontAlgn="base">
              <a:spcBef>
                <a:spcPct val="0"/>
              </a:spcBef>
              <a:spcAft>
                <a:spcPct val="0"/>
              </a:spcAft>
              <a:defRPr/>
            </a:pPr>
            <a:r>
              <a:rPr lang="en-US" sz="2000">
                <a:solidFill>
                  <a:srgbClr val="505050"/>
                </a:solidFill>
                <a:latin typeface="Segoe UI Light" panose="020B0502040204020203" pitchFamily="34" charset="0"/>
                <a:ea typeface="Segoe UI Semilight" charset="0"/>
                <a:cs typeface="Segoe UI Light" panose="020B0502040204020203" pitchFamily="34" charset="0"/>
              </a:rPr>
              <a:t>Demos</a:t>
            </a:r>
          </a:p>
          <a:p>
            <a:pPr marL="125413" lvl="0" indent="-125413" defTabSz="914102" fontAlgn="base">
              <a:spcBef>
                <a:spcPct val="0"/>
              </a:spcBef>
              <a:spcAft>
                <a:spcPct val="0"/>
              </a:spcAft>
              <a:buNone/>
              <a:defRPr/>
            </a:pP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6"/>
              </a:rPr>
              <a:t>JFK Files</a:t>
            </a:r>
            <a:r>
              <a:rPr lang="en-US" sz="2000">
                <a:solidFill>
                  <a:srgbClr val="505050"/>
                </a:solidFill>
                <a:latin typeface="Segoe UI Light" panose="020B0502040204020203" pitchFamily="34" charset="0"/>
                <a:ea typeface="Segoe UI Semilight" charset="0"/>
                <a:cs typeface="Segoe UI Light" panose="020B0502040204020203" pitchFamily="34" charset="0"/>
              </a:rPr>
              <a:t> | </a:t>
            </a:r>
            <a:r>
              <a:rPr lang="en-US" sz="2000">
                <a:solidFill>
                  <a:srgbClr val="505050"/>
                </a:solidFill>
                <a:latin typeface="Segoe UI Light" panose="020B0502040204020203" pitchFamily="34" charset="0"/>
                <a:ea typeface="Segoe UI Semilight" charset="0"/>
                <a:cs typeface="Segoe UI Light" panose="020B0502040204020203" pitchFamily="34" charset="0"/>
                <a:hlinkClick r:id="rId17"/>
              </a:rPr>
              <a:t>Wolters Kluwer</a:t>
            </a:r>
            <a:endParaRPr lang="en-US" sz="2000">
              <a:solidFill>
                <a:srgbClr val="505050"/>
              </a:solidFill>
              <a:latin typeface="Segoe UI Light" panose="020B0502040204020203" pitchFamily="34" charset="0"/>
              <a:ea typeface="Segoe UI Semilight" charset="0"/>
              <a:cs typeface="Segoe UI Light" panose="020B0502040204020203" pitchFamily="34" charset="0"/>
            </a:endParaRPr>
          </a:p>
          <a:p>
            <a:pPr marL="0" lvl="0" indent="0" defTabSz="914102" fontAlgn="base">
              <a:lnSpc>
                <a:spcPct val="100000"/>
              </a:lnSpc>
              <a:spcBef>
                <a:spcPct val="0"/>
              </a:spcBef>
              <a:spcAft>
                <a:spcPct val="0"/>
              </a:spcAft>
              <a:buSzTx/>
              <a:buNone/>
              <a:defRPr/>
            </a:pPr>
            <a:endParaRPr lang="en-US" sz="2000">
              <a:solidFill>
                <a:srgbClr val="505050"/>
              </a:solidFill>
              <a:latin typeface="Segoe UI Light" panose="020B0502040204020203" pitchFamily="34" charset="0"/>
              <a:ea typeface="Segoe UI Semilight" charset="0"/>
              <a:cs typeface="Segoe UI Light" panose="020B0502040204020203" pitchFamily="34" charset="0"/>
            </a:endParaRPr>
          </a:p>
          <a:p>
            <a:pPr marL="0" lvl="0" indent="0" defTabSz="914102" fontAlgn="base">
              <a:lnSpc>
                <a:spcPct val="100000"/>
              </a:lnSpc>
              <a:spcBef>
                <a:spcPct val="0"/>
              </a:spcBef>
              <a:spcAft>
                <a:spcPct val="0"/>
              </a:spcAft>
              <a:buSzTx/>
              <a:buNone/>
              <a:defRPr/>
            </a:pPr>
            <a:endParaRPr lang="en-US" sz="2000">
              <a:solidFill>
                <a:srgbClr val="505050"/>
              </a:solidFill>
              <a:latin typeface="Segoe UI Light" panose="020B0502040204020203" pitchFamily="34" charset="0"/>
              <a:ea typeface="Segoe UI Semilight" charset="0"/>
              <a:cs typeface="Segoe UI Light" panose="020B0502040204020203" pitchFamily="34" charset="0"/>
            </a:endParaRPr>
          </a:p>
        </p:txBody>
      </p:sp>
    </p:spTree>
    <p:extLst>
      <p:ext uri="{BB962C8B-B14F-4D97-AF65-F5344CB8AC3E}">
        <p14:creationId xmlns:p14="http://schemas.microsoft.com/office/powerpoint/2010/main" val="61067007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40023DCA-FFE3-4ED5-8BFB-F3468C904437}"/>
              </a:ext>
            </a:extLst>
          </p:cNvPr>
          <p:cNvSpPr txBox="1">
            <a:spLocks/>
          </p:cNvSpPr>
          <p:nvPr/>
        </p:nvSpPr>
        <p:spPr>
          <a:xfrm>
            <a:off x="231360" y="569634"/>
            <a:ext cx="10342044" cy="1105126"/>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r>
              <a:rPr lang="en-US" sz="4400" b="1">
                <a:solidFill>
                  <a:srgbClr val="505050"/>
                </a:solidFill>
              </a:rPr>
              <a:t>Technical Resources</a:t>
            </a:r>
          </a:p>
        </p:txBody>
      </p:sp>
      <p:sp>
        <p:nvSpPr>
          <p:cNvPr id="8" name="Content Placeholder 3">
            <a:extLst>
              <a:ext uri="{FF2B5EF4-FFF2-40B4-BE49-F238E27FC236}">
                <a16:creationId xmlns:a16="http://schemas.microsoft.com/office/drawing/2014/main" id="{983CAB09-8B21-437E-BC10-16A14C3FAA05}"/>
              </a:ext>
            </a:extLst>
          </p:cNvPr>
          <p:cNvSpPr txBox="1">
            <a:spLocks/>
          </p:cNvSpPr>
          <p:nvPr/>
        </p:nvSpPr>
        <p:spPr>
          <a:xfrm>
            <a:off x="556999" y="1674760"/>
            <a:ext cx="7601874" cy="2330776"/>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lang="en-US" sz="2000" spc="-100">
                <a:ln w="3175">
                  <a:noFill/>
                </a:ln>
                <a:solidFill>
                  <a:srgbClr val="505050"/>
                </a:solidFill>
                <a:latin typeface="Segoe UI Light" panose="020B0502040204020203" pitchFamily="34" charset="0"/>
                <a:cs typeface="Segoe UI Light" panose="020B0502040204020203" pitchFamily="34" charset="0"/>
                <a:hlinkClick r:id="rId2"/>
              </a:rPr>
              <a:t>What is “Cognitive Search” in Azure Search</a:t>
            </a:r>
            <a:endParaRPr lang="en-US" sz="2000" spc="-100">
              <a:ln w="3175">
                <a:noFill/>
              </a:ln>
              <a:solidFill>
                <a:srgbClr val="505050"/>
              </a:solidFill>
              <a:latin typeface="Segoe UI Light" panose="020B0502040204020203" pitchFamily="34" charset="0"/>
              <a:cs typeface="Segoe UI Light" panose="020B0502040204020203" pitchFamily="34" charset="0"/>
            </a:endParaRPr>
          </a:p>
          <a:p>
            <a:pPr marL="285750" lvl="1" indent="-285750" defTabSz="914192">
              <a:spcBef>
                <a:spcPct val="0"/>
              </a:spcBef>
              <a:spcAft>
                <a:spcPts val="1200"/>
              </a:spcAft>
              <a:defRPr/>
            </a:pPr>
            <a:r>
              <a:rPr lang="en-US" sz="2000" spc="-100">
                <a:ln w="3175">
                  <a:noFill/>
                </a:ln>
                <a:solidFill>
                  <a:srgbClr val="505050"/>
                </a:solidFill>
                <a:latin typeface="Segoe UI Light" panose="020B0502040204020203" pitchFamily="34" charset="0"/>
                <a:cs typeface="Segoe UI Light" panose="020B0502040204020203" pitchFamily="34" charset="0"/>
                <a:hlinkClick r:id="rId3"/>
              </a:rPr>
              <a:t>QuickStart Guide</a:t>
            </a:r>
            <a:endParaRPr lang="en-US" sz="2000" spc="-100">
              <a:ln w="3175">
                <a:noFill/>
              </a:ln>
              <a:solidFill>
                <a:srgbClr val="505050"/>
              </a:solidFill>
              <a:latin typeface="Segoe UI Light" panose="020B0502040204020203" pitchFamily="34" charset="0"/>
              <a:cs typeface="Segoe UI Light" panose="020B0502040204020203" pitchFamily="34" charset="0"/>
            </a:endParaRPr>
          </a:p>
          <a:p>
            <a:pPr marL="285750" marR="0" lvl="1" indent="-285750" algn="l" defTabSz="914192" rtl="0" eaLnBrk="1" fontAlgn="auto" latinLnBrk="0" hangingPunct="1">
              <a:lnSpc>
                <a:spcPct val="90000"/>
              </a:lnSpc>
              <a:spcBef>
                <a:spcPct val="0"/>
              </a:spcBef>
              <a:spcAft>
                <a:spcPts val="1200"/>
              </a:spcAft>
              <a:buClrTx/>
              <a:buSzPct val="90000"/>
              <a:buFont typeface="Arial" pitchFamily="34" charset="0"/>
              <a:buChar char="•"/>
              <a:tabLst/>
              <a:defRPr/>
            </a:pPr>
            <a:r>
              <a:rPr lang="en-US" sz="2000" spc="-100">
                <a:ln w="3175">
                  <a:noFill/>
                </a:ln>
                <a:solidFill>
                  <a:srgbClr val="505050"/>
                </a:solidFill>
                <a:latin typeface="Segoe UI Light" panose="020B0502040204020203" pitchFamily="34" charset="0"/>
                <a:cs typeface="Segoe UI Light" panose="020B0502040204020203" pitchFamily="34" charset="0"/>
                <a:hlinkClick r:id="rId4"/>
              </a:rPr>
              <a:t>Cognitive Search GitHub location</a:t>
            </a:r>
            <a:endParaRPr lang="en-US" sz="2000" spc="-100">
              <a:ln w="3175">
                <a:noFill/>
              </a:ln>
              <a:solidFill>
                <a:srgbClr val="505050"/>
              </a:solidFill>
              <a:latin typeface="Segoe UI Light" panose="020B0502040204020203" pitchFamily="34" charset="0"/>
              <a:cs typeface="Segoe UI Light" panose="020B0502040204020203" pitchFamily="34" charset="0"/>
            </a:endParaRPr>
          </a:p>
          <a:p>
            <a:pPr marL="285750" lvl="1" indent="-285750" defTabSz="914192">
              <a:spcBef>
                <a:spcPct val="0"/>
              </a:spcBef>
              <a:spcAft>
                <a:spcPts val="1200"/>
              </a:spcAf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hlinkClick r:id="rId5"/>
              </a:rPr>
              <a:t>Associating Cognitive Services with a Skillset</a:t>
            </a:r>
            <a:endPar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endParaRPr>
          </a:p>
          <a:p>
            <a:pPr marL="285750" lvl="1" indent="-285750" defTabSz="914192">
              <a:spcBef>
                <a:spcPct val="0"/>
              </a:spcBef>
              <a:spcAft>
                <a:spcPts val="1200"/>
              </a:spcAft>
              <a:defRPr/>
            </a:pPr>
            <a:r>
              <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hlinkClick r:id="rId6"/>
              </a:rPr>
              <a:t>Azure Hero Solutions – Knowledge Mining in AI Solutions section</a:t>
            </a:r>
            <a:endParaRPr kumimoji="0" lang="en-US" sz="2000" b="0"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2522735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C67AE9-1733-4285-B569-33A68F7FB594}"/>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Appendix</a:t>
            </a:r>
          </a:p>
        </p:txBody>
      </p:sp>
    </p:spTree>
    <p:extLst>
      <p:ext uri="{BB962C8B-B14F-4D97-AF65-F5344CB8AC3E}">
        <p14:creationId xmlns:p14="http://schemas.microsoft.com/office/powerpoint/2010/main" val="130118354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ait An Internet Minute!">
            <a:extLst>
              <a:ext uri="{FF2B5EF4-FFF2-40B4-BE49-F238E27FC236}">
                <a16:creationId xmlns:a16="http://schemas.microsoft.com/office/drawing/2014/main" id="{B8C50486-BA72-44B7-917D-BD2C094A79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45671" y="623456"/>
            <a:ext cx="5837381" cy="583738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421AA1E6-87F8-48DE-A8D4-21CA71C4115E}"/>
              </a:ext>
            </a:extLst>
          </p:cNvPr>
          <p:cNvSpPr txBox="1">
            <a:spLocks/>
          </p:cNvSpPr>
          <p:nvPr/>
        </p:nvSpPr>
        <p:spPr>
          <a:xfrm>
            <a:off x="484353" y="2171893"/>
            <a:ext cx="6191228" cy="406265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42900" indent="-342900">
              <a:buFont typeface="Arial" panose="020B0604020202020204" pitchFamily="34" charset="0"/>
              <a:buChar char="•"/>
            </a:pPr>
            <a:r>
              <a:rPr lang="en-US" sz="2400">
                <a:latin typeface="Segoe UI Light" panose="020B0502040204020203" pitchFamily="34" charset="0"/>
                <a:cs typeface="Segoe UI Light" panose="020B0502040204020203" pitchFamily="34" charset="0"/>
              </a:rPr>
              <a:t>2.5 quintillion bytes of new data per day including email, documents, images, videos, &amp; smart device data</a:t>
            </a:r>
          </a:p>
          <a:p>
            <a:pPr marL="342900" indent="-342900">
              <a:buFont typeface="Arial" panose="020B0604020202020204" pitchFamily="34" charset="0"/>
              <a:buChar char="•"/>
            </a:pPr>
            <a:endParaRPr lang="en-US" sz="24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400">
                <a:latin typeface="Segoe UI Light" panose="020B0502040204020203" pitchFamily="34" charset="0"/>
                <a:cs typeface="Segoe UI Light" panose="020B0502040204020203" pitchFamily="34" charset="0"/>
              </a:rPr>
              <a:t>80% of this business data is estimated to be unstructured</a:t>
            </a:r>
          </a:p>
          <a:p>
            <a:pPr marL="342900" indent="-342900">
              <a:buFont typeface="Arial" panose="020B0604020202020204" pitchFamily="34" charset="0"/>
              <a:buChar char="•"/>
            </a:pPr>
            <a:endParaRPr lang="en-US" sz="24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400">
                <a:latin typeface="Segoe UI Light" panose="020B0502040204020203" pitchFamily="34" charset="0"/>
                <a:cs typeface="Segoe UI Light" panose="020B0502040204020203" pitchFamily="34" charset="0"/>
              </a:rPr>
              <a:t>Starting now, companies </a:t>
            </a:r>
            <a:r>
              <a:rPr lang="en-US" sz="2400" b="1">
                <a:solidFill>
                  <a:srgbClr val="0070C0"/>
                </a:solidFill>
                <a:latin typeface="Segoe UI Light" panose="020B0502040204020203" pitchFamily="34" charset="0"/>
                <a:cs typeface="Segoe UI Light" panose="020B0502040204020203" pitchFamily="34" charset="0"/>
              </a:rPr>
              <a:t>MUST</a:t>
            </a:r>
            <a:r>
              <a:rPr lang="en-US" sz="2400">
                <a:latin typeface="Segoe UI Light" panose="020B0502040204020203" pitchFamily="34" charset="0"/>
                <a:cs typeface="Segoe UI Light" panose="020B0502040204020203" pitchFamily="34" charset="0"/>
              </a:rPr>
              <a:t> begin making use of this data to transform their business or risk being left behind</a:t>
            </a:r>
          </a:p>
          <a:p>
            <a:pPr marL="342900" indent="-342900">
              <a:buFont typeface="Arial" panose="020B0604020202020204" pitchFamily="34" charset="0"/>
              <a:buChar char="•"/>
            </a:pPr>
            <a:endParaRPr lang="en-US" sz="2400">
              <a:latin typeface="Segoe UI Light" panose="020B0502040204020203" pitchFamily="34" charset="0"/>
              <a:cs typeface="Segoe UI Light" panose="020B0502040204020203" pitchFamily="34" charset="0"/>
            </a:endParaRPr>
          </a:p>
        </p:txBody>
      </p:sp>
      <p:sp>
        <p:nvSpPr>
          <p:cNvPr id="5" name="Title 1">
            <a:extLst>
              <a:ext uri="{FF2B5EF4-FFF2-40B4-BE49-F238E27FC236}">
                <a16:creationId xmlns:a16="http://schemas.microsoft.com/office/drawing/2014/main" id="{6B672E3B-755B-4C49-9F6C-336C071A6410}"/>
              </a:ext>
            </a:extLst>
          </p:cNvPr>
          <p:cNvSpPr txBox="1">
            <a:spLocks/>
          </p:cNvSpPr>
          <p:nvPr/>
        </p:nvSpPr>
        <p:spPr>
          <a:xfrm>
            <a:off x="258448" y="577702"/>
            <a:ext cx="7238121" cy="838027"/>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Why Knowledge Mining?</a:t>
            </a:r>
          </a:p>
          <a:p>
            <a:pPr marL="0" marR="0" lvl="0" indent="0" algn="l" defTabSz="913841" rtl="0" eaLnBrk="1" fontAlgn="auto" latinLnBrk="0" hangingPunct="1">
              <a:lnSpc>
                <a:spcPct val="90000"/>
              </a:lnSpc>
              <a:spcBef>
                <a:spcPct val="0"/>
              </a:spcBef>
              <a:spcAft>
                <a:spcPts val="0"/>
              </a:spcAft>
              <a:buClrTx/>
              <a:buSzTx/>
              <a:buFontTx/>
              <a:buNone/>
              <a:tabLst/>
              <a:defRPr/>
            </a:pPr>
            <a:r>
              <a:rPr lang="en-US" sz="4400" b="1">
                <a:solidFill>
                  <a:srgbClr val="505050"/>
                </a:solidFill>
                <a:latin typeface="Segoe UI Light" panose="020B0502040204020203" pitchFamily="34" charset="0"/>
                <a:cs typeface="Segoe UI Light" panose="020B0502040204020203" pitchFamily="34" charset="0"/>
              </a:rPr>
              <a:t>Why Now?</a:t>
            </a:r>
            <a:endPar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007080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CF5330D-E113-4D7C-AD7A-DA1027524E38}"/>
              </a:ext>
            </a:extLst>
          </p:cNvPr>
          <p:cNvCxnSpPr/>
          <p:nvPr/>
        </p:nvCxnSpPr>
        <p:spPr>
          <a:xfrm>
            <a:off x="3315693"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9DEE5C4-D6C6-4C45-9BFE-49B3F7349DB7}"/>
              </a:ext>
            </a:extLst>
          </p:cNvPr>
          <p:cNvCxnSpPr/>
          <p:nvPr/>
        </p:nvCxnSpPr>
        <p:spPr>
          <a:xfrm>
            <a:off x="2204590"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07BC900-BA04-4D7E-B1CE-1F0722748DB1}"/>
              </a:ext>
            </a:extLst>
          </p:cNvPr>
          <p:cNvCxnSpPr/>
          <p:nvPr/>
        </p:nvCxnSpPr>
        <p:spPr>
          <a:xfrm>
            <a:off x="4426796"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6573E6F-132E-4073-ACB6-F8BFD9B27029}"/>
              </a:ext>
            </a:extLst>
          </p:cNvPr>
          <p:cNvCxnSpPr/>
          <p:nvPr/>
        </p:nvCxnSpPr>
        <p:spPr>
          <a:xfrm>
            <a:off x="5537899"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67D0289-8611-468B-BBB2-A8BE7BB79D03}"/>
              </a:ext>
            </a:extLst>
          </p:cNvPr>
          <p:cNvCxnSpPr/>
          <p:nvPr/>
        </p:nvCxnSpPr>
        <p:spPr>
          <a:xfrm>
            <a:off x="6649002"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2EFBAF5-6138-40DD-A09C-E5306E00790D}"/>
              </a:ext>
            </a:extLst>
          </p:cNvPr>
          <p:cNvCxnSpPr/>
          <p:nvPr/>
        </p:nvCxnSpPr>
        <p:spPr>
          <a:xfrm>
            <a:off x="7760105"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977C02E-9FDD-4323-B9D4-E7A2EB454402}"/>
              </a:ext>
            </a:extLst>
          </p:cNvPr>
          <p:cNvCxnSpPr/>
          <p:nvPr/>
        </p:nvCxnSpPr>
        <p:spPr>
          <a:xfrm>
            <a:off x="8871208"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041BB94-EFE4-4000-ACC4-004B7404E1F5}"/>
              </a:ext>
            </a:extLst>
          </p:cNvPr>
          <p:cNvCxnSpPr/>
          <p:nvPr/>
        </p:nvCxnSpPr>
        <p:spPr>
          <a:xfrm>
            <a:off x="9982311"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C83C224-CD60-4D72-8BEA-B0541AABE9B2}"/>
              </a:ext>
            </a:extLst>
          </p:cNvPr>
          <p:cNvCxnSpPr/>
          <p:nvPr/>
        </p:nvCxnSpPr>
        <p:spPr>
          <a:xfrm>
            <a:off x="11093420"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023A7DD-4903-483A-A5CE-8732DFECA1A1}"/>
              </a:ext>
            </a:extLst>
          </p:cNvPr>
          <p:cNvCxnSpPr/>
          <p:nvPr/>
        </p:nvCxnSpPr>
        <p:spPr>
          <a:xfrm>
            <a:off x="1093487" y="2428009"/>
            <a:ext cx="0" cy="303226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870865" y="1873051"/>
            <a:ext cx="446556" cy="309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Q2</a:t>
            </a:r>
          </a:p>
        </p:txBody>
      </p:sp>
      <p:sp>
        <p:nvSpPr>
          <p:cNvPr id="121" name="Rectangle 120"/>
          <p:cNvSpPr/>
          <p:nvPr/>
        </p:nvSpPr>
        <p:spPr bwMode="auto">
          <a:xfrm>
            <a:off x="4203518" y="1870379"/>
            <a:ext cx="446556" cy="309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Q3</a:t>
            </a:r>
          </a:p>
        </p:txBody>
      </p:sp>
      <p:sp>
        <p:nvSpPr>
          <p:cNvPr id="122" name="Rectangle 121"/>
          <p:cNvSpPr/>
          <p:nvPr/>
        </p:nvSpPr>
        <p:spPr bwMode="auto">
          <a:xfrm>
            <a:off x="7536826" y="1873051"/>
            <a:ext cx="446556" cy="309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Q4</a:t>
            </a:r>
          </a:p>
        </p:txBody>
      </p:sp>
      <p:sp>
        <p:nvSpPr>
          <p:cNvPr id="123" name="Rectangle 122"/>
          <p:cNvSpPr/>
          <p:nvPr/>
        </p:nvSpPr>
        <p:spPr bwMode="auto">
          <a:xfrm>
            <a:off x="10870142" y="1873051"/>
            <a:ext cx="446556" cy="309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Q1</a:t>
            </a:r>
          </a:p>
        </p:txBody>
      </p:sp>
      <p:sp>
        <p:nvSpPr>
          <p:cNvPr id="137" name="Rectangle 136">
            <a:extLst>
              <a:ext uri="{FF2B5EF4-FFF2-40B4-BE49-F238E27FC236}">
                <a16:creationId xmlns:a16="http://schemas.microsoft.com/office/drawing/2014/main" id="{7A741450-375C-40F8-B49A-5F130065230A}"/>
              </a:ext>
            </a:extLst>
          </p:cNvPr>
          <p:cNvSpPr/>
          <p:nvPr/>
        </p:nvSpPr>
        <p:spPr bwMode="auto">
          <a:xfrm>
            <a:off x="8933659" y="2843020"/>
            <a:ext cx="985514" cy="40193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Grok announce</a:t>
            </a:r>
          </a:p>
        </p:txBody>
      </p:sp>
      <p:sp>
        <p:nvSpPr>
          <p:cNvPr id="138" name="Rectangle 137">
            <a:extLst>
              <a:ext uri="{FF2B5EF4-FFF2-40B4-BE49-F238E27FC236}">
                <a16:creationId xmlns:a16="http://schemas.microsoft.com/office/drawing/2014/main" id="{C579BE66-F20C-484E-BEF7-BB9F732D2CD8}"/>
              </a:ext>
            </a:extLst>
          </p:cNvPr>
          <p:cNvSpPr/>
          <p:nvPr/>
        </p:nvSpPr>
        <p:spPr bwMode="auto">
          <a:xfrm>
            <a:off x="8933659" y="3315562"/>
            <a:ext cx="985514" cy="40193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Large data SKU GA</a:t>
            </a:r>
          </a:p>
        </p:txBody>
      </p:sp>
      <p:sp>
        <p:nvSpPr>
          <p:cNvPr id="149" name="Rectangle 148">
            <a:extLst>
              <a:ext uri="{FF2B5EF4-FFF2-40B4-BE49-F238E27FC236}">
                <a16:creationId xmlns:a16="http://schemas.microsoft.com/office/drawing/2014/main" id="{03DF61D5-FBD1-4C14-8865-FC46124C9C85}"/>
              </a:ext>
            </a:extLst>
          </p:cNvPr>
          <p:cNvSpPr/>
          <p:nvPr/>
        </p:nvSpPr>
        <p:spPr bwMode="auto">
          <a:xfrm>
            <a:off x="5047858" y="2843020"/>
            <a:ext cx="985514" cy="55582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Fairfax</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Private Preview</a:t>
            </a:r>
          </a:p>
        </p:txBody>
      </p:sp>
      <p:sp>
        <p:nvSpPr>
          <p:cNvPr id="59" name="Rectangle 58">
            <a:extLst>
              <a:ext uri="{FF2B5EF4-FFF2-40B4-BE49-F238E27FC236}">
                <a16:creationId xmlns:a16="http://schemas.microsoft.com/office/drawing/2014/main" id="{4D1B60F2-6EA1-4D6E-8F2D-0E002A53336F}"/>
              </a:ext>
            </a:extLst>
          </p:cNvPr>
          <p:cNvSpPr/>
          <p:nvPr/>
        </p:nvSpPr>
        <p:spPr bwMode="auto">
          <a:xfrm>
            <a:off x="8933659" y="3788104"/>
            <a:ext cx="985514" cy="40193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Cog Search GA</a:t>
            </a:r>
          </a:p>
        </p:txBody>
      </p:sp>
      <p:sp>
        <p:nvSpPr>
          <p:cNvPr id="58" name="Rectangle 57">
            <a:extLst>
              <a:ext uri="{FF2B5EF4-FFF2-40B4-BE49-F238E27FC236}">
                <a16:creationId xmlns:a16="http://schemas.microsoft.com/office/drawing/2014/main" id="{3B7FE8B6-78EB-4B67-9B69-71FE77524DCE}"/>
              </a:ext>
            </a:extLst>
          </p:cNvPr>
          <p:cNvSpPr/>
          <p:nvPr/>
        </p:nvSpPr>
        <p:spPr bwMode="auto">
          <a:xfrm>
            <a:off x="6711447" y="3151089"/>
            <a:ext cx="985514" cy="55582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Large data SKU public preview</a:t>
            </a:r>
          </a:p>
        </p:txBody>
      </p:sp>
      <p:sp>
        <p:nvSpPr>
          <p:cNvPr id="63" name="Rectangle 62">
            <a:extLst>
              <a:ext uri="{FF2B5EF4-FFF2-40B4-BE49-F238E27FC236}">
                <a16:creationId xmlns:a16="http://schemas.microsoft.com/office/drawing/2014/main" id="{E11ACDD0-8D48-41CD-8564-3623780C9246}"/>
              </a:ext>
            </a:extLst>
          </p:cNvPr>
          <p:cNvSpPr/>
          <p:nvPr/>
        </p:nvSpPr>
        <p:spPr bwMode="auto">
          <a:xfrm>
            <a:off x="2262316" y="2843020"/>
            <a:ext cx="2101324" cy="24804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Large data SKU private preview</a:t>
            </a:r>
          </a:p>
        </p:txBody>
      </p:sp>
      <p:sp>
        <p:nvSpPr>
          <p:cNvPr id="65" name="Rectangle 64">
            <a:extLst>
              <a:ext uri="{FF2B5EF4-FFF2-40B4-BE49-F238E27FC236}">
                <a16:creationId xmlns:a16="http://schemas.microsoft.com/office/drawing/2014/main" id="{C5E06861-D44C-4B67-892C-0C4B10B58DD2}"/>
              </a:ext>
            </a:extLst>
          </p:cNvPr>
          <p:cNvSpPr/>
          <p:nvPr/>
        </p:nvSpPr>
        <p:spPr bwMode="auto">
          <a:xfrm>
            <a:off x="5047858" y="4236515"/>
            <a:ext cx="985514" cy="55582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Complex Types Public Preview</a:t>
            </a:r>
          </a:p>
        </p:txBody>
      </p:sp>
      <p:sp>
        <p:nvSpPr>
          <p:cNvPr id="33" name="Rectangle 32">
            <a:extLst>
              <a:ext uri="{FF2B5EF4-FFF2-40B4-BE49-F238E27FC236}">
                <a16:creationId xmlns:a16="http://schemas.microsoft.com/office/drawing/2014/main" id="{F10C0733-D258-4804-A6C9-202BD7AB98E2}"/>
              </a:ext>
            </a:extLst>
          </p:cNvPr>
          <p:cNvSpPr/>
          <p:nvPr/>
        </p:nvSpPr>
        <p:spPr bwMode="auto">
          <a:xfrm>
            <a:off x="6711447" y="2843020"/>
            <a:ext cx="2097306" cy="24804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Fairfax Public Preview</a:t>
            </a:r>
          </a:p>
        </p:txBody>
      </p:sp>
      <p:sp>
        <p:nvSpPr>
          <p:cNvPr id="34" name="Rectangle 33">
            <a:extLst>
              <a:ext uri="{FF2B5EF4-FFF2-40B4-BE49-F238E27FC236}">
                <a16:creationId xmlns:a16="http://schemas.microsoft.com/office/drawing/2014/main" id="{C86DD89A-AA27-4C4C-87B3-91CAD5D74AB2}"/>
              </a:ext>
            </a:extLst>
          </p:cNvPr>
          <p:cNvSpPr/>
          <p:nvPr/>
        </p:nvSpPr>
        <p:spPr bwMode="auto">
          <a:xfrm>
            <a:off x="5047858" y="3463021"/>
            <a:ext cx="985514" cy="70971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Customer Managed Keys (Encryption) Preview</a:t>
            </a:r>
          </a:p>
        </p:txBody>
      </p:sp>
      <p:sp>
        <p:nvSpPr>
          <p:cNvPr id="35" name="Rectangle 34">
            <a:extLst>
              <a:ext uri="{FF2B5EF4-FFF2-40B4-BE49-F238E27FC236}">
                <a16:creationId xmlns:a16="http://schemas.microsoft.com/office/drawing/2014/main" id="{223947A0-162B-4218-A2C2-32C98BB5020F}"/>
              </a:ext>
            </a:extLst>
          </p:cNvPr>
          <p:cNvSpPr/>
          <p:nvPr/>
        </p:nvSpPr>
        <p:spPr bwMode="auto">
          <a:xfrm>
            <a:off x="10045456" y="2843020"/>
            <a:ext cx="985514" cy="40193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Fairfax</a:t>
            </a:r>
          </a:p>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GA</a:t>
            </a:r>
          </a:p>
        </p:txBody>
      </p:sp>
      <p:sp>
        <p:nvSpPr>
          <p:cNvPr id="36" name="Rectangle 35">
            <a:extLst>
              <a:ext uri="{FF2B5EF4-FFF2-40B4-BE49-F238E27FC236}">
                <a16:creationId xmlns:a16="http://schemas.microsoft.com/office/drawing/2014/main" id="{308E27EF-7A1F-4096-9E38-67DDF4FD5E1F}"/>
              </a:ext>
            </a:extLst>
          </p:cNvPr>
          <p:cNvSpPr/>
          <p:nvPr/>
        </p:nvSpPr>
        <p:spPr bwMode="auto">
          <a:xfrm>
            <a:off x="6711447" y="3769165"/>
            <a:ext cx="985514" cy="40193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Segoe UI"/>
                <a:ea typeface="+mn-ea"/>
                <a:cs typeface="+mn-cs"/>
              </a:rPr>
              <a:t>VNets</a:t>
            </a:r>
            <a:r>
              <a:rPr kumimoji="0" lang="en-US" sz="1000" b="0" i="0" u="none" strike="noStrike" kern="1200" cap="none" spc="0" normalizeH="0" baseline="0" noProof="0">
                <a:ln>
                  <a:noFill/>
                </a:ln>
                <a:solidFill>
                  <a:prstClr val="white"/>
                </a:solidFill>
                <a:effectLst/>
                <a:uLnTx/>
                <a:uFillTx/>
                <a:latin typeface="Segoe UI"/>
                <a:ea typeface="+mn-ea"/>
                <a:cs typeface="+mn-cs"/>
              </a:rPr>
              <a:t> Public Preview</a:t>
            </a:r>
          </a:p>
        </p:txBody>
      </p:sp>
      <p:sp>
        <p:nvSpPr>
          <p:cNvPr id="37" name="Rectangle 36">
            <a:extLst>
              <a:ext uri="{FF2B5EF4-FFF2-40B4-BE49-F238E27FC236}">
                <a16:creationId xmlns:a16="http://schemas.microsoft.com/office/drawing/2014/main" id="{48BF2C02-2EFC-433E-9D50-D46E52843BFD}"/>
              </a:ext>
            </a:extLst>
          </p:cNvPr>
          <p:cNvSpPr/>
          <p:nvPr/>
        </p:nvSpPr>
        <p:spPr bwMode="auto">
          <a:xfrm>
            <a:off x="5047858" y="4852301"/>
            <a:ext cx="985514" cy="40193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52" tIns="46623" rIns="73152" bIns="46623" numCol="1" rtlCol="0" anchor="t"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utoComplete GA</a:t>
            </a:r>
          </a:p>
        </p:txBody>
      </p:sp>
      <p:sp>
        <p:nvSpPr>
          <p:cNvPr id="2" name="Title 1">
            <a:extLst>
              <a:ext uri="{FF2B5EF4-FFF2-40B4-BE49-F238E27FC236}">
                <a16:creationId xmlns:a16="http://schemas.microsoft.com/office/drawing/2014/main" id="{E303E13F-5F51-438D-B6B3-3A9C17E242A3}"/>
              </a:ext>
            </a:extLst>
          </p:cNvPr>
          <p:cNvSpPr>
            <a:spLocks noGrp="1"/>
          </p:cNvSpPr>
          <p:nvPr>
            <p:ph type="title"/>
          </p:nvPr>
        </p:nvSpPr>
        <p:spPr/>
        <p:txBody>
          <a:bodyPr/>
          <a:lstStyle/>
          <a:p>
            <a:r>
              <a:rPr lang="en-US"/>
              <a:t>Product Update Roadmap</a:t>
            </a:r>
          </a:p>
        </p:txBody>
      </p:sp>
      <p:cxnSp>
        <p:nvCxnSpPr>
          <p:cNvPr id="4" name="Straight Connector 3">
            <a:extLst>
              <a:ext uri="{FF2B5EF4-FFF2-40B4-BE49-F238E27FC236}">
                <a16:creationId xmlns:a16="http://schemas.microsoft.com/office/drawing/2014/main" id="{D81DB2AA-A5BD-4565-A781-2C84D02828F1}"/>
              </a:ext>
            </a:extLst>
          </p:cNvPr>
          <p:cNvCxnSpPr>
            <a:cxnSpLocks/>
          </p:cNvCxnSpPr>
          <p:nvPr/>
        </p:nvCxnSpPr>
        <p:spPr>
          <a:xfrm>
            <a:off x="588263" y="2428009"/>
            <a:ext cx="11018520" cy="0"/>
          </a:xfrm>
          <a:prstGeom prst="line">
            <a:avLst/>
          </a:prstGeom>
          <a:ln w="12700">
            <a:solidFill>
              <a:schemeClr val="accent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bwMode="auto">
          <a:xfrm>
            <a:off x="7822900"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April</a:t>
            </a:r>
          </a:p>
        </p:txBody>
      </p:sp>
      <p:sp>
        <p:nvSpPr>
          <p:cNvPr id="109" name="Rectangle 108"/>
          <p:cNvSpPr/>
          <p:nvPr/>
        </p:nvSpPr>
        <p:spPr bwMode="auto">
          <a:xfrm>
            <a:off x="8934003"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May</a:t>
            </a:r>
          </a:p>
        </p:txBody>
      </p:sp>
      <p:sp>
        <p:nvSpPr>
          <p:cNvPr id="110" name="Rectangle 109"/>
          <p:cNvSpPr/>
          <p:nvPr/>
        </p:nvSpPr>
        <p:spPr bwMode="auto">
          <a:xfrm>
            <a:off x="10045106"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June</a:t>
            </a:r>
          </a:p>
        </p:txBody>
      </p:sp>
      <p:sp>
        <p:nvSpPr>
          <p:cNvPr id="114" name="Rectangle 113"/>
          <p:cNvSpPr/>
          <p:nvPr/>
        </p:nvSpPr>
        <p:spPr bwMode="auto">
          <a:xfrm>
            <a:off x="1156282"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Oct</a:t>
            </a:r>
          </a:p>
        </p:txBody>
      </p:sp>
      <p:sp>
        <p:nvSpPr>
          <p:cNvPr id="115" name="Rectangle 114"/>
          <p:cNvSpPr/>
          <p:nvPr/>
        </p:nvSpPr>
        <p:spPr bwMode="auto">
          <a:xfrm>
            <a:off x="2267385"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Nov</a:t>
            </a:r>
          </a:p>
        </p:txBody>
      </p:sp>
      <p:sp>
        <p:nvSpPr>
          <p:cNvPr id="116" name="Rectangle 115"/>
          <p:cNvSpPr/>
          <p:nvPr/>
        </p:nvSpPr>
        <p:spPr bwMode="auto">
          <a:xfrm>
            <a:off x="3378488"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Dec</a:t>
            </a:r>
          </a:p>
        </p:txBody>
      </p:sp>
      <p:sp>
        <p:nvSpPr>
          <p:cNvPr id="117" name="Rectangle 116"/>
          <p:cNvSpPr/>
          <p:nvPr/>
        </p:nvSpPr>
        <p:spPr bwMode="auto">
          <a:xfrm>
            <a:off x="4489591"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Jan</a:t>
            </a:r>
          </a:p>
        </p:txBody>
      </p:sp>
      <p:sp>
        <p:nvSpPr>
          <p:cNvPr id="118" name="Rectangle 117"/>
          <p:cNvSpPr/>
          <p:nvPr/>
        </p:nvSpPr>
        <p:spPr bwMode="auto">
          <a:xfrm>
            <a:off x="5600694"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Feb</a:t>
            </a:r>
          </a:p>
        </p:txBody>
      </p:sp>
      <p:sp>
        <p:nvSpPr>
          <p:cNvPr id="119" name="Rectangle 118"/>
          <p:cNvSpPr/>
          <p:nvPr/>
        </p:nvSpPr>
        <p:spPr bwMode="auto">
          <a:xfrm>
            <a:off x="6711797" y="2443221"/>
            <a:ext cx="985513" cy="2788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sp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Mar</a:t>
            </a:r>
          </a:p>
        </p:txBody>
      </p:sp>
      <p:cxnSp>
        <p:nvCxnSpPr>
          <p:cNvPr id="7" name="Straight Connector 6">
            <a:extLst>
              <a:ext uri="{FF2B5EF4-FFF2-40B4-BE49-F238E27FC236}">
                <a16:creationId xmlns:a16="http://schemas.microsoft.com/office/drawing/2014/main" id="{39B5636C-DC34-4E4A-A739-4E9F2AD474F7}"/>
              </a:ext>
            </a:extLst>
          </p:cNvPr>
          <p:cNvCxnSpPr>
            <a:cxnSpLocks/>
          </p:cNvCxnSpPr>
          <p:nvPr/>
        </p:nvCxnSpPr>
        <p:spPr>
          <a:xfrm>
            <a:off x="1093487" y="2198040"/>
            <a:ext cx="0" cy="22996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DCE447-49A1-4EFC-BB60-911AAF7D6993}"/>
              </a:ext>
            </a:extLst>
          </p:cNvPr>
          <p:cNvCxnSpPr>
            <a:cxnSpLocks/>
          </p:cNvCxnSpPr>
          <p:nvPr/>
        </p:nvCxnSpPr>
        <p:spPr>
          <a:xfrm>
            <a:off x="4426796" y="2198040"/>
            <a:ext cx="0" cy="22996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7E15BCE-D569-4B19-8DA7-AE8879791017}"/>
              </a:ext>
            </a:extLst>
          </p:cNvPr>
          <p:cNvCxnSpPr>
            <a:cxnSpLocks/>
          </p:cNvCxnSpPr>
          <p:nvPr/>
        </p:nvCxnSpPr>
        <p:spPr>
          <a:xfrm>
            <a:off x="7760105" y="2198040"/>
            <a:ext cx="0" cy="22996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820EA1A-57CB-4839-9D1C-C55113D8CC78}"/>
              </a:ext>
            </a:extLst>
          </p:cNvPr>
          <p:cNvCxnSpPr>
            <a:cxnSpLocks/>
          </p:cNvCxnSpPr>
          <p:nvPr/>
        </p:nvCxnSpPr>
        <p:spPr>
          <a:xfrm>
            <a:off x="11093420" y="2198040"/>
            <a:ext cx="0" cy="22996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D60037CB-61CE-411C-B9AC-8BF08081F3A6}"/>
              </a:ext>
            </a:extLst>
          </p:cNvPr>
          <p:cNvSpPr/>
          <p:nvPr/>
        </p:nvSpPr>
        <p:spPr>
          <a:xfrm>
            <a:off x="469210" y="1214180"/>
            <a:ext cx="11018519" cy="276999"/>
          </a:xfrm>
          <a:prstGeom prst="rect">
            <a:avLst/>
          </a:prstGeom>
        </p:spPr>
        <p:txBody>
          <a:bodyPr vert="horz" wrap="square" lIns="0" tIns="0" rIns="0" bIns="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10" normalizeH="0" baseline="0" noProof="0">
                <a:ln w="3175">
                  <a:noFill/>
                </a:ln>
                <a:solidFill>
                  <a:srgbClr val="0078D4"/>
                </a:solidFill>
                <a:effectLst/>
                <a:uLnTx/>
                <a:uFillTx/>
                <a:latin typeface="Segoe UI Semibold"/>
                <a:ea typeface="+mn-ea"/>
                <a:cs typeface="Segoe UI" pitchFamily="34" charset="0"/>
              </a:rPr>
              <a:t>Product Milestones</a:t>
            </a:r>
          </a:p>
        </p:txBody>
      </p:sp>
      <p:sp>
        <p:nvSpPr>
          <p:cNvPr id="51" name="Title 1">
            <a:extLst>
              <a:ext uri="{FF2B5EF4-FFF2-40B4-BE49-F238E27FC236}">
                <a16:creationId xmlns:a16="http://schemas.microsoft.com/office/drawing/2014/main" id="{0009DBDF-1852-43F8-900D-3439F14C0257}"/>
              </a:ext>
            </a:extLst>
          </p:cNvPr>
          <p:cNvSpPr txBox="1">
            <a:spLocks/>
          </p:cNvSpPr>
          <p:nvPr/>
        </p:nvSpPr>
        <p:spPr>
          <a:xfrm>
            <a:off x="9492702" y="6341279"/>
            <a:ext cx="2628766" cy="332399"/>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50" normalizeH="0" baseline="0" noProof="0">
                <a:ln w="3175">
                  <a:noFill/>
                </a:ln>
                <a:solidFill>
                  <a:srgbClr val="FF0000"/>
                </a:solidFill>
                <a:effectLst/>
                <a:uLnTx/>
                <a:uFillTx/>
                <a:latin typeface="Segoe UI Light"/>
                <a:ea typeface="+mn-ea"/>
                <a:cs typeface="Segoe UI" pitchFamily="34" charset="0"/>
              </a:rPr>
              <a:t>Internal Only</a:t>
            </a:r>
          </a:p>
        </p:txBody>
      </p:sp>
    </p:spTree>
    <p:extLst>
      <p:ext uri="{BB962C8B-B14F-4D97-AF65-F5344CB8AC3E}">
        <p14:creationId xmlns:p14="http://schemas.microsoft.com/office/powerpoint/2010/main" val="172346634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AD612-BF16-4421-AC4F-8FE9D47C7B14}"/>
              </a:ext>
            </a:extLst>
          </p:cNvPr>
          <p:cNvSpPr>
            <a:spLocks noGrp="1"/>
          </p:cNvSpPr>
          <p:nvPr>
            <p:ph type="title"/>
          </p:nvPr>
        </p:nvSpPr>
        <p:spPr/>
        <p:txBody>
          <a:bodyPr/>
          <a:lstStyle/>
          <a:p>
            <a:r>
              <a:rPr lang="en-US"/>
              <a:t>Region Availability</a:t>
            </a:r>
          </a:p>
        </p:txBody>
      </p:sp>
      <p:sp>
        <p:nvSpPr>
          <p:cNvPr id="3" name="Rectangle 2">
            <a:extLst>
              <a:ext uri="{FF2B5EF4-FFF2-40B4-BE49-F238E27FC236}">
                <a16:creationId xmlns:a16="http://schemas.microsoft.com/office/drawing/2014/main" id="{428369C6-920D-4110-BF3E-954A82943E14}"/>
              </a:ext>
            </a:extLst>
          </p:cNvPr>
          <p:cNvSpPr/>
          <p:nvPr/>
        </p:nvSpPr>
        <p:spPr>
          <a:xfrm>
            <a:off x="497840" y="1391921"/>
            <a:ext cx="11427240" cy="923330"/>
          </a:xfrm>
          <a:prstGeom prst="rect">
            <a:avLst/>
          </a:prstGeom>
        </p:spPr>
        <p:txBody>
          <a:bodyPr wrap="square">
            <a:spAutoFit/>
          </a:bodyPr>
          <a:lstStyle/>
          <a:p>
            <a:r>
              <a:rPr lang="en-US"/>
              <a:t>Full region availability information for Azure Search &amp; Cognitive Search can be found below (includes roadmap): </a:t>
            </a:r>
          </a:p>
          <a:p>
            <a:endParaRPr lang="en-US"/>
          </a:p>
          <a:p>
            <a:r>
              <a:rPr lang="en-US">
                <a:hlinkClick r:id="rId2"/>
              </a:rPr>
              <a:t>https://azure.microsoft.com/en-us/global-infrastructure/services/?products=search&amp;regions=all</a:t>
            </a:r>
            <a:r>
              <a:rPr lang="en-US"/>
              <a:t> </a:t>
            </a:r>
          </a:p>
        </p:txBody>
      </p:sp>
      <p:pic>
        <p:nvPicPr>
          <p:cNvPr id="4" name="Picture 3">
            <a:extLst>
              <a:ext uri="{FF2B5EF4-FFF2-40B4-BE49-F238E27FC236}">
                <a16:creationId xmlns:a16="http://schemas.microsoft.com/office/drawing/2014/main" id="{C33C2549-2723-476A-B378-B5FB27779490}"/>
              </a:ext>
            </a:extLst>
          </p:cNvPr>
          <p:cNvPicPr>
            <a:picLocks noChangeAspect="1"/>
          </p:cNvPicPr>
          <p:nvPr/>
        </p:nvPicPr>
        <p:blipFill>
          <a:blip r:embed="rId3"/>
          <a:stretch>
            <a:fillRect/>
          </a:stretch>
        </p:blipFill>
        <p:spPr>
          <a:xfrm>
            <a:off x="497840" y="2593982"/>
            <a:ext cx="11419840" cy="3342794"/>
          </a:xfrm>
          <a:prstGeom prst="rect">
            <a:avLst/>
          </a:prstGeom>
        </p:spPr>
      </p:pic>
    </p:spTree>
    <p:extLst>
      <p:ext uri="{BB962C8B-B14F-4D97-AF65-F5344CB8AC3E}">
        <p14:creationId xmlns:p14="http://schemas.microsoft.com/office/powerpoint/2010/main" val="53203253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4D3E2-A4FF-4B77-A257-8B4929FE540C}"/>
              </a:ext>
            </a:extLst>
          </p:cNvPr>
          <p:cNvSpPr>
            <a:spLocks noGrp="1"/>
          </p:cNvSpPr>
          <p:nvPr>
            <p:ph type="title"/>
          </p:nvPr>
        </p:nvSpPr>
        <p:spPr/>
        <p:txBody>
          <a:bodyPr/>
          <a:lstStyle/>
          <a:p>
            <a:r>
              <a:rPr lang="en-US"/>
              <a:t>Language Support Across Capabilities</a:t>
            </a:r>
          </a:p>
        </p:txBody>
      </p:sp>
      <p:sp>
        <p:nvSpPr>
          <p:cNvPr id="5" name="TextBox 4">
            <a:extLst>
              <a:ext uri="{FF2B5EF4-FFF2-40B4-BE49-F238E27FC236}">
                <a16:creationId xmlns:a16="http://schemas.microsoft.com/office/drawing/2014/main" id="{30ABF0D4-7000-44AD-A6C2-CC66BED09568}"/>
              </a:ext>
            </a:extLst>
          </p:cNvPr>
          <p:cNvSpPr txBox="1"/>
          <p:nvPr/>
        </p:nvSpPr>
        <p:spPr>
          <a:xfrm>
            <a:off x="833120" y="1442720"/>
            <a:ext cx="3596640" cy="4154984"/>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a:gradFill>
                  <a:gsLst>
                    <a:gs pos="2917">
                      <a:schemeClr val="tx1"/>
                    </a:gs>
                    <a:gs pos="30000">
                      <a:schemeClr val="tx1"/>
                    </a:gs>
                  </a:gsLst>
                  <a:lin ang="5400000" scaled="0"/>
                </a:gradFill>
              </a:rPr>
              <a:t>Core Azure search scenarios (leveraging text and information from data to create search index + end user search functionality) is supported in 51 languages</a:t>
            </a:r>
          </a:p>
          <a:p>
            <a:pPr algn="l"/>
            <a:r>
              <a:rPr lang="en-US">
                <a:gradFill>
                  <a:gsLst>
                    <a:gs pos="2917">
                      <a:schemeClr val="tx1"/>
                    </a:gs>
                    <a:gs pos="30000">
                      <a:schemeClr val="tx1"/>
                    </a:gs>
                  </a:gsLst>
                  <a:lin ang="5400000" scaled="0"/>
                </a:gradFill>
              </a:rPr>
              <a:t> </a:t>
            </a:r>
          </a:p>
          <a:p>
            <a:pPr marL="342900" indent="-342900" algn="l">
              <a:buFont typeface="Arial" panose="020B0604020202020204" pitchFamily="34" charset="0"/>
              <a:buChar char="•"/>
            </a:pPr>
            <a:r>
              <a:rPr lang="en-US">
                <a:gradFill>
                  <a:gsLst>
                    <a:gs pos="2917">
                      <a:schemeClr val="tx1"/>
                    </a:gs>
                    <a:gs pos="30000">
                      <a:schemeClr val="tx1"/>
                    </a:gs>
                  </a:gsLst>
                  <a:lin ang="5400000" scaled="0"/>
                </a:gradFill>
              </a:rPr>
              <a:t> Cognitive services (OCR, Sentiment, key phrase extraction, sentiment) are available in select languages</a:t>
            </a:r>
          </a:p>
          <a:p>
            <a:pPr algn="l"/>
            <a:endParaRPr lang="en-US">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a:gradFill>
                  <a:gsLst>
                    <a:gs pos="2917">
                      <a:schemeClr val="tx1"/>
                    </a:gs>
                    <a:gs pos="30000">
                      <a:schemeClr val="tx1"/>
                    </a:gs>
                  </a:gsLst>
                  <a:lin ang="5400000" scaled="0"/>
                </a:gradFill>
              </a:rPr>
              <a:t>You can use this pivot table to see language support across capabilities </a:t>
            </a:r>
            <a:r>
              <a:rPr lang="en-US">
                <a:hlinkClick r:id="rId2"/>
              </a:rPr>
              <a:t>Knowledge </a:t>
            </a:r>
            <a:r>
              <a:rPr lang="en-US" err="1">
                <a:hlinkClick r:id="rId2"/>
              </a:rPr>
              <a:t>Mining_Language</a:t>
            </a:r>
            <a:r>
              <a:rPr lang="en-US">
                <a:hlinkClick r:id="rId2"/>
              </a:rPr>
              <a:t> support.xlsx</a:t>
            </a:r>
            <a:r>
              <a:rPr lang="en-US">
                <a:gradFill>
                  <a:gsLst>
                    <a:gs pos="2917">
                      <a:schemeClr val="tx1"/>
                    </a:gs>
                    <a:gs pos="30000">
                      <a:schemeClr val="tx1"/>
                    </a:gs>
                  </a:gsLst>
                  <a:lin ang="5400000" scaled="0"/>
                </a:gradFill>
              </a:rPr>
              <a:t> </a:t>
            </a:r>
          </a:p>
        </p:txBody>
      </p:sp>
      <p:pic>
        <p:nvPicPr>
          <p:cNvPr id="6" name="Picture 5">
            <a:extLst>
              <a:ext uri="{FF2B5EF4-FFF2-40B4-BE49-F238E27FC236}">
                <a16:creationId xmlns:a16="http://schemas.microsoft.com/office/drawing/2014/main" id="{C66EB600-4DDB-4846-B2E7-CB7694C1794E}"/>
              </a:ext>
            </a:extLst>
          </p:cNvPr>
          <p:cNvPicPr>
            <a:picLocks noChangeAspect="1"/>
          </p:cNvPicPr>
          <p:nvPr/>
        </p:nvPicPr>
        <p:blipFill rotWithShape="1">
          <a:blip r:embed="rId3"/>
          <a:srcRect b="3767"/>
          <a:stretch/>
        </p:blipFill>
        <p:spPr>
          <a:xfrm>
            <a:off x="5928090" y="882655"/>
            <a:ext cx="5861965" cy="5519064"/>
          </a:xfrm>
          <a:prstGeom prst="rect">
            <a:avLst/>
          </a:prstGeom>
        </p:spPr>
      </p:pic>
    </p:spTree>
    <p:extLst>
      <p:ext uri="{BB962C8B-B14F-4D97-AF65-F5344CB8AC3E}">
        <p14:creationId xmlns:p14="http://schemas.microsoft.com/office/powerpoint/2010/main" val="18184008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8018B-0340-4820-BE45-D8E8A426C5C0}"/>
              </a:ext>
            </a:extLst>
          </p:cNvPr>
          <p:cNvSpPr>
            <a:spLocks noGrp="1"/>
          </p:cNvSpPr>
          <p:nvPr>
            <p:ph type="title"/>
          </p:nvPr>
        </p:nvSpPr>
        <p:spPr/>
        <p:txBody>
          <a:bodyPr/>
          <a:lstStyle/>
          <a:p>
            <a:r>
              <a:rPr lang="en-US"/>
              <a:t>Product Differentiation</a:t>
            </a:r>
          </a:p>
        </p:txBody>
      </p:sp>
      <p:graphicFrame>
        <p:nvGraphicFramePr>
          <p:cNvPr id="10" name="Table 9">
            <a:extLst>
              <a:ext uri="{FF2B5EF4-FFF2-40B4-BE49-F238E27FC236}">
                <a16:creationId xmlns:a16="http://schemas.microsoft.com/office/drawing/2014/main" id="{5BE18670-2D11-4FAD-B5BB-958F6157CD2E}"/>
              </a:ext>
            </a:extLst>
          </p:cNvPr>
          <p:cNvGraphicFramePr>
            <a:graphicFrameLocks noGrp="1"/>
          </p:cNvGraphicFramePr>
          <p:nvPr>
            <p:extLst>
              <p:ext uri="{D42A27DB-BD31-4B8C-83A1-F6EECF244321}">
                <p14:modId xmlns:p14="http://schemas.microsoft.com/office/powerpoint/2010/main" val="3705552393"/>
              </p:ext>
            </p:extLst>
          </p:nvPr>
        </p:nvGraphicFramePr>
        <p:xfrm>
          <a:off x="431634" y="1253051"/>
          <a:ext cx="11023643" cy="3303373"/>
        </p:xfrm>
        <a:graphic>
          <a:graphicData uri="http://schemas.openxmlformats.org/drawingml/2006/table">
            <a:tbl>
              <a:tblPr firstRow="1" bandRow="1"/>
              <a:tblGrid>
                <a:gridCol w="4682987">
                  <a:extLst>
                    <a:ext uri="{9D8B030D-6E8A-4147-A177-3AD203B41FA5}">
                      <a16:colId xmlns:a16="http://schemas.microsoft.com/office/drawing/2014/main" val="3529868990"/>
                    </a:ext>
                  </a:extLst>
                </a:gridCol>
                <a:gridCol w="1184521">
                  <a:extLst>
                    <a:ext uri="{9D8B030D-6E8A-4147-A177-3AD203B41FA5}">
                      <a16:colId xmlns:a16="http://schemas.microsoft.com/office/drawing/2014/main" val="3787622675"/>
                    </a:ext>
                  </a:extLst>
                </a:gridCol>
                <a:gridCol w="1246501">
                  <a:extLst>
                    <a:ext uri="{9D8B030D-6E8A-4147-A177-3AD203B41FA5}">
                      <a16:colId xmlns:a16="http://schemas.microsoft.com/office/drawing/2014/main" val="781027701"/>
                    </a:ext>
                  </a:extLst>
                </a:gridCol>
                <a:gridCol w="1308482">
                  <a:extLst>
                    <a:ext uri="{9D8B030D-6E8A-4147-A177-3AD203B41FA5}">
                      <a16:colId xmlns:a16="http://schemas.microsoft.com/office/drawing/2014/main" val="2786011913"/>
                    </a:ext>
                  </a:extLst>
                </a:gridCol>
                <a:gridCol w="1411782">
                  <a:extLst>
                    <a:ext uri="{9D8B030D-6E8A-4147-A177-3AD203B41FA5}">
                      <a16:colId xmlns:a16="http://schemas.microsoft.com/office/drawing/2014/main" val="1059669562"/>
                    </a:ext>
                  </a:extLst>
                </a:gridCol>
                <a:gridCol w="1189370">
                  <a:extLst>
                    <a:ext uri="{9D8B030D-6E8A-4147-A177-3AD203B41FA5}">
                      <a16:colId xmlns:a16="http://schemas.microsoft.com/office/drawing/2014/main" val="4178000334"/>
                    </a:ext>
                  </a:extLst>
                </a:gridCol>
              </a:tblGrid>
              <a:tr h="637827">
                <a:tc>
                  <a:txBody>
                    <a:bodyPr/>
                    <a:lstStyle/>
                    <a:p>
                      <a:pPr marL="0" marR="0">
                        <a:lnSpc>
                          <a:spcPct val="107000"/>
                        </a:lnSpc>
                        <a:spcBef>
                          <a:spcPts val="0"/>
                        </a:spcBef>
                        <a:spcAft>
                          <a:spcPts val="0"/>
                        </a:spcAft>
                      </a:pP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Feature/benefi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nchor="ctr">
                    <a:lnL>
                      <a:noFill/>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78D4"/>
                    </a:solidFill>
                  </a:tcPr>
                </a:tc>
                <a:tc>
                  <a:txBody>
                    <a:bodyPr/>
                    <a:lstStyle/>
                    <a:p>
                      <a:pPr marL="0" marR="0" algn="ctr">
                        <a:lnSpc>
                          <a:spcPct val="107000"/>
                        </a:lnSpc>
                        <a:spcBef>
                          <a:spcPts val="0"/>
                        </a:spcBef>
                        <a:spcAft>
                          <a:spcPts val="0"/>
                        </a:spcAft>
                      </a:pP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Azure Sear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nchor="ctr">
                    <a:lnL>
                      <a:noFill/>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505050"/>
                    </a:solidFill>
                  </a:tcPr>
                </a:tc>
                <a:tc>
                  <a:txBody>
                    <a:bodyPr/>
                    <a:lstStyle/>
                    <a:p>
                      <a:pPr marL="0" marR="0" algn="ctr">
                        <a:lnSpc>
                          <a:spcPct val="107000"/>
                        </a:lnSpc>
                        <a:spcBef>
                          <a:spcPts val="0"/>
                        </a:spcBef>
                        <a:spcAft>
                          <a:spcPts val="0"/>
                        </a:spcAft>
                      </a:pP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Amazon </a:t>
                      </a:r>
                      <a:r>
                        <a:rPr lang="en-US" sz="1400" kern="1200" err="1">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ElasticSearch</a:t>
                      </a: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 Servic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nchor="ctr">
                    <a:lnL>
                      <a:noFill/>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78D4"/>
                    </a:solidFill>
                  </a:tcPr>
                </a:tc>
                <a:tc>
                  <a:txBody>
                    <a:bodyPr/>
                    <a:lstStyle/>
                    <a:p>
                      <a:pPr marL="0" marR="0" algn="ctr">
                        <a:lnSpc>
                          <a:spcPct val="107000"/>
                        </a:lnSpc>
                        <a:spcBef>
                          <a:spcPts val="0"/>
                        </a:spcBef>
                        <a:spcAft>
                          <a:spcPts val="0"/>
                        </a:spcAft>
                      </a:pP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Elastic Search/Sol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nchor="ctr">
                    <a:lnL>
                      <a:noFill/>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78D4"/>
                    </a:solidFill>
                  </a:tcPr>
                </a:tc>
                <a:tc>
                  <a:txBody>
                    <a:bodyPr/>
                    <a:lstStyle/>
                    <a:p>
                      <a:pPr marL="0" marR="0" algn="ctr">
                        <a:lnSpc>
                          <a:spcPct val="107000"/>
                        </a:lnSpc>
                        <a:spcBef>
                          <a:spcPts val="0"/>
                        </a:spcBef>
                        <a:spcAft>
                          <a:spcPts val="0"/>
                        </a:spcAft>
                      </a:pP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Elastic Cloud* (Hosted on  AWS, or GC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nchor="ctr">
                    <a:lnL>
                      <a:noFill/>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78D4"/>
                    </a:solidFill>
                  </a:tcPr>
                </a:tc>
                <a:tc>
                  <a:txBody>
                    <a:bodyPr/>
                    <a:lstStyle/>
                    <a:p>
                      <a:pPr marL="0" marR="0" algn="ctr">
                        <a:lnSpc>
                          <a:spcPct val="107000"/>
                        </a:lnSpc>
                        <a:spcBef>
                          <a:spcPts val="0"/>
                        </a:spcBef>
                        <a:spcAft>
                          <a:spcPts val="0"/>
                        </a:spcAft>
                      </a:pPr>
                      <a:r>
                        <a:rPr lang="en-US" sz="14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Google Cloud Sear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nchor="ctr">
                    <a:lnL>
                      <a:noFill/>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0078D4"/>
                    </a:solidFill>
                  </a:tcPr>
                </a:tc>
                <a:extLst>
                  <a:ext uri="{0D108BD9-81ED-4DB2-BD59-A6C34878D82A}">
                    <a16:rowId xmlns:a16="http://schemas.microsoft.com/office/drawing/2014/main" val="3576838547"/>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ptimized for their cloud soluti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w="28575" cap="flat" cmpd="sng" algn="ctr">
                      <a:solidFill>
                        <a:srgbClr val="000000"/>
                      </a:solidFill>
                      <a:prstDash val="solid"/>
                      <a:round/>
                      <a:headEnd type="none" w="med" len="med"/>
                      <a:tailEnd type="none" w="med" len="med"/>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w="28575" cap="flat" cmpd="sng" algn="ctr">
                      <a:solidFill>
                        <a:srgbClr val="000000"/>
                      </a:solidFill>
                      <a:prstDash val="solid"/>
                      <a:round/>
                      <a:headEnd type="none" w="med" len="med"/>
                      <a:tailEnd type="none" w="med" len="med"/>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w="28575" cap="flat" cmpd="sng" algn="ctr">
                      <a:solidFill>
                        <a:srgbClr val="000000"/>
                      </a:solidFill>
                      <a:prstDash val="solid"/>
                      <a:round/>
                      <a:headEnd type="none" w="med" len="med"/>
                      <a:tailEnd type="none" w="med" len="med"/>
                    </a:lnT>
                    <a:lnB>
                      <a:noFill/>
                    </a:lnB>
                    <a:solidFill>
                      <a:srgbClr val="E7E7E7"/>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w="28575" cap="flat" cmpd="sng" algn="ctr">
                      <a:solidFill>
                        <a:srgbClr val="000000"/>
                      </a:solidFill>
                      <a:prstDash val="solid"/>
                      <a:round/>
                      <a:headEnd type="none" w="med" len="med"/>
                      <a:tailEnd type="none" w="med" len="med"/>
                    </a:lnT>
                    <a:lnB>
                      <a:noFill/>
                    </a:lnB>
                    <a:solidFill>
                      <a:srgbClr val="E7E7E7"/>
                    </a:solidFill>
                  </a:tcPr>
                </a:tc>
                <a:tc>
                  <a:txBody>
                    <a:bodyPr/>
                    <a:lstStyle/>
                    <a:p>
                      <a:pPr marL="0" marR="0" algn="ctr">
                        <a:lnSpc>
                          <a:spcPct val="107000"/>
                        </a:lnSpc>
                        <a:spcBef>
                          <a:spcPts val="0"/>
                        </a:spcBef>
                        <a:spcAft>
                          <a:spcPts val="0"/>
                        </a:spcAft>
                      </a:pPr>
                      <a:r>
                        <a:rPr lang="en-US" sz="1400">
                          <a:effectLst/>
                          <a:latin typeface="Arial" panose="020B0604020202020204" pitchFamily="34" charset="0"/>
                          <a:ea typeface="Times New Roman" panose="02020603050405020304" pitchFamily="18" charset="0"/>
                          <a:cs typeface="Times New Roman" panose="02020603050405020304" pitchFamily="18"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w="28575" cap="flat" cmpd="sng" algn="ctr">
                      <a:solidFill>
                        <a:srgbClr val="000000"/>
                      </a:solidFill>
                      <a:prstDash val="solid"/>
                      <a:round/>
                      <a:headEnd type="none" w="med" len="med"/>
                      <a:tailEnd type="none" w="med" len="med"/>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w="28575"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1691998199"/>
                  </a:ext>
                </a:extLst>
              </a:tr>
              <a:tr h="229753">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bility to run on pre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FFFFFF"/>
                    </a:solidFill>
                  </a:tcPr>
                </a:tc>
                <a:tc>
                  <a:txBody>
                    <a:bodyPr/>
                    <a:lstStyle/>
                    <a:p>
                      <a:pPr marL="0" marR="0">
                        <a:lnSpc>
                          <a:spcPct val="107000"/>
                        </a:lnSpc>
                        <a:spcBef>
                          <a:spcPts val="0"/>
                        </a:spcBef>
                        <a:spcAft>
                          <a:spcPts val="0"/>
                        </a:spcAft>
                      </a:pPr>
                      <a:r>
                        <a:rPr lang="en-US" sz="1400">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highlight>
                            <a:srgbClr val="FFFF00"/>
                          </a:highlight>
                          <a:latin typeface="Segoe UI" panose="020B0502040204020203" pitchFamily="34" charset="0"/>
                          <a:ea typeface="Times New Roman" panose="02020603050405020304" pitchFamily="18" charset="0"/>
                          <a:cs typeface="Arial" panose="020B060402020202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highlight>
                            <a:srgbClr val="FFFF00"/>
                          </a:highlight>
                          <a:latin typeface="Segoe UI" panose="020B0502040204020203" pitchFamily="34" charset="0"/>
                          <a:ea typeface="Times New Roman" panose="02020603050405020304" pitchFamily="18" charset="0"/>
                          <a:cs typeface="Arial" panose="020B060402020202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nSpc>
                          <a:spcPct val="107000"/>
                        </a:lnSpc>
                        <a:spcBef>
                          <a:spcPts val="0"/>
                        </a:spcBef>
                        <a:spcAft>
                          <a:spcPts val="0"/>
                        </a:spcAft>
                      </a:pPr>
                      <a:r>
                        <a:rPr lang="en-US" sz="1400">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extLst>
                  <a:ext uri="{0D108BD9-81ED-4DB2-BD59-A6C34878D82A}">
                    <a16:rowId xmlns:a16="http://schemas.microsoft.com/office/drawing/2014/main" val="1893195647"/>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Has Elastic Search head and    ecosystem suppor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FFFFFF"/>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extLst>
                  <a:ext uri="{0D108BD9-81ED-4DB2-BD59-A6C34878D82A}">
                    <a16:rowId xmlns:a16="http://schemas.microsoft.com/office/drawing/2014/main" val="1302717171"/>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Easy to deploy and manag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a:effectLst/>
                          <a:latin typeface="Arial" panose="020B0604020202020204" pitchFamily="34" charset="0"/>
                          <a:ea typeface="Times New Roman" panose="02020603050405020304" pitchFamily="18" charset="0"/>
                          <a:cs typeface="Times New Roman" panose="02020603050405020304" pitchFamily="18"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extLst>
                  <a:ext uri="{0D108BD9-81ED-4DB2-BD59-A6C34878D82A}">
                    <a16:rowId xmlns:a16="http://schemas.microsoft.com/office/drawing/2014/main" val="2192789446"/>
                  </a:ext>
                </a:extLst>
              </a:tr>
              <a:tr h="273403">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Rich search features: Sorting /Ranking/Attribute Boosti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extLst>
                  <a:ext uri="{0D108BD9-81ED-4DB2-BD59-A6C34878D82A}">
                    <a16:rowId xmlns:a16="http://schemas.microsoft.com/office/drawing/2014/main" val="1672757929"/>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Integrated document cracking service (PDF, DOC, etc.)</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nSpc>
                          <a:spcPct val="107000"/>
                        </a:lnSpc>
                        <a:spcBef>
                          <a:spcPts val="0"/>
                        </a:spcBef>
                        <a:spcAft>
                          <a:spcPts val="0"/>
                        </a:spcAft>
                      </a:pPr>
                      <a:r>
                        <a:rPr lang="en-US" sz="1400">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nSpc>
                          <a:spcPct val="107000"/>
                        </a:lnSpc>
                        <a:spcBef>
                          <a:spcPts val="0"/>
                        </a:spcBef>
                        <a:spcAft>
                          <a:spcPts val="0"/>
                        </a:spcAft>
                      </a:pPr>
                      <a:r>
                        <a:rPr lang="en-US" sz="140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extLst>
                  <a:ext uri="{0D108BD9-81ED-4DB2-BD59-A6C34878D82A}">
                    <a16:rowId xmlns:a16="http://schemas.microsoft.com/office/drawing/2014/main" val="1740744440"/>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Natural language APIs integra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r>
                        <a:rPr lang="en-US" sz="140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extLst>
                  <a:ext uri="{0D108BD9-81ED-4DB2-BD59-A6C34878D82A}">
                    <a16:rowId xmlns:a16="http://schemas.microsoft.com/office/drawing/2014/main" val="2229098951"/>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Vision APIs integra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Times New Roman" panose="02020603050405020304" pitchFamily="18" charset="0"/>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FFFFFF"/>
                    </a:solidFill>
                  </a:tcPr>
                </a:tc>
                <a:extLst>
                  <a:ext uri="{0D108BD9-81ED-4DB2-BD59-A6C34878D82A}">
                    <a16:rowId xmlns:a16="http://schemas.microsoft.com/office/drawing/2014/main" val="41521221"/>
                  </a:ext>
                </a:extLst>
              </a:tr>
              <a:tr h="230549">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bility to connect custom AI models with sear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r>
                        <a:rPr lang="en-US" sz="140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a:lnSpc>
                          <a:spcPct val="107000"/>
                        </a:lnSpc>
                      </a:pPr>
                      <a:endParaRPr lang="en-US" sz="1400">
                        <a:effectLst/>
                        <a:latin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extLst>
                  <a:ext uri="{0D108BD9-81ED-4DB2-BD59-A6C34878D82A}">
                    <a16:rowId xmlns:a16="http://schemas.microsoft.com/office/drawing/2014/main" val="2698256936"/>
                  </a:ext>
                </a:extLst>
              </a:tr>
              <a:tr h="229753">
                <a:tc>
                  <a:txBody>
                    <a:bodyPr/>
                    <a:lstStyle/>
                    <a:p>
                      <a:pPr marL="0" marR="0" fontAlgn="b">
                        <a:lnSpc>
                          <a:spcPct val="107000"/>
                        </a:lnSpc>
                        <a:spcBef>
                          <a:spcPts val="0"/>
                        </a:spcBef>
                        <a:spcAft>
                          <a:spcPts val="0"/>
                        </a:spcAft>
                      </a:pPr>
                      <a:r>
                        <a:rPr lang="en-US"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dvanced analyzers with deep language understandi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112" marR="4112" marT="4112" marB="0" anchor="ctr">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D9D9D9"/>
                    </a:solidFill>
                  </a:tcPr>
                </a:tc>
                <a:tc>
                  <a:txBody>
                    <a:bodyPr/>
                    <a:lstStyle/>
                    <a:p>
                      <a:pPr marL="0" marR="0">
                        <a:lnSpc>
                          <a:spcPct val="107000"/>
                        </a:lnSpc>
                        <a:spcBef>
                          <a:spcPts val="0"/>
                        </a:spcBef>
                        <a:spcAft>
                          <a:spcPts val="0"/>
                        </a:spcAft>
                      </a:pPr>
                      <a:r>
                        <a:rPr lang="en-US" sz="1400">
                          <a:effectLst/>
                          <a:latin typeface="Arial" panose="020B0604020202020204" pitchFamily="34"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nSpc>
                          <a:spcPct val="107000"/>
                        </a:lnSpc>
                        <a:spcBef>
                          <a:spcPts val="0"/>
                        </a:spcBef>
                        <a:spcAft>
                          <a:spcPts val="0"/>
                        </a:spcAft>
                      </a:pPr>
                      <a:r>
                        <a:rPr lang="en-US" sz="140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tc>
                  <a:txBody>
                    <a:bodyPr/>
                    <a:lstStyle/>
                    <a:p>
                      <a:pPr marL="0" marR="0" algn="ctr">
                        <a:lnSpc>
                          <a:spcPct val="107000"/>
                        </a:lnSpc>
                        <a:spcBef>
                          <a:spcPts val="0"/>
                        </a:spcBef>
                        <a:spcAft>
                          <a:spcPts val="0"/>
                        </a:spcAft>
                      </a:pPr>
                      <a:r>
                        <a:rPr lang="en-US" sz="1400" kern="1200">
                          <a:solidFill>
                            <a:srgbClr val="000000"/>
                          </a:solidFill>
                          <a:effectLst/>
                          <a:latin typeface="Segoe UI" panose="020B0502040204020203" pitchFamily="34" charset="0"/>
                          <a:ea typeface="Times New Roman" panose="02020603050405020304" pitchFamily="18" charset="0"/>
                          <a:cs typeface="Arial" panose="020B0604020202020204" pitchFamily="34" charset="0"/>
                          <a:sym typeface="Wingdings 2" panose="05020102010507070707" pitchFamily="18" charset="2"/>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9472" marR="39472" marT="19736" marB="19736">
                    <a:lnL>
                      <a:noFill/>
                    </a:lnL>
                    <a:lnR>
                      <a:noFill/>
                    </a:lnR>
                    <a:lnT>
                      <a:noFill/>
                    </a:lnT>
                    <a:lnB>
                      <a:noFill/>
                    </a:lnB>
                    <a:solidFill>
                      <a:srgbClr val="E7E7E7"/>
                    </a:solidFill>
                  </a:tcPr>
                </a:tc>
                <a:extLst>
                  <a:ext uri="{0D108BD9-81ED-4DB2-BD59-A6C34878D82A}">
                    <a16:rowId xmlns:a16="http://schemas.microsoft.com/office/drawing/2014/main" val="3581032941"/>
                  </a:ext>
                </a:extLst>
              </a:tr>
            </a:tbl>
          </a:graphicData>
        </a:graphic>
      </p:graphicFrame>
      <p:sp>
        <p:nvSpPr>
          <p:cNvPr id="13" name="Rectangle 12">
            <a:extLst>
              <a:ext uri="{FF2B5EF4-FFF2-40B4-BE49-F238E27FC236}">
                <a16:creationId xmlns:a16="http://schemas.microsoft.com/office/drawing/2014/main" id="{BCB01C1F-10F3-4021-BDAA-807299E23BF0}"/>
              </a:ext>
            </a:extLst>
          </p:cNvPr>
          <p:cNvSpPr/>
          <p:nvPr/>
        </p:nvSpPr>
        <p:spPr>
          <a:xfrm>
            <a:off x="532263" y="4821642"/>
            <a:ext cx="11023643" cy="516936"/>
          </a:xfrm>
          <a:prstGeom prst="rect">
            <a:avLst/>
          </a:prstGeom>
        </p:spPr>
        <p:txBody>
          <a:bodyPr wrap="square">
            <a:spAutoFit/>
          </a:bodyPr>
          <a:lstStyle/>
          <a:p>
            <a:pPr>
              <a:lnSpc>
                <a:spcPct val="107000"/>
              </a:lnSpc>
              <a:spcAft>
                <a:spcPts val="800"/>
              </a:spcAft>
            </a:pPr>
            <a:r>
              <a:rPr lang="en-US" sz="1000" b="1">
                <a:latin typeface="Calibri" panose="020F0502020204030204" pitchFamily="34" charset="0"/>
                <a:ea typeface="Calibri" panose="020F0502020204030204" pitchFamily="34" charset="0"/>
                <a:cs typeface="Times New Roman" panose="02020603050405020304" pitchFamily="18" charset="0"/>
              </a:rPr>
              <a:t>*Built on elastic search</a:t>
            </a:r>
            <a:endParaRPr lang="en-US" sz="10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Calibri" panose="020F0502020204030204" pitchFamily="34" charset="0"/>
                <a:ea typeface="Calibri" panose="020F0502020204030204" pitchFamily="34" charset="0"/>
                <a:cs typeface="Times New Roman" panose="02020603050405020304" pitchFamily="18" charset="0"/>
              </a:rPr>
              <a:t>**Have their own set of AI APIs that are not integrated with search offerings</a:t>
            </a:r>
            <a:endParaRPr lang="en-US" sz="100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799918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0174DF-D222-4919-9018-793AE6993AB8}"/>
              </a:ext>
            </a:extLst>
          </p:cNvPr>
          <p:cNvSpPr>
            <a:spLocks noGrp="1"/>
          </p:cNvSpPr>
          <p:nvPr>
            <p:ph type="title"/>
          </p:nvPr>
        </p:nvSpPr>
        <p:spPr>
          <a:xfrm>
            <a:off x="270066" y="-36568"/>
            <a:ext cx="11654187" cy="899537"/>
          </a:xfrm>
        </p:spPr>
        <p:txBody>
          <a:bodyPr/>
          <a:lstStyle/>
          <a:p>
            <a:r>
              <a:rPr lang="en-GB"/>
              <a:t>FY19 Data &amp; AI – Offer Walk</a:t>
            </a:r>
            <a:endParaRPr lang="en-IN"/>
          </a:p>
        </p:txBody>
      </p:sp>
      <p:sp>
        <p:nvSpPr>
          <p:cNvPr id="116" name="Rectangle 115">
            <a:extLst>
              <a:ext uri="{FF2B5EF4-FFF2-40B4-BE49-F238E27FC236}">
                <a16:creationId xmlns:a16="http://schemas.microsoft.com/office/drawing/2014/main" id="{FFCE2A90-8F2F-4C7A-B4FD-0FA7F043BAF2}"/>
              </a:ext>
            </a:extLst>
          </p:cNvPr>
          <p:cNvSpPr/>
          <p:nvPr/>
        </p:nvSpPr>
        <p:spPr bwMode="auto">
          <a:xfrm>
            <a:off x="586017" y="1265828"/>
            <a:ext cx="975221" cy="31277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l" defTabSz="931757"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SOLUTION</a:t>
            </a:r>
            <a:b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b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AREA STACK</a:t>
            </a:r>
            <a:endParaRPr kumimoji="0" lang="en-IN"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endParaRPr>
          </a:p>
        </p:txBody>
      </p:sp>
      <p:sp>
        <p:nvSpPr>
          <p:cNvPr id="117" name="Rectangle 116">
            <a:extLst>
              <a:ext uri="{FF2B5EF4-FFF2-40B4-BE49-F238E27FC236}">
                <a16:creationId xmlns:a16="http://schemas.microsoft.com/office/drawing/2014/main" id="{60301B07-8C59-4CA5-815F-6375D90EB0EB}"/>
              </a:ext>
            </a:extLst>
          </p:cNvPr>
          <p:cNvSpPr/>
          <p:nvPr/>
        </p:nvSpPr>
        <p:spPr bwMode="auto">
          <a:xfrm>
            <a:off x="5025532" y="1570582"/>
            <a:ext cx="1868770" cy="31277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ctr" defTabSz="931757"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SCENARIOS, USE CASES,</a:t>
            </a:r>
            <a:b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b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STORIES, CONVERSATIONS</a:t>
            </a:r>
            <a:endParaRPr kumimoji="0" lang="en-IN"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endParaRPr>
          </a:p>
        </p:txBody>
      </p:sp>
      <p:sp>
        <p:nvSpPr>
          <p:cNvPr id="118" name="Rectangle 117">
            <a:extLst>
              <a:ext uri="{FF2B5EF4-FFF2-40B4-BE49-F238E27FC236}">
                <a16:creationId xmlns:a16="http://schemas.microsoft.com/office/drawing/2014/main" id="{B665A16F-579E-42DE-AE7A-ACA96975C184}"/>
              </a:ext>
            </a:extLst>
          </p:cNvPr>
          <p:cNvSpPr/>
          <p:nvPr/>
        </p:nvSpPr>
        <p:spPr bwMode="auto">
          <a:xfrm>
            <a:off x="7803059" y="1570582"/>
            <a:ext cx="3937472" cy="31277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ctr" defTabSz="931757"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INDUSTRY SCENARIOS, USE CASES, STORIES, CONVERSATIONS</a:t>
            </a:r>
            <a:endParaRPr kumimoji="0" lang="en-IN"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endParaRPr>
          </a:p>
        </p:txBody>
      </p:sp>
      <p:sp>
        <p:nvSpPr>
          <p:cNvPr id="119" name="Rectangle 118">
            <a:extLst>
              <a:ext uri="{FF2B5EF4-FFF2-40B4-BE49-F238E27FC236}">
                <a16:creationId xmlns:a16="http://schemas.microsoft.com/office/drawing/2014/main" id="{D660CD63-87CA-4C87-8493-12214C956DEB}"/>
              </a:ext>
            </a:extLst>
          </p:cNvPr>
          <p:cNvSpPr/>
          <p:nvPr/>
        </p:nvSpPr>
        <p:spPr bwMode="auto">
          <a:xfrm>
            <a:off x="1642797" y="1287589"/>
            <a:ext cx="2854450" cy="31277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ctr" defTabSz="931757"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PILOT</a:t>
            </a:r>
            <a:r>
              <a:rPr kumimoji="0" lang="en-IN"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 </a:t>
            </a: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 FOUNDATIONAL OFFER</a:t>
            </a:r>
            <a:endParaRPr kumimoji="0" lang="en-IN"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endParaRPr>
          </a:p>
        </p:txBody>
      </p:sp>
      <p:sp>
        <p:nvSpPr>
          <p:cNvPr id="50" name="Rectangle 49">
            <a:extLst>
              <a:ext uri="{FF2B5EF4-FFF2-40B4-BE49-F238E27FC236}">
                <a16:creationId xmlns:a16="http://schemas.microsoft.com/office/drawing/2014/main" id="{7B66FAD6-D944-4A12-A2D3-9B1DD56599FD}"/>
              </a:ext>
            </a:extLst>
          </p:cNvPr>
          <p:cNvSpPr/>
          <p:nvPr/>
        </p:nvSpPr>
        <p:spPr bwMode="auto">
          <a:xfrm>
            <a:off x="586018" y="5852797"/>
            <a:ext cx="975221" cy="76658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36571" rIns="73141" bIns="36571" numCol="1" spcCol="0" rtlCol="0" fromWordArt="0" anchor="ctr" anchorCtr="0" forceAA="0" compatLnSpc="1">
            <a:prstTxWarp prst="textNoShape">
              <a:avLst/>
            </a:prstTxWarp>
            <a:noAutofit/>
          </a:bodyPr>
          <a:lstStyle/>
          <a:p>
            <a:pPr marL="0" marR="0" lvl="0" indent="0" algn="l" defTabSz="931399" rtl="0" eaLnBrk="1" fontAlgn="base" latinLnBrk="0" hangingPunct="1">
              <a:lnSpc>
                <a:spcPct val="100000"/>
              </a:lnSpc>
              <a:spcBef>
                <a:spcPts val="0"/>
              </a:spcBef>
              <a:spcAft>
                <a:spcPct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Data</a:t>
            </a:r>
          </a:p>
        </p:txBody>
      </p:sp>
      <p:sp>
        <p:nvSpPr>
          <p:cNvPr id="8" name="Rectangle 7">
            <a:extLst>
              <a:ext uri="{FF2B5EF4-FFF2-40B4-BE49-F238E27FC236}">
                <a16:creationId xmlns:a16="http://schemas.microsoft.com/office/drawing/2014/main" id="{886FF2AF-A7DF-4BFF-8747-935C7DF94FD6}"/>
              </a:ext>
            </a:extLst>
          </p:cNvPr>
          <p:cNvSpPr/>
          <p:nvPr/>
        </p:nvSpPr>
        <p:spPr bwMode="auto">
          <a:xfrm>
            <a:off x="5025532" y="5852798"/>
            <a:ext cx="1868770" cy="213770"/>
          </a:xfrm>
          <a:prstGeom prst="rect">
            <a:avLst/>
          </a:prstGeom>
          <a:no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388" tIns="45694" rIns="91388"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
              </a:rPr>
              <a:t>Risk and Compliance Management</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9" name="Rectangle 8">
            <a:extLst>
              <a:ext uri="{FF2B5EF4-FFF2-40B4-BE49-F238E27FC236}">
                <a16:creationId xmlns:a16="http://schemas.microsoft.com/office/drawing/2014/main" id="{86730E7D-C233-4F2A-8B32-614F23A7115D}"/>
              </a:ext>
            </a:extLst>
          </p:cNvPr>
          <p:cNvSpPr/>
          <p:nvPr/>
        </p:nvSpPr>
        <p:spPr bwMode="auto">
          <a:xfrm>
            <a:off x="1642797" y="5852798"/>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91388" tIns="45694" rIns="91388"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4"/>
              </a:rPr>
              <a:t>SQL Upgrad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0" name="Rectangle 9">
            <a:extLst>
              <a:ext uri="{FF2B5EF4-FFF2-40B4-BE49-F238E27FC236}">
                <a16:creationId xmlns:a16="http://schemas.microsoft.com/office/drawing/2014/main" id="{F2EE9E12-525D-4171-AE04-78054C24807D}"/>
              </a:ext>
            </a:extLst>
          </p:cNvPr>
          <p:cNvSpPr/>
          <p:nvPr/>
        </p:nvSpPr>
        <p:spPr bwMode="auto">
          <a:xfrm>
            <a:off x="1642797" y="6129207"/>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91388" tIns="45694" rIns="91388"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5"/>
              </a:rPr>
              <a:t>Oracle Compet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1" name="Rectangle 10">
            <a:extLst>
              <a:ext uri="{FF2B5EF4-FFF2-40B4-BE49-F238E27FC236}">
                <a16:creationId xmlns:a16="http://schemas.microsoft.com/office/drawing/2014/main" id="{0BF8DBB9-91A1-4513-A1C6-A83CB719875D}"/>
              </a:ext>
            </a:extLst>
          </p:cNvPr>
          <p:cNvSpPr/>
          <p:nvPr/>
        </p:nvSpPr>
        <p:spPr bwMode="auto">
          <a:xfrm>
            <a:off x="1642797" y="6405618"/>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91388" tIns="45694" rIns="91388"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6"/>
              </a:rPr>
              <a:t>Data Warehouse Modernization</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49" name="Rectangle 48">
            <a:extLst>
              <a:ext uri="{FF2B5EF4-FFF2-40B4-BE49-F238E27FC236}">
                <a16:creationId xmlns:a16="http://schemas.microsoft.com/office/drawing/2014/main" id="{E65A99BE-7F07-4D23-B5CD-E3CC65082B51}"/>
              </a:ext>
            </a:extLst>
          </p:cNvPr>
          <p:cNvSpPr/>
          <p:nvPr/>
        </p:nvSpPr>
        <p:spPr bwMode="auto">
          <a:xfrm>
            <a:off x="586018" y="5004116"/>
            <a:ext cx="975221" cy="76658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73141" tIns="36571" rIns="73141" bIns="36571" numCol="1" spcCol="0" rtlCol="0" fromWordArt="0" anchor="ctr" anchorCtr="0" forceAA="0" compatLnSpc="1">
            <a:prstTxWarp prst="textNoShape">
              <a:avLst/>
            </a:prstTxWarp>
            <a:noAutofit/>
          </a:bodyPr>
          <a:lstStyle/>
          <a:p>
            <a:pPr marL="0" marR="0" lvl="0" indent="0" algn="l" defTabSz="931399" rtl="0" eaLnBrk="1" fontAlgn="base" latinLnBrk="0" hangingPunct="1">
              <a:lnSpc>
                <a:spcPct val="100000"/>
              </a:lnSpc>
              <a:spcBef>
                <a:spcPts val="0"/>
              </a:spcBef>
              <a:spcAft>
                <a:spcPct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I Reporting</a:t>
            </a:r>
            <a:b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b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mp; Visualization</a:t>
            </a:r>
          </a:p>
        </p:txBody>
      </p:sp>
      <p:sp>
        <p:nvSpPr>
          <p:cNvPr id="26" name="Rectangle 25">
            <a:extLst>
              <a:ext uri="{FF2B5EF4-FFF2-40B4-BE49-F238E27FC236}">
                <a16:creationId xmlns:a16="http://schemas.microsoft.com/office/drawing/2014/main" id="{338F32B3-D90B-413F-A11F-38906CB916D1}"/>
              </a:ext>
            </a:extLst>
          </p:cNvPr>
          <p:cNvSpPr/>
          <p:nvPr/>
        </p:nvSpPr>
        <p:spPr bwMode="auto">
          <a:xfrm>
            <a:off x="9789653" y="5004117"/>
            <a:ext cx="1950878" cy="213770"/>
          </a:xfrm>
          <a:prstGeom prst="rect">
            <a:avLst/>
          </a:prstGeom>
          <a:no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PubSec: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7"/>
              </a:rPr>
              <a:t>Govt Mobile Worker Productivity</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8" name="Rectangle 27">
            <a:extLst>
              <a:ext uri="{FF2B5EF4-FFF2-40B4-BE49-F238E27FC236}">
                <a16:creationId xmlns:a16="http://schemas.microsoft.com/office/drawing/2014/main" id="{D1668E84-D3E1-4F63-ACDB-D326A72B45B8}"/>
              </a:ext>
            </a:extLst>
          </p:cNvPr>
          <p:cNvSpPr/>
          <p:nvPr/>
        </p:nvSpPr>
        <p:spPr bwMode="auto">
          <a:xfrm>
            <a:off x="9789653" y="5556935"/>
            <a:ext cx="1950878" cy="213770"/>
          </a:xfrm>
          <a:prstGeom prst="rect">
            <a:avLst/>
          </a:prstGeom>
          <a:no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Manu: Supply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8"/>
              </a:rPr>
              <a:t>Chain Visibility</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7" name="Rectangle 26">
            <a:extLst>
              <a:ext uri="{FF2B5EF4-FFF2-40B4-BE49-F238E27FC236}">
                <a16:creationId xmlns:a16="http://schemas.microsoft.com/office/drawing/2014/main" id="{D0FCE5CC-660D-4D7F-A514-639E9847F032}"/>
              </a:ext>
            </a:extLst>
          </p:cNvPr>
          <p:cNvSpPr/>
          <p:nvPr/>
        </p:nvSpPr>
        <p:spPr bwMode="auto">
          <a:xfrm>
            <a:off x="9789653" y="5280526"/>
            <a:ext cx="1950878" cy="213770"/>
          </a:xfrm>
          <a:prstGeom prst="rect">
            <a:avLst/>
          </a:prstGeom>
          <a:no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err="1">
                <a:ln>
                  <a:noFill/>
                </a:ln>
                <a:solidFill>
                  <a:srgbClr val="505050"/>
                </a:solidFill>
                <a:effectLst/>
                <a:uLnTx/>
                <a:uFillTx/>
                <a:latin typeface="Segoe UI Semilight"/>
                <a:ea typeface="+mn-ea"/>
                <a:cs typeface="Segoe UI" panose="020B0502040204020203" pitchFamily="34" charset="0"/>
              </a:rPr>
              <a:t>B&amp;C</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 Mkts: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9"/>
              </a:rPr>
              <a:t>Risk Analytic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3" name="Rectangle 12">
            <a:extLst>
              <a:ext uri="{FF2B5EF4-FFF2-40B4-BE49-F238E27FC236}">
                <a16:creationId xmlns:a16="http://schemas.microsoft.com/office/drawing/2014/main" id="{2BAFC332-EF11-40D4-A879-981A2978C453}"/>
              </a:ext>
            </a:extLst>
          </p:cNvPr>
          <p:cNvSpPr/>
          <p:nvPr/>
        </p:nvSpPr>
        <p:spPr bwMode="auto">
          <a:xfrm>
            <a:off x="5025532" y="5004117"/>
            <a:ext cx="1868770" cy="213770"/>
          </a:xfrm>
          <a:prstGeom prst="rect">
            <a:avLst/>
          </a:prstGeom>
          <a:noFill/>
          <a:ln w="6350">
            <a:solidFill>
              <a:schemeClr val="bg2">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8"/>
              </a:rPr>
              <a:t>Supply Chain Insight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4" name="Rectangle 13">
            <a:extLst>
              <a:ext uri="{FF2B5EF4-FFF2-40B4-BE49-F238E27FC236}">
                <a16:creationId xmlns:a16="http://schemas.microsoft.com/office/drawing/2014/main" id="{CCBB4561-4E80-4155-8F37-56F34957C946}"/>
              </a:ext>
            </a:extLst>
          </p:cNvPr>
          <p:cNvSpPr/>
          <p:nvPr/>
        </p:nvSpPr>
        <p:spPr bwMode="auto">
          <a:xfrm>
            <a:off x="5025532" y="5280526"/>
            <a:ext cx="1868770" cy="213770"/>
          </a:xfrm>
          <a:prstGeom prst="rect">
            <a:avLst/>
          </a:prstGeom>
          <a:no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0"/>
              </a:rPr>
              <a:t>Analytics for Telco</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2" name="Rectangle 11">
            <a:extLst>
              <a:ext uri="{FF2B5EF4-FFF2-40B4-BE49-F238E27FC236}">
                <a16:creationId xmlns:a16="http://schemas.microsoft.com/office/drawing/2014/main" id="{B58E626A-22F6-4BEB-AC06-97E0B601E1A1}"/>
              </a:ext>
            </a:extLst>
          </p:cNvPr>
          <p:cNvSpPr/>
          <p:nvPr/>
        </p:nvSpPr>
        <p:spPr bwMode="auto">
          <a:xfrm>
            <a:off x="1642797" y="5280526"/>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1"/>
              </a:rPr>
              <a:t>BI Visualization Essential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7" name="Rectangle 16">
            <a:extLst>
              <a:ext uri="{FF2B5EF4-FFF2-40B4-BE49-F238E27FC236}">
                <a16:creationId xmlns:a16="http://schemas.microsoft.com/office/drawing/2014/main" id="{A8CFCAAF-D82F-41B3-83B6-CD125B331129}"/>
              </a:ext>
            </a:extLst>
          </p:cNvPr>
          <p:cNvSpPr/>
          <p:nvPr/>
        </p:nvSpPr>
        <p:spPr bwMode="auto">
          <a:xfrm>
            <a:off x="5025532" y="2714698"/>
            <a:ext cx="1868770"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2"/>
              </a:rPr>
              <a:t>Personalization</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0" name="Rectangle 19">
            <a:extLst>
              <a:ext uri="{FF2B5EF4-FFF2-40B4-BE49-F238E27FC236}">
                <a16:creationId xmlns:a16="http://schemas.microsoft.com/office/drawing/2014/main" id="{396976BD-7C58-4FDA-B719-57E0A07C14C1}"/>
              </a:ext>
            </a:extLst>
          </p:cNvPr>
          <p:cNvSpPr/>
          <p:nvPr/>
        </p:nvSpPr>
        <p:spPr bwMode="auto">
          <a:xfrm>
            <a:off x="5025532" y="3543926"/>
            <a:ext cx="1868770"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3"/>
              </a:rPr>
              <a:t>Patient Volume Forecasting</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8" name="Rectangle 17">
            <a:extLst>
              <a:ext uri="{FF2B5EF4-FFF2-40B4-BE49-F238E27FC236}">
                <a16:creationId xmlns:a16="http://schemas.microsoft.com/office/drawing/2014/main" id="{DDB7F880-AD3C-4899-8EBD-DEB86A49621E}"/>
              </a:ext>
            </a:extLst>
          </p:cNvPr>
          <p:cNvSpPr/>
          <p:nvPr/>
        </p:nvSpPr>
        <p:spPr bwMode="auto">
          <a:xfrm>
            <a:off x="5025532" y="2991107"/>
            <a:ext cx="1868770"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4"/>
              </a:rPr>
              <a:t>Demand Forecasting</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9" name="Rectangle 18">
            <a:extLst>
              <a:ext uri="{FF2B5EF4-FFF2-40B4-BE49-F238E27FC236}">
                <a16:creationId xmlns:a16="http://schemas.microsoft.com/office/drawing/2014/main" id="{66AAB16D-8D5E-4683-ACDE-19B14273FB3D}"/>
              </a:ext>
            </a:extLst>
          </p:cNvPr>
          <p:cNvSpPr/>
          <p:nvPr/>
        </p:nvSpPr>
        <p:spPr bwMode="auto">
          <a:xfrm>
            <a:off x="5025532" y="3267516"/>
            <a:ext cx="1868770"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5"/>
              </a:rPr>
              <a:t>Customer Insights &amp; Experien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48" name="Rectangle 47">
            <a:extLst>
              <a:ext uri="{FF2B5EF4-FFF2-40B4-BE49-F238E27FC236}">
                <a16:creationId xmlns:a16="http://schemas.microsoft.com/office/drawing/2014/main" id="{2C2C074E-3163-4640-B457-54A7C4A38ACD}"/>
              </a:ext>
            </a:extLst>
          </p:cNvPr>
          <p:cNvSpPr/>
          <p:nvPr/>
        </p:nvSpPr>
        <p:spPr bwMode="auto">
          <a:xfrm>
            <a:off x="586018" y="2764530"/>
            <a:ext cx="975221" cy="158522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36571" rIns="73141" bIns="36571" numCol="1" spcCol="0" rtlCol="0" fromWordArt="0" anchor="ctr" anchorCtr="0" forceAA="0" compatLnSpc="1">
            <a:prstTxWarp prst="textNoShape">
              <a:avLst/>
            </a:prstTxWarp>
            <a:noAutofit/>
          </a:bodyPr>
          <a:lstStyle/>
          <a:p>
            <a:pPr marL="0" marR="0" lvl="0" indent="0" algn="l" defTabSz="931399" rtl="0" eaLnBrk="1" fontAlgn="base" latinLnBrk="0" hangingPunct="1">
              <a:lnSpc>
                <a:spcPct val="100000"/>
              </a:lnSpc>
              <a:spcBef>
                <a:spcPts val="0"/>
              </a:spcBef>
              <a:spcAft>
                <a:spcPct val="0"/>
              </a:spcAft>
              <a:buClrTx/>
              <a:buSzTx/>
              <a:buFontTx/>
              <a:buNone/>
              <a:tabLst/>
              <a:defRPr/>
            </a:pPr>
            <a:r>
              <a:rPr kumimoji="0" lang="en-IN" sz="1000" b="0" i="0" u="none" strike="noStrike" kern="1200" cap="none" spc="0" normalizeH="0" baseline="0" noProof="0">
                <a:ln>
                  <a:noFill/>
                </a:ln>
                <a:solidFill>
                  <a:srgbClr val="FFFF00"/>
                </a:solidFill>
                <a:effectLst/>
                <a:uLnTx/>
                <a:uFillTx/>
                <a:latin typeface="Segoe UI Semibold" panose="020B0702040204020203" pitchFamily="34" charset="0"/>
                <a:ea typeface="+mn-ea"/>
                <a:cs typeface="Segoe UI Semibold" panose="020B0702040204020203" pitchFamily="34" charset="0"/>
              </a:rPr>
              <a:t>AI</a:t>
            </a: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achine Learning</a:t>
            </a:r>
          </a:p>
        </p:txBody>
      </p:sp>
      <p:sp>
        <p:nvSpPr>
          <p:cNvPr id="36" name="Rectangle 35">
            <a:extLst>
              <a:ext uri="{FF2B5EF4-FFF2-40B4-BE49-F238E27FC236}">
                <a16:creationId xmlns:a16="http://schemas.microsoft.com/office/drawing/2014/main" id="{C33937B4-7BA1-4435-B0A9-969435EDFD2F}"/>
              </a:ext>
            </a:extLst>
          </p:cNvPr>
          <p:cNvSpPr/>
          <p:nvPr/>
        </p:nvSpPr>
        <p:spPr bwMode="auto">
          <a:xfrm>
            <a:off x="7803057" y="3820335"/>
            <a:ext cx="1905037"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Retail: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6"/>
              </a:rPr>
              <a:t>Inventory Optimization</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grpSp>
        <p:nvGrpSpPr>
          <p:cNvPr id="107" name="Group 106">
            <a:extLst>
              <a:ext uri="{FF2B5EF4-FFF2-40B4-BE49-F238E27FC236}">
                <a16:creationId xmlns:a16="http://schemas.microsoft.com/office/drawing/2014/main" id="{9FA5F828-0233-466A-82A5-99D20DC1F407}"/>
              </a:ext>
            </a:extLst>
          </p:cNvPr>
          <p:cNvGrpSpPr/>
          <p:nvPr/>
        </p:nvGrpSpPr>
        <p:grpSpPr>
          <a:xfrm>
            <a:off x="7803057" y="2714698"/>
            <a:ext cx="1905037" cy="1042999"/>
            <a:chOff x="7789256" y="3166479"/>
            <a:chExt cx="1905307" cy="1043147"/>
          </a:xfrm>
        </p:grpSpPr>
        <p:sp>
          <p:nvSpPr>
            <p:cNvPr id="29" name="Rectangle 28">
              <a:extLst>
                <a:ext uri="{FF2B5EF4-FFF2-40B4-BE49-F238E27FC236}">
                  <a16:creationId xmlns:a16="http://schemas.microsoft.com/office/drawing/2014/main" id="{09EF3C8A-16AF-4E25-96C1-FD70B7EA29C2}"/>
                </a:ext>
              </a:extLst>
            </p:cNvPr>
            <p:cNvSpPr/>
            <p:nvPr/>
          </p:nvSpPr>
          <p:spPr bwMode="auto">
            <a:xfrm>
              <a:off x="7789256" y="3166479"/>
              <a:ext cx="1905307" cy="213801"/>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B&amp;C Mkts: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7"/>
                </a:rPr>
                <a:t>Banking Platform as a Servi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32" name="Rectangle 31">
              <a:extLst>
                <a:ext uri="{FF2B5EF4-FFF2-40B4-BE49-F238E27FC236}">
                  <a16:creationId xmlns:a16="http://schemas.microsoft.com/office/drawing/2014/main" id="{09916D21-4D54-4012-AD84-499D016908A8}"/>
                </a:ext>
              </a:extLst>
            </p:cNvPr>
            <p:cNvSpPr/>
            <p:nvPr/>
          </p:nvSpPr>
          <p:spPr bwMode="auto">
            <a:xfrm>
              <a:off x="7789256" y="3995825"/>
              <a:ext cx="1905307" cy="213801"/>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err="1">
                  <a:ln>
                    <a:noFill/>
                  </a:ln>
                  <a:solidFill>
                    <a:srgbClr val="505050"/>
                  </a:solidFill>
                  <a:effectLst/>
                  <a:uLnTx/>
                  <a:uFillTx/>
                  <a:latin typeface="Segoe UI Semilight"/>
                  <a:ea typeface="+mn-ea"/>
                  <a:cs typeface="Segoe UI" panose="020B0502040204020203" pitchFamily="34" charset="0"/>
                </a:rPr>
                <a:t>B&amp;C</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 Mkts: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8"/>
                </a:rPr>
                <a:t>Online Fraud Detection</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37" name="Rectangle 36">
              <a:extLst>
                <a:ext uri="{FF2B5EF4-FFF2-40B4-BE49-F238E27FC236}">
                  <a16:creationId xmlns:a16="http://schemas.microsoft.com/office/drawing/2014/main" id="{28A4A67C-3E59-4DD8-87AA-9888E4D5777E}"/>
                </a:ext>
              </a:extLst>
            </p:cNvPr>
            <p:cNvSpPr/>
            <p:nvPr/>
          </p:nvSpPr>
          <p:spPr bwMode="auto">
            <a:xfrm>
              <a:off x="7789256" y="3442928"/>
              <a:ext cx="1905307" cy="213801"/>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err="1">
                  <a:ln>
                    <a:noFill/>
                  </a:ln>
                  <a:solidFill>
                    <a:srgbClr val="505050"/>
                  </a:solidFill>
                  <a:effectLst/>
                  <a:uLnTx/>
                  <a:uFillTx/>
                  <a:latin typeface="Segoe UI Semilight"/>
                  <a:ea typeface="+mn-ea"/>
                  <a:cs typeface="Segoe UI" panose="020B0502040204020203" pitchFamily="34" charset="0"/>
                </a:rPr>
                <a:t>B&amp;C</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 Mkts: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19"/>
                </a:rPr>
                <a:t>Next Best Action for Insuran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31" name="Rectangle 30">
              <a:extLst>
                <a:ext uri="{FF2B5EF4-FFF2-40B4-BE49-F238E27FC236}">
                  <a16:creationId xmlns:a16="http://schemas.microsoft.com/office/drawing/2014/main" id="{1967B1CD-FC37-41C8-9BEE-06EF18A4BC45}"/>
                </a:ext>
              </a:extLst>
            </p:cNvPr>
            <p:cNvSpPr/>
            <p:nvPr/>
          </p:nvSpPr>
          <p:spPr bwMode="auto">
            <a:xfrm>
              <a:off x="7789256" y="3719376"/>
              <a:ext cx="1905307" cy="213801"/>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B&amp;C Mkts: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0"/>
                </a:rPr>
                <a:t>Next Best Action</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grpSp>
      <p:sp>
        <p:nvSpPr>
          <p:cNvPr id="30" name="Rectangle 29">
            <a:extLst>
              <a:ext uri="{FF2B5EF4-FFF2-40B4-BE49-F238E27FC236}">
                <a16:creationId xmlns:a16="http://schemas.microsoft.com/office/drawing/2014/main" id="{0CD246B4-397D-43E3-9645-ED69FD615E78}"/>
              </a:ext>
            </a:extLst>
          </p:cNvPr>
          <p:cNvSpPr/>
          <p:nvPr/>
        </p:nvSpPr>
        <p:spPr bwMode="auto">
          <a:xfrm>
            <a:off x="9789653" y="3820335"/>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PubSec: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1"/>
              </a:rPr>
              <a:t>Digital Incident Response Solution</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34" name="Rectangle 33">
            <a:extLst>
              <a:ext uri="{FF2B5EF4-FFF2-40B4-BE49-F238E27FC236}">
                <a16:creationId xmlns:a16="http://schemas.microsoft.com/office/drawing/2014/main" id="{C914AB81-7371-46B6-B8C1-A6F418C02B50}"/>
              </a:ext>
            </a:extLst>
          </p:cNvPr>
          <p:cNvSpPr/>
          <p:nvPr/>
        </p:nvSpPr>
        <p:spPr bwMode="auto">
          <a:xfrm>
            <a:off x="9789653" y="2714698"/>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PubSec: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2"/>
              </a:rPr>
              <a:t>Student Analytic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39" name="Rectangle 38">
            <a:extLst>
              <a:ext uri="{FF2B5EF4-FFF2-40B4-BE49-F238E27FC236}">
                <a16:creationId xmlns:a16="http://schemas.microsoft.com/office/drawing/2014/main" id="{DB4CC31E-0DAF-4FD4-AC34-F7B8F19DC1FB}"/>
              </a:ext>
            </a:extLst>
          </p:cNvPr>
          <p:cNvSpPr/>
          <p:nvPr/>
        </p:nvSpPr>
        <p:spPr bwMode="auto">
          <a:xfrm>
            <a:off x="9789653" y="3543926"/>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Healthcare: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3"/>
              </a:rPr>
              <a:t>Operational Analytic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35" name="Rectangle 34">
            <a:extLst>
              <a:ext uri="{FF2B5EF4-FFF2-40B4-BE49-F238E27FC236}">
                <a16:creationId xmlns:a16="http://schemas.microsoft.com/office/drawing/2014/main" id="{0E55BCE9-1909-490F-B316-123680702E49}"/>
              </a:ext>
            </a:extLst>
          </p:cNvPr>
          <p:cNvSpPr/>
          <p:nvPr/>
        </p:nvSpPr>
        <p:spPr bwMode="auto">
          <a:xfrm>
            <a:off x="9789653" y="2991107"/>
            <a:ext cx="1950878" cy="213770"/>
          </a:xfrm>
          <a:prstGeom prst="rect">
            <a:avLst/>
          </a:prstGeom>
          <a:solidFill>
            <a:schemeClr val="bg1">
              <a:alpha val="5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388" tIns="45694" rIns="91388"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Retail </a:t>
            </a:r>
            <a:r>
              <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4"/>
              </a:rPr>
              <a:t>Customer Insights</a:t>
            </a:r>
            <a:endPar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5" name="Rectangle 24">
            <a:extLst>
              <a:ext uri="{FF2B5EF4-FFF2-40B4-BE49-F238E27FC236}">
                <a16:creationId xmlns:a16="http://schemas.microsoft.com/office/drawing/2014/main" id="{B7EDAE6E-C464-407D-8766-97540E596BC0}"/>
              </a:ext>
            </a:extLst>
          </p:cNvPr>
          <p:cNvSpPr/>
          <p:nvPr/>
        </p:nvSpPr>
        <p:spPr bwMode="auto">
          <a:xfrm>
            <a:off x="9789653" y="3267516"/>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Healthcare: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5"/>
              </a:rPr>
              <a:t>Clinical Analytic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1" name="Rectangle 20">
            <a:extLst>
              <a:ext uri="{FF2B5EF4-FFF2-40B4-BE49-F238E27FC236}">
                <a16:creationId xmlns:a16="http://schemas.microsoft.com/office/drawing/2014/main" id="{63B4AA92-149B-43EE-9914-B585DE01E4F2}"/>
              </a:ext>
            </a:extLst>
          </p:cNvPr>
          <p:cNvSpPr/>
          <p:nvPr/>
        </p:nvSpPr>
        <p:spPr bwMode="auto">
          <a:xfrm>
            <a:off x="5025532" y="3820335"/>
            <a:ext cx="1868770" cy="213770"/>
          </a:xfrm>
          <a:prstGeom prst="rect">
            <a:avLst/>
          </a:prstGeom>
          <a:solidFill>
            <a:schemeClr val="bg1">
              <a:lumMod val="7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6"/>
              </a:rPr>
              <a:t>Student Analytic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23" name="Rectangle 22">
            <a:extLst>
              <a:ext uri="{FF2B5EF4-FFF2-40B4-BE49-F238E27FC236}">
                <a16:creationId xmlns:a16="http://schemas.microsoft.com/office/drawing/2014/main" id="{1DFF78DB-E71B-4D2B-ADBD-9A647E8B7C37}"/>
              </a:ext>
            </a:extLst>
          </p:cNvPr>
          <p:cNvSpPr/>
          <p:nvPr/>
        </p:nvSpPr>
        <p:spPr bwMode="auto">
          <a:xfrm>
            <a:off x="1642797" y="2991107"/>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7"/>
              </a:rPr>
              <a:t>Digital Ready for Analytic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5" name="Rectangle 14">
            <a:extLst>
              <a:ext uri="{FF2B5EF4-FFF2-40B4-BE49-F238E27FC236}">
                <a16:creationId xmlns:a16="http://schemas.microsoft.com/office/drawing/2014/main" id="{A59BB50B-93F5-450C-9DD6-676C2E58AA94}"/>
              </a:ext>
            </a:extLst>
          </p:cNvPr>
          <p:cNvSpPr/>
          <p:nvPr/>
        </p:nvSpPr>
        <p:spPr bwMode="auto">
          <a:xfrm>
            <a:off x="1642797" y="3267516"/>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8"/>
              </a:rPr>
              <a:t>Predictive Analytics Essentials</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52" name="Rectangle 51">
            <a:extLst>
              <a:ext uri="{FF2B5EF4-FFF2-40B4-BE49-F238E27FC236}">
                <a16:creationId xmlns:a16="http://schemas.microsoft.com/office/drawing/2014/main" id="{1976DDB0-9D07-49A7-A58E-4FFF2A0EFB15}"/>
              </a:ext>
            </a:extLst>
          </p:cNvPr>
          <p:cNvSpPr/>
          <p:nvPr/>
        </p:nvSpPr>
        <p:spPr bwMode="auto">
          <a:xfrm>
            <a:off x="595246" y="2397071"/>
            <a:ext cx="968012" cy="21377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36571" rIns="73141" bIns="36571" numCol="1" spcCol="0" rtlCol="0" fromWordArt="0" anchor="ctr" anchorCtr="0" forceAA="0" compatLnSpc="1">
            <a:prstTxWarp prst="textNoShape">
              <a:avLst/>
            </a:prstTxWarp>
            <a:noAutofit/>
          </a:bodyPr>
          <a:lstStyle/>
          <a:p>
            <a:pPr marL="0" marR="0" lvl="0" indent="0" algn="l" defTabSz="931399" rtl="0" eaLnBrk="1" fontAlgn="base" latinLnBrk="0" hangingPunct="1">
              <a:lnSpc>
                <a:spcPct val="100000"/>
              </a:lnSpc>
              <a:spcBef>
                <a:spcPts val="0"/>
              </a:spcBef>
              <a:spcAft>
                <a:spcPct val="0"/>
              </a:spcAft>
              <a:buClrTx/>
              <a:buSzTx/>
              <a:buFontTx/>
              <a:buNone/>
              <a:tabLst/>
              <a:defRPr/>
            </a:pPr>
            <a:r>
              <a:rPr kumimoji="0" lang="en-IN" sz="1000" b="0" i="0" u="none" strike="noStrike" kern="1200" cap="none" spc="0" normalizeH="0" baseline="0" noProof="0">
                <a:ln>
                  <a:noFill/>
                </a:ln>
                <a:solidFill>
                  <a:srgbClr val="FFFF00"/>
                </a:solidFill>
                <a:effectLst/>
                <a:uLnTx/>
                <a:uFillTx/>
                <a:latin typeface="Segoe UI Semibold" panose="020B0702040204020203" pitchFamily="34" charset="0"/>
                <a:ea typeface="Segoe UI" pitchFamily="34" charset="0"/>
                <a:cs typeface="Segoe UI Semibold" panose="020B0702040204020203" pitchFamily="34" charset="0"/>
              </a:rPr>
              <a:t>AI</a:t>
            </a: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ots</a:t>
            </a:r>
          </a:p>
        </p:txBody>
      </p:sp>
      <p:sp>
        <p:nvSpPr>
          <p:cNvPr id="53" name="Rectangle 52">
            <a:extLst>
              <a:ext uri="{FF2B5EF4-FFF2-40B4-BE49-F238E27FC236}">
                <a16:creationId xmlns:a16="http://schemas.microsoft.com/office/drawing/2014/main" id="{2DA2C5D0-CBF9-420B-95B7-91EC6AD630D8}"/>
              </a:ext>
            </a:extLst>
          </p:cNvPr>
          <p:cNvSpPr/>
          <p:nvPr/>
        </p:nvSpPr>
        <p:spPr bwMode="auto">
          <a:xfrm>
            <a:off x="1642797" y="2418836"/>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29"/>
              </a:rPr>
              <a:t>Intelligent Experiences with Bots</a:t>
            </a:r>
            <a:endPar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47" name="Rectangle 46">
            <a:extLst>
              <a:ext uri="{FF2B5EF4-FFF2-40B4-BE49-F238E27FC236}">
                <a16:creationId xmlns:a16="http://schemas.microsoft.com/office/drawing/2014/main" id="{F263BA7B-F85A-4B4C-8F4D-44655A99ADC1}"/>
              </a:ext>
            </a:extLst>
          </p:cNvPr>
          <p:cNvSpPr/>
          <p:nvPr/>
        </p:nvSpPr>
        <p:spPr bwMode="auto">
          <a:xfrm>
            <a:off x="586018" y="1615968"/>
            <a:ext cx="975221" cy="69901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36571" rIns="73141" bIns="36571" numCol="1" spcCol="0" rtlCol="0" fromWordArt="0" anchor="ctr" anchorCtr="0" forceAA="0" compatLnSpc="1">
            <a:prstTxWarp prst="textNoShape">
              <a:avLst/>
            </a:prstTxWarp>
            <a:noAutofit/>
          </a:bodyPr>
          <a:lstStyle/>
          <a:p>
            <a:pPr marL="0" marR="0" lvl="0" indent="0" algn="l" defTabSz="931399" rtl="0" eaLnBrk="1" fontAlgn="base" latinLnBrk="0" hangingPunct="1">
              <a:lnSpc>
                <a:spcPct val="100000"/>
              </a:lnSpc>
              <a:spcBef>
                <a:spcPts val="0"/>
              </a:spcBef>
              <a:spcAft>
                <a:spcPct val="0"/>
              </a:spcAft>
              <a:buClrTx/>
              <a:buSzTx/>
              <a:buFontTx/>
              <a:buNone/>
              <a:tabLst/>
              <a:defRPr/>
            </a:pPr>
            <a:r>
              <a:rPr kumimoji="0" lang="en-IN" sz="1000" b="0" i="0" u="none" strike="noStrike" kern="1200" cap="none" spc="0" normalizeH="0" baseline="0" noProof="0">
                <a:ln>
                  <a:noFill/>
                </a:ln>
                <a:solidFill>
                  <a:srgbClr val="FFFF00"/>
                </a:solidFill>
                <a:effectLst/>
                <a:uLnTx/>
                <a:uFillTx/>
                <a:latin typeface="Segoe UI Semibold" panose="020B0702040204020203" pitchFamily="34" charset="0"/>
                <a:ea typeface="Segoe UI" pitchFamily="34" charset="0"/>
                <a:cs typeface="Segoe UI Semibold" panose="020B0702040204020203" pitchFamily="34" charset="0"/>
              </a:rPr>
              <a:t>AI</a:t>
            </a: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Cognitive</a:t>
            </a:r>
          </a:p>
        </p:txBody>
      </p:sp>
      <p:sp>
        <p:nvSpPr>
          <p:cNvPr id="143" name="Rectangle 142">
            <a:extLst>
              <a:ext uri="{FF2B5EF4-FFF2-40B4-BE49-F238E27FC236}">
                <a16:creationId xmlns:a16="http://schemas.microsoft.com/office/drawing/2014/main" id="{A01C0FDE-6D71-4295-A5A8-5FB80E2907BF}"/>
              </a:ext>
            </a:extLst>
          </p:cNvPr>
          <p:cNvSpPr/>
          <p:nvPr/>
        </p:nvSpPr>
        <p:spPr bwMode="auto">
          <a:xfrm>
            <a:off x="586018" y="4431845"/>
            <a:ext cx="975221" cy="49018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36571" rIns="73141" bIns="36571" numCol="1" spcCol="0" rtlCol="0" fromWordArt="0" anchor="ctr" anchorCtr="0" forceAA="0" compatLnSpc="1">
            <a:prstTxWarp prst="textNoShape">
              <a:avLst/>
            </a:prstTxWarp>
            <a:noAutofit/>
          </a:bodyPr>
          <a:lstStyle/>
          <a:p>
            <a:pPr marL="0" marR="0" lvl="0" indent="0" algn="l" defTabSz="931399" rtl="0" eaLnBrk="1" fontAlgn="base" latinLnBrk="0" hangingPunct="1">
              <a:lnSpc>
                <a:spcPct val="100000"/>
              </a:lnSpc>
              <a:spcBef>
                <a:spcPts val="0"/>
              </a:spcBef>
              <a:spcAft>
                <a:spcPct val="0"/>
              </a:spcAft>
              <a:buClrTx/>
              <a:buSzTx/>
              <a:buFontTx/>
              <a:buNone/>
              <a:tabLst/>
              <a:defRPr/>
            </a:pPr>
            <a:r>
              <a:rPr kumimoji="0" lang="en-IN" sz="10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IOT</a:t>
            </a:r>
          </a:p>
        </p:txBody>
      </p:sp>
      <p:sp>
        <p:nvSpPr>
          <p:cNvPr id="144" name="Rectangle 143">
            <a:extLst>
              <a:ext uri="{FF2B5EF4-FFF2-40B4-BE49-F238E27FC236}">
                <a16:creationId xmlns:a16="http://schemas.microsoft.com/office/drawing/2014/main" id="{D2B8BA4A-C69D-4BBC-8997-9AFFEFDEB58B}"/>
              </a:ext>
            </a:extLst>
          </p:cNvPr>
          <p:cNvSpPr/>
          <p:nvPr/>
        </p:nvSpPr>
        <p:spPr bwMode="auto">
          <a:xfrm>
            <a:off x="9789653" y="4431846"/>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Manu: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0"/>
              </a:rPr>
              <a:t>Predictive Maintenan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45" name="Rectangle 144">
            <a:extLst>
              <a:ext uri="{FF2B5EF4-FFF2-40B4-BE49-F238E27FC236}">
                <a16:creationId xmlns:a16="http://schemas.microsoft.com/office/drawing/2014/main" id="{AE16485D-332F-445D-B717-8FDEDBA9BCBE}"/>
              </a:ext>
            </a:extLst>
          </p:cNvPr>
          <p:cNvSpPr/>
          <p:nvPr/>
        </p:nvSpPr>
        <p:spPr bwMode="auto">
          <a:xfrm>
            <a:off x="5025532" y="4708255"/>
            <a:ext cx="1868770" cy="213770"/>
          </a:xfrm>
          <a:prstGeom prst="rect">
            <a:avLst/>
          </a:prstGeom>
          <a:solidFill>
            <a:schemeClr val="bg1">
              <a:lumMod val="85000"/>
              <a:alpha val="5000"/>
            </a:schemeClr>
          </a:solidFill>
          <a:ln w="6350">
            <a:solidFill>
              <a:schemeClr val="bg2">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1"/>
              </a:rPr>
              <a:t>Connected Assets &amp; Remote Monitoring</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46" name="Rectangle 145">
            <a:extLst>
              <a:ext uri="{FF2B5EF4-FFF2-40B4-BE49-F238E27FC236}">
                <a16:creationId xmlns:a16="http://schemas.microsoft.com/office/drawing/2014/main" id="{45682697-DA1D-4DA5-93D4-CE300BBC7ADC}"/>
              </a:ext>
            </a:extLst>
          </p:cNvPr>
          <p:cNvSpPr/>
          <p:nvPr/>
        </p:nvSpPr>
        <p:spPr bwMode="auto">
          <a:xfrm>
            <a:off x="5025532" y="4431846"/>
            <a:ext cx="1868770"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2"/>
              </a:rPr>
              <a:t>Predictive Maintenan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147" name="Rectangle 146">
            <a:extLst>
              <a:ext uri="{FF2B5EF4-FFF2-40B4-BE49-F238E27FC236}">
                <a16:creationId xmlns:a16="http://schemas.microsoft.com/office/drawing/2014/main" id="{A60E9461-09B4-4083-A2F7-AB16DC78B230}"/>
              </a:ext>
            </a:extLst>
          </p:cNvPr>
          <p:cNvSpPr/>
          <p:nvPr/>
        </p:nvSpPr>
        <p:spPr bwMode="auto">
          <a:xfrm>
            <a:off x="1642797" y="4431846"/>
            <a:ext cx="2854450" cy="213770"/>
          </a:xfrm>
          <a:prstGeom prst="rect">
            <a:avLst/>
          </a:prstGeom>
          <a:solidFill>
            <a:schemeClr val="accent1">
              <a:lumMod val="20000"/>
              <a:lumOff val="80000"/>
            </a:schemeClr>
          </a:solidFill>
          <a:ln w="6350">
            <a:solidFill>
              <a:schemeClr val="accent1">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3"/>
              </a:rPr>
              <a:t>Internet of Things Advanced</a:t>
            </a:r>
            <a:endParaRPr kumimoji="0" lang="en-US"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cxnSp>
        <p:nvCxnSpPr>
          <p:cNvPr id="160" name="Straight Connector 159">
            <a:extLst>
              <a:ext uri="{FF2B5EF4-FFF2-40B4-BE49-F238E27FC236}">
                <a16:creationId xmlns:a16="http://schemas.microsoft.com/office/drawing/2014/main" id="{875E3721-379D-4508-AFF5-7E794BBE4F58}"/>
              </a:ext>
            </a:extLst>
          </p:cNvPr>
          <p:cNvCxnSpPr>
            <a:cxnSpLocks/>
          </p:cNvCxnSpPr>
          <p:nvPr/>
        </p:nvCxnSpPr>
        <p:spPr>
          <a:xfrm>
            <a:off x="458001" y="2366903"/>
            <a:ext cx="11282531" cy="0"/>
          </a:xfrm>
          <a:prstGeom prst="line">
            <a:avLst/>
          </a:prstGeom>
          <a:ln w="3175">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78F65DFE-60BC-4803-9A06-5A02373215C0}"/>
              </a:ext>
            </a:extLst>
          </p:cNvPr>
          <p:cNvCxnSpPr>
            <a:cxnSpLocks/>
          </p:cNvCxnSpPr>
          <p:nvPr/>
        </p:nvCxnSpPr>
        <p:spPr>
          <a:xfrm>
            <a:off x="557701" y="4959651"/>
            <a:ext cx="11282531" cy="0"/>
          </a:xfrm>
          <a:prstGeom prst="line">
            <a:avLst/>
          </a:prstGeom>
          <a:ln w="3175">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7C9DD97-4EDE-44E4-943B-076938A219A3}"/>
              </a:ext>
            </a:extLst>
          </p:cNvPr>
          <p:cNvCxnSpPr>
            <a:cxnSpLocks/>
          </p:cNvCxnSpPr>
          <p:nvPr/>
        </p:nvCxnSpPr>
        <p:spPr>
          <a:xfrm>
            <a:off x="458001" y="4390800"/>
            <a:ext cx="11282531" cy="0"/>
          </a:xfrm>
          <a:prstGeom prst="line">
            <a:avLst/>
          </a:prstGeom>
          <a:ln w="3175">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5CD1D830-408E-44C9-8945-AC02576481AC}"/>
              </a:ext>
            </a:extLst>
          </p:cNvPr>
          <p:cNvCxnSpPr>
            <a:cxnSpLocks/>
          </p:cNvCxnSpPr>
          <p:nvPr/>
        </p:nvCxnSpPr>
        <p:spPr>
          <a:xfrm>
            <a:off x="458001" y="4963071"/>
            <a:ext cx="11282531" cy="0"/>
          </a:xfrm>
          <a:prstGeom prst="line">
            <a:avLst/>
          </a:prstGeom>
          <a:ln w="3175">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4DDC1876-B148-4310-AC6C-E9283C8EAB37}"/>
              </a:ext>
            </a:extLst>
          </p:cNvPr>
          <p:cNvCxnSpPr>
            <a:cxnSpLocks/>
          </p:cNvCxnSpPr>
          <p:nvPr/>
        </p:nvCxnSpPr>
        <p:spPr>
          <a:xfrm>
            <a:off x="458001" y="5811751"/>
            <a:ext cx="11282531" cy="0"/>
          </a:xfrm>
          <a:prstGeom prst="line">
            <a:avLst/>
          </a:prstGeom>
          <a:ln w="3175">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5" name="Rectangle 174">
            <a:extLst>
              <a:ext uri="{FF2B5EF4-FFF2-40B4-BE49-F238E27FC236}">
                <a16:creationId xmlns:a16="http://schemas.microsoft.com/office/drawing/2014/main" id="{5A42FA99-1C22-44AB-99AA-FFC56A315087}"/>
              </a:ext>
            </a:extLst>
          </p:cNvPr>
          <p:cNvSpPr/>
          <p:nvPr/>
        </p:nvSpPr>
        <p:spPr bwMode="auto">
          <a:xfrm>
            <a:off x="1642796" y="1197763"/>
            <a:ext cx="2854451" cy="5421621"/>
          </a:xfrm>
          <a:prstGeom prst="rect">
            <a:avLst/>
          </a:prstGeom>
          <a:noFill/>
          <a:ln w="12700">
            <a:solidFill>
              <a:srgbClr val="002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2" name="Rectangle 71">
            <a:extLst>
              <a:ext uri="{FF2B5EF4-FFF2-40B4-BE49-F238E27FC236}">
                <a16:creationId xmlns:a16="http://schemas.microsoft.com/office/drawing/2014/main" id="{7EC632F4-C2FF-4951-B3E7-E392B238BD8E}"/>
              </a:ext>
            </a:extLst>
          </p:cNvPr>
          <p:cNvSpPr/>
          <p:nvPr/>
        </p:nvSpPr>
        <p:spPr bwMode="auto">
          <a:xfrm>
            <a:off x="4974931" y="1197763"/>
            <a:ext cx="6917980" cy="336244"/>
          </a:xfrm>
          <a:prstGeom prst="rect">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ctr" defTabSz="931757"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rPr>
              <a:t>HORIZONTAL AND INDUSTRY SOLUTIONS POWERED BY THE FOUNDATIONAL OFFER</a:t>
            </a:r>
            <a:endParaRPr kumimoji="0" lang="en-IN" sz="1000" b="0" i="0" u="none" strike="noStrike" kern="1200" cap="none" spc="0" normalizeH="0" baseline="0" noProof="0">
              <a:ln>
                <a:noFill/>
              </a:ln>
              <a:solidFill>
                <a:srgbClr val="4472C4"/>
              </a:solidFill>
              <a:effectLst/>
              <a:uLnTx/>
              <a:uFillTx/>
              <a:latin typeface="Segoe UI Semibold" panose="020B0702040204020203" pitchFamily="34" charset="0"/>
              <a:ea typeface="+mn-ea"/>
              <a:cs typeface="Segoe UI Semibold" panose="020B0702040204020203" pitchFamily="34" charset="0"/>
            </a:endParaRPr>
          </a:p>
        </p:txBody>
      </p:sp>
      <p:sp>
        <p:nvSpPr>
          <p:cNvPr id="73" name="Rectangle 72">
            <a:extLst>
              <a:ext uri="{FF2B5EF4-FFF2-40B4-BE49-F238E27FC236}">
                <a16:creationId xmlns:a16="http://schemas.microsoft.com/office/drawing/2014/main" id="{EDA52644-1776-494D-A25D-C32E51A0CD51}"/>
              </a:ext>
            </a:extLst>
          </p:cNvPr>
          <p:cNvSpPr/>
          <p:nvPr/>
        </p:nvSpPr>
        <p:spPr bwMode="auto">
          <a:xfrm>
            <a:off x="9789649" y="4682185"/>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Manu</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4"/>
              </a:rPr>
              <a:t>: Connected Field Servi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74" name="Rectangle 73">
            <a:extLst>
              <a:ext uri="{FF2B5EF4-FFF2-40B4-BE49-F238E27FC236}">
                <a16:creationId xmlns:a16="http://schemas.microsoft.com/office/drawing/2014/main" id="{34317A12-D2AA-462A-B12B-13B031203D45}"/>
              </a:ext>
            </a:extLst>
          </p:cNvPr>
          <p:cNvSpPr/>
          <p:nvPr/>
        </p:nvSpPr>
        <p:spPr bwMode="auto">
          <a:xfrm>
            <a:off x="9800536" y="4094436"/>
            <a:ext cx="1950878"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rPr>
              <a:t>Manu: </a:t>
            </a: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0"/>
              </a:rPr>
              <a:t>Predictive Maintenan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75" name="Rectangle 74">
            <a:extLst>
              <a:ext uri="{FF2B5EF4-FFF2-40B4-BE49-F238E27FC236}">
                <a16:creationId xmlns:a16="http://schemas.microsoft.com/office/drawing/2014/main" id="{DC604276-C641-4D12-8037-3328E34BE17F}"/>
              </a:ext>
            </a:extLst>
          </p:cNvPr>
          <p:cNvSpPr/>
          <p:nvPr/>
        </p:nvSpPr>
        <p:spPr bwMode="auto">
          <a:xfrm>
            <a:off x="5036417" y="4094434"/>
            <a:ext cx="1868770" cy="213770"/>
          </a:xfrm>
          <a:prstGeom prst="rect">
            <a:avLst/>
          </a:prstGeom>
          <a:solidFill>
            <a:schemeClr val="bg1">
              <a:lumMod val="85000"/>
              <a:alpha val="5000"/>
            </a:schemeClr>
          </a:solidFill>
          <a:ln w="6350">
            <a:solidFill>
              <a:schemeClr val="bg1">
                <a:lumMod val="65000"/>
              </a:schemeClr>
            </a:solidFill>
          </a:ln>
        </p:spPr>
        <p:style>
          <a:lnRef idx="2">
            <a:schemeClr val="accent4">
              <a:shade val="50000"/>
            </a:schemeClr>
          </a:lnRef>
          <a:fillRef idx="1">
            <a:schemeClr val="accent4"/>
          </a:fillRef>
          <a:effectRef idx="0">
            <a:schemeClr val="accent4"/>
          </a:effectRef>
          <a:fontRef idx="minor">
            <a:schemeClr val="lt1"/>
          </a:fontRef>
        </p:style>
        <p:txBody>
          <a:bodyPr lIns="0" tIns="45694" rIns="0" bIns="45694" rtlCol="0" anchor="ctr"/>
          <a:lstStyle/>
          <a:p>
            <a:pPr marL="0" marR="0" lvl="0" indent="0" algn="ctr" defTabSz="911818" rtl="0" eaLnBrk="1" fontAlgn="base" latinLnBrk="0" hangingPunct="1">
              <a:lnSpc>
                <a:spcPct val="100000"/>
              </a:lnSpc>
              <a:spcBef>
                <a:spcPts val="0"/>
              </a:spcBef>
              <a:spcAft>
                <a:spcPts val="0"/>
              </a:spcAft>
              <a:buClr>
                <a:prstClr val="white"/>
              </a:buClr>
              <a:buSzPct val="100000"/>
              <a:buFontTx/>
              <a:buNone/>
              <a:tabLst/>
              <a:defRPr/>
            </a:pPr>
            <a:r>
              <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hlinkClick r:id="rId35"/>
              </a:rPr>
              <a:t>Predictive Maintenance</a:t>
            </a:r>
            <a:endParaRPr kumimoji="0" lang="en-GB" sz="800" b="0" i="0" u="none" strike="noStrike" kern="0" cap="none" spc="0" normalizeH="0" baseline="0" noProof="0">
              <a:ln>
                <a:noFill/>
              </a:ln>
              <a:solidFill>
                <a:srgbClr val="505050"/>
              </a:solidFill>
              <a:effectLst/>
              <a:uLnTx/>
              <a:uFillTx/>
              <a:latin typeface="Segoe UI Semilight"/>
              <a:ea typeface="+mn-ea"/>
              <a:cs typeface="Segoe UI" panose="020B0502040204020203" pitchFamily="34" charset="0"/>
            </a:endParaRPr>
          </a:p>
        </p:txBody>
      </p:sp>
      <p:sp>
        <p:nvSpPr>
          <p:cNvPr id="58" name="Left Bracket 57">
            <a:extLst>
              <a:ext uri="{FF2B5EF4-FFF2-40B4-BE49-F238E27FC236}">
                <a16:creationId xmlns:a16="http://schemas.microsoft.com/office/drawing/2014/main" id="{DC6B5561-9579-4F4B-968A-3A60FF0C10C3}"/>
              </a:ext>
            </a:extLst>
          </p:cNvPr>
          <p:cNvSpPr/>
          <p:nvPr/>
        </p:nvSpPr>
        <p:spPr>
          <a:xfrm>
            <a:off x="340456" y="1654588"/>
            <a:ext cx="45719" cy="2589544"/>
          </a:xfrm>
          <a:prstGeom prst="leftBracket">
            <a:avLst/>
          </a:prstGeom>
          <a:ln>
            <a:solidFill>
              <a:srgbClr val="6D6D6D"/>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D6D6D"/>
              </a:solidFill>
              <a:effectLst/>
              <a:uLnTx/>
              <a:uFillTx/>
              <a:latin typeface="Segoe UI"/>
              <a:ea typeface="+mn-ea"/>
              <a:cs typeface="+mn-cs"/>
            </a:endParaRPr>
          </a:p>
        </p:txBody>
      </p:sp>
      <p:sp>
        <p:nvSpPr>
          <p:cNvPr id="59" name="Left Bracket 58">
            <a:extLst>
              <a:ext uri="{FF2B5EF4-FFF2-40B4-BE49-F238E27FC236}">
                <a16:creationId xmlns:a16="http://schemas.microsoft.com/office/drawing/2014/main" id="{CEFE4D97-3C32-4D9D-B669-961BA81ECE76}"/>
              </a:ext>
            </a:extLst>
          </p:cNvPr>
          <p:cNvSpPr/>
          <p:nvPr/>
        </p:nvSpPr>
        <p:spPr>
          <a:xfrm>
            <a:off x="340457" y="5063404"/>
            <a:ext cx="58490" cy="1482195"/>
          </a:xfrm>
          <a:prstGeom prst="leftBracket">
            <a:avLst/>
          </a:prstGeom>
          <a:ln>
            <a:solidFill>
              <a:srgbClr val="6D6D6D"/>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D6D6D"/>
              </a:solidFill>
              <a:effectLst/>
              <a:uLnTx/>
              <a:uFillTx/>
              <a:latin typeface="Segoe UI"/>
              <a:ea typeface="+mn-ea"/>
              <a:cs typeface="+mn-cs"/>
            </a:endParaRPr>
          </a:p>
        </p:txBody>
      </p:sp>
      <p:sp>
        <p:nvSpPr>
          <p:cNvPr id="60" name="Left Bracket 59">
            <a:extLst>
              <a:ext uri="{FF2B5EF4-FFF2-40B4-BE49-F238E27FC236}">
                <a16:creationId xmlns:a16="http://schemas.microsoft.com/office/drawing/2014/main" id="{C780443F-6110-4E6B-8FAE-AF544C630E67}"/>
              </a:ext>
            </a:extLst>
          </p:cNvPr>
          <p:cNvSpPr/>
          <p:nvPr/>
        </p:nvSpPr>
        <p:spPr>
          <a:xfrm>
            <a:off x="340456" y="4405776"/>
            <a:ext cx="45719" cy="490180"/>
          </a:xfrm>
          <a:prstGeom prst="leftBracket">
            <a:avLst/>
          </a:prstGeom>
          <a:ln>
            <a:solidFill>
              <a:srgbClr val="6D6D6D"/>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D6D6D"/>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81C3F011-AC73-4C09-B232-1B083ECC767B}"/>
              </a:ext>
            </a:extLst>
          </p:cNvPr>
          <p:cNvSpPr/>
          <p:nvPr/>
        </p:nvSpPr>
        <p:spPr bwMode="auto">
          <a:xfrm>
            <a:off x="84921" y="2825595"/>
            <a:ext cx="314025" cy="1648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rPr>
              <a:t>Get Smart</a:t>
            </a:r>
          </a:p>
        </p:txBody>
      </p:sp>
      <p:sp>
        <p:nvSpPr>
          <p:cNvPr id="63" name="Rectangle 62">
            <a:extLst>
              <a:ext uri="{FF2B5EF4-FFF2-40B4-BE49-F238E27FC236}">
                <a16:creationId xmlns:a16="http://schemas.microsoft.com/office/drawing/2014/main" id="{33483088-21E9-455B-9F01-BF7514BD78B7}"/>
              </a:ext>
            </a:extLst>
          </p:cNvPr>
          <p:cNvSpPr/>
          <p:nvPr/>
        </p:nvSpPr>
        <p:spPr bwMode="auto">
          <a:xfrm>
            <a:off x="61756" y="4594360"/>
            <a:ext cx="492596" cy="164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rPr>
              <a:t>Get Connected</a:t>
            </a:r>
          </a:p>
        </p:txBody>
      </p:sp>
      <p:sp>
        <p:nvSpPr>
          <p:cNvPr id="64" name="Rectangle 63">
            <a:extLst>
              <a:ext uri="{FF2B5EF4-FFF2-40B4-BE49-F238E27FC236}">
                <a16:creationId xmlns:a16="http://schemas.microsoft.com/office/drawing/2014/main" id="{E81FC01C-731B-439C-B641-90FFADCDF37E}"/>
              </a:ext>
            </a:extLst>
          </p:cNvPr>
          <p:cNvSpPr/>
          <p:nvPr/>
        </p:nvSpPr>
        <p:spPr bwMode="auto">
          <a:xfrm>
            <a:off x="61756" y="5855022"/>
            <a:ext cx="337190" cy="1648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1A1A1A"/>
                </a:solidFill>
                <a:effectLst/>
                <a:uLnTx/>
                <a:uFillTx/>
                <a:latin typeface="Segoe UI Light" panose="020B0502040204020203" pitchFamily="34" charset="0"/>
                <a:ea typeface="+mn-ea"/>
                <a:cs typeface="Segoe UI Light" panose="020B0502040204020203" pitchFamily="34" charset="0"/>
              </a:rPr>
              <a:t>Get Ready</a:t>
            </a:r>
          </a:p>
        </p:txBody>
      </p:sp>
      <p:sp>
        <p:nvSpPr>
          <p:cNvPr id="65" name="TextBox 64">
            <a:extLst>
              <a:ext uri="{FF2B5EF4-FFF2-40B4-BE49-F238E27FC236}">
                <a16:creationId xmlns:a16="http://schemas.microsoft.com/office/drawing/2014/main" id="{9BAC6A17-BD06-495D-8EC1-0BBE374A3E03}"/>
              </a:ext>
            </a:extLst>
          </p:cNvPr>
          <p:cNvSpPr txBox="1"/>
          <p:nvPr/>
        </p:nvSpPr>
        <p:spPr>
          <a:xfrm>
            <a:off x="202597" y="1262229"/>
            <a:ext cx="275717" cy="4616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rPr>
              <a:t>Ke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Calibri" panose="020F0502020204030204" pitchFamily="34" charset="0"/>
                <a:ea typeface="+mn-ea"/>
                <a:cs typeface="Calibri" panose="020F0502020204030204" pitchFamily="34" charset="0"/>
              </a:rPr>
              <a:t>Pl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gradFill>
                <a:gsLst>
                  <a:gs pos="2917">
                    <a:srgbClr val="505050"/>
                  </a:gs>
                  <a:gs pos="30000">
                    <a:srgbClr val="505050"/>
                  </a:gs>
                </a:gsLst>
                <a:lin ang="5400000" scaled="0"/>
              </a:gra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718182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3862315-46A7-4D52-8E2B-6451B61EBFB6}"/>
              </a:ext>
            </a:extLst>
          </p:cNvPr>
          <p:cNvPicPr>
            <a:picLocks noChangeAspect="1"/>
          </p:cNvPicPr>
          <p:nvPr/>
        </p:nvPicPr>
        <p:blipFill rotWithShape="1">
          <a:blip r:embed="rId3">
            <a:extLst>
              <a:ext uri="{28A0092B-C50C-407E-A947-70E740481C1C}">
                <a14:useLocalDpi xmlns:a14="http://schemas.microsoft.com/office/drawing/2010/main" val="0"/>
              </a:ext>
            </a:extLst>
          </a:blip>
          <a:srcRect t="29112" r="15536"/>
          <a:stretch/>
        </p:blipFill>
        <p:spPr>
          <a:xfrm>
            <a:off x="4063998" y="2490655"/>
            <a:ext cx="4064002" cy="5116286"/>
          </a:xfrm>
          <a:prstGeom prst="rect">
            <a:avLst/>
          </a:prstGeom>
        </p:spPr>
      </p:pic>
      <p:pic>
        <p:nvPicPr>
          <p:cNvPr id="13" name="Picture 12">
            <a:extLst>
              <a:ext uri="{FF2B5EF4-FFF2-40B4-BE49-F238E27FC236}">
                <a16:creationId xmlns:a16="http://schemas.microsoft.com/office/drawing/2014/main" id="{C112BFC6-26E3-47AB-A55C-B5DCB4320337}"/>
              </a:ext>
            </a:extLst>
          </p:cNvPr>
          <p:cNvPicPr>
            <a:picLocks noChangeAspect="1"/>
          </p:cNvPicPr>
          <p:nvPr/>
        </p:nvPicPr>
        <p:blipFill rotWithShape="1">
          <a:blip r:embed="rId4">
            <a:extLst>
              <a:ext uri="{28A0092B-C50C-407E-A947-70E740481C1C}">
                <a14:useLocalDpi xmlns:a14="http://schemas.microsoft.com/office/drawing/2010/main" val="0"/>
              </a:ext>
            </a:extLst>
          </a:blip>
          <a:srcRect l="18119" t="8564" r="33461"/>
          <a:stretch/>
        </p:blipFill>
        <p:spPr>
          <a:xfrm>
            <a:off x="8128000" y="2490655"/>
            <a:ext cx="4064000" cy="5116286"/>
          </a:xfrm>
          <a:prstGeom prst="rect">
            <a:avLst/>
          </a:prstGeom>
        </p:spPr>
      </p:pic>
      <p:pic>
        <p:nvPicPr>
          <p:cNvPr id="14" name="Picture 13">
            <a:extLst>
              <a:ext uri="{FF2B5EF4-FFF2-40B4-BE49-F238E27FC236}">
                <a16:creationId xmlns:a16="http://schemas.microsoft.com/office/drawing/2014/main" id="{984DCAE6-DFB5-42F6-A838-9B5099372DCF}"/>
              </a:ext>
            </a:extLst>
          </p:cNvPr>
          <p:cNvPicPr>
            <a:picLocks noChangeAspect="1"/>
          </p:cNvPicPr>
          <p:nvPr/>
        </p:nvPicPr>
        <p:blipFill rotWithShape="1">
          <a:blip r:embed="rId5">
            <a:extLst>
              <a:ext uri="{28A0092B-C50C-407E-A947-70E740481C1C}">
                <a14:useLocalDpi xmlns:a14="http://schemas.microsoft.com/office/drawing/2010/main" val="0"/>
              </a:ext>
            </a:extLst>
          </a:blip>
          <a:srcRect l="43423" t="7394" r="7428"/>
          <a:stretch/>
        </p:blipFill>
        <p:spPr>
          <a:xfrm>
            <a:off x="8346" y="2472232"/>
            <a:ext cx="4064000" cy="5116284"/>
          </a:xfrm>
          <a:prstGeom prst="rect">
            <a:avLst/>
          </a:prstGeom>
        </p:spPr>
      </p:pic>
      <p:sp>
        <p:nvSpPr>
          <p:cNvPr id="5" name="Rectangle 4">
            <a:extLst>
              <a:ext uri="{FF2B5EF4-FFF2-40B4-BE49-F238E27FC236}">
                <a16:creationId xmlns:a16="http://schemas.microsoft.com/office/drawing/2014/main" id="{601EFE0C-226C-4202-B312-30918B56D45A}"/>
              </a:ext>
            </a:extLst>
          </p:cNvPr>
          <p:cNvSpPr/>
          <p:nvPr/>
        </p:nvSpPr>
        <p:spPr bwMode="auto">
          <a:xfrm>
            <a:off x="-8346" y="2472232"/>
            <a:ext cx="12192000" cy="6117128"/>
          </a:xfrm>
          <a:prstGeom prst="rect">
            <a:avLst/>
          </a:prstGeom>
          <a:gradFill flip="none" rotWithShape="1">
            <a:gsLst>
              <a:gs pos="0">
                <a:schemeClr val="tx1">
                  <a:alpha val="50000"/>
                </a:schemeClr>
              </a:gs>
              <a:gs pos="100000">
                <a:schemeClr val="accent3">
                  <a:alpha val="7500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5959DCD3-6132-42D2-98D9-742FE3D3EC0D}"/>
              </a:ext>
            </a:extLst>
          </p:cNvPr>
          <p:cNvSpPr txBox="1"/>
          <p:nvPr/>
        </p:nvSpPr>
        <p:spPr>
          <a:xfrm>
            <a:off x="9372511" y="4141770"/>
            <a:ext cx="2377895" cy="6832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14,209 lost </a:t>
            </a:r>
          </a:p>
        </p:txBody>
      </p:sp>
      <p:sp>
        <p:nvSpPr>
          <p:cNvPr id="22" name="TextBox 21">
            <a:extLst>
              <a:ext uri="{FF2B5EF4-FFF2-40B4-BE49-F238E27FC236}">
                <a16:creationId xmlns:a16="http://schemas.microsoft.com/office/drawing/2014/main" id="{AADDB1D5-FA2D-486D-97B9-55739784A816}"/>
              </a:ext>
            </a:extLst>
          </p:cNvPr>
          <p:cNvSpPr txBox="1"/>
          <p:nvPr/>
        </p:nvSpPr>
        <p:spPr>
          <a:xfrm>
            <a:off x="1153497" y="4142546"/>
            <a:ext cx="2373150" cy="6832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30x increase</a:t>
            </a:r>
          </a:p>
        </p:txBody>
      </p:sp>
      <p:sp>
        <p:nvSpPr>
          <p:cNvPr id="24" name="TextBox 23">
            <a:extLst>
              <a:ext uri="{FF2B5EF4-FFF2-40B4-BE49-F238E27FC236}">
                <a16:creationId xmlns:a16="http://schemas.microsoft.com/office/drawing/2014/main" id="{C9FA72E9-FE95-4DD0-9E51-61924D43DB67}"/>
              </a:ext>
            </a:extLst>
          </p:cNvPr>
          <p:cNvSpPr txBox="1"/>
          <p:nvPr/>
        </p:nvSpPr>
        <p:spPr>
          <a:xfrm>
            <a:off x="5217497" y="4141770"/>
            <a:ext cx="1989070" cy="6832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50E6FF"/>
                </a:solidFill>
                <a:effectLst/>
                <a:uLnTx/>
                <a:uFillTx/>
                <a:latin typeface="Segoe UI Semibold"/>
                <a:ea typeface="+mn-ea"/>
                <a:cs typeface="Segoe UI Semibold" panose="020B0702040204020203" pitchFamily="34" charset="0"/>
              </a:rPr>
              <a:t>300 hours</a:t>
            </a:r>
          </a:p>
        </p:txBody>
      </p:sp>
      <p:sp>
        <p:nvSpPr>
          <p:cNvPr id="25" name="TextBox 24">
            <a:extLst>
              <a:ext uri="{FF2B5EF4-FFF2-40B4-BE49-F238E27FC236}">
                <a16:creationId xmlns:a16="http://schemas.microsoft.com/office/drawing/2014/main" id="{2D1E9F39-612F-4062-A5C9-096711D164F2}"/>
              </a:ext>
            </a:extLst>
          </p:cNvPr>
          <p:cNvSpPr txBox="1"/>
          <p:nvPr/>
        </p:nvSpPr>
        <p:spPr>
          <a:xfrm>
            <a:off x="9254051" y="4929307"/>
            <a:ext cx="2614814"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er year per knowledge worker by companies due to information searches</a:t>
            </a:r>
            <a:r>
              <a:rPr kumimoji="0" lang="en-US" sz="1400" b="0" i="0" u="none" strike="noStrike" kern="1200" cap="none" spc="0" normalizeH="0" baseline="30000" noProof="0">
                <a:ln>
                  <a:noFill/>
                </a:ln>
                <a:solidFill>
                  <a:prstClr val="white"/>
                </a:solidFill>
                <a:effectLst/>
                <a:uLnTx/>
                <a:uFillTx/>
                <a:latin typeface="Segoe UI Semibold"/>
                <a:ea typeface="+mn-ea"/>
                <a:cs typeface="+mn-cs"/>
              </a:rPr>
              <a:t>1</a:t>
            </a:r>
          </a:p>
        </p:txBody>
      </p:sp>
      <p:sp>
        <p:nvSpPr>
          <p:cNvPr id="26" name="TextBox 25">
            <a:extLst>
              <a:ext uri="{FF2B5EF4-FFF2-40B4-BE49-F238E27FC236}">
                <a16:creationId xmlns:a16="http://schemas.microsoft.com/office/drawing/2014/main" id="{47E4CEB4-598A-433B-A771-E1D8624D6E4D}"/>
              </a:ext>
            </a:extLst>
          </p:cNvPr>
          <p:cNvSpPr txBox="1"/>
          <p:nvPr/>
        </p:nvSpPr>
        <p:spPr>
          <a:xfrm>
            <a:off x="986779" y="4929307"/>
            <a:ext cx="2706580" cy="738664"/>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in the amount of digital information companies consume by 2020</a:t>
            </a:r>
            <a:r>
              <a:rPr kumimoji="0" lang="en-US" sz="1400" b="0" i="0" u="none" strike="noStrike" kern="1200" cap="none" spc="0" normalizeH="0" baseline="30000" noProof="0">
                <a:ln>
                  <a:noFill/>
                </a:ln>
                <a:solidFill>
                  <a:prstClr val="white"/>
                </a:solidFill>
                <a:effectLst/>
                <a:uLnTx/>
                <a:uFillTx/>
                <a:latin typeface="Segoe UI Semibold"/>
                <a:ea typeface="+mn-ea"/>
                <a:cs typeface="+mn-cs"/>
              </a:rPr>
              <a:t>1</a:t>
            </a:r>
          </a:p>
        </p:txBody>
      </p:sp>
      <p:sp>
        <p:nvSpPr>
          <p:cNvPr id="27" name="TextBox 26">
            <a:extLst>
              <a:ext uri="{FF2B5EF4-FFF2-40B4-BE49-F238E27FC236}">
                <a16:creationId xmlns:a16="http://schemas.microsoft.com/office/drawing/2014/main" id="{2F2ABDC4-A285-420A-A456-66B4CC958FAF}"/>
              </a:ext>
            </a:extLst>
          </p:cNvPr>
          <p:cNvSpPr txBox="1"/>
          <p:nvPr/>
        </p:nvSpPr>
        <p:spPr>
          <a:xfrm>
            <a:off x="5031804" y="4985014"/>
            <a:ext cx="2532550"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of video uploaded every minute to YouTube alone</a:t>
            </a:r>
            <a:r>
              <a:rPr kumimoji="0" lang="en-US" sz="1400" b="0" i="0" u="none" strike="noStrike" kern="1200" cap="none" spc="0" normalizeH="0" baseline="30000" noProof="0">
                <a:ln>
                  <a:noFill/>
                </a:ln>
                <a:solidFill>
                  <a:prstClr val="white"/>
                </a:solidFill>
                <a:effectLst/>
                <a:uLnTx/>
                <a:uFillTx/>
                <a:latin typeface="Segoe UI Semibold"/>
                <a:ea typeface="+mn-ea"/>
                <a:cs typeface="+mn-cs"/>
              </a:rPr>
              <a:t>2</a:t>
            </a:r>
          </a:p>
        </p:txBody>
      </p:sp>
      <p:sp>
        <p:nvSpPr>
          <p:cNvPr id="30" name="TextBox 29">
            <a:extLst>
              <a:ext uri="{FF2B5EF4-FFF2-40B4-BE49-F238E27FC236}">
                <a16:creationId xmlns:a16="http://schemas.microsoft.com/office/drawing/2014/main" id="{0BFE4EBB-8645-497F-A080-D9DC61F55550}"/>
              </a:ext>
            </a:extLst>
          </p:cNvPr>
          <p:cNvSpPr txBox="1"/>
          <p:nvPr/>
        </p:nvSpPr>
        <p:spPr>
          <a:xfrm>
            <a:off x="233083" y="6668717"/>
            <a:ext cx="10328375" cy="189283"/>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30000" noProof="0">
                <a:ln>
                  <a:noFill/>
                </a:ln>
                <a:solidFill>
                  <a:prstClr val="white"/>
                </a:solidFill>
                <a:effectLst/>
                <a:uLnTx/>
                <a:uFillTx/>
                <a:latin typeface="Segoe UI"/>
                <a:ea typeface="+mn-ea"/>
                <a:cs typeface="+mn-cs"/>
              </a:rPr>
              <a:t>1</a:t>
            </a:r>
            <a:r>
              <a:rPr kumimoji="0" lang="en-US" sz="700" b="0" i="0" u="none" strike="noStrike" kern="1200" cap="none" spc="0" normalizeH="0" baseline="0" noProof="0">
                <a:ln>
                  <a:noFill/>
                </a:ln>
                <a:solidFill>
                  <a:prstClr val="white"/>
                </a:solidFill>
                <a:effectLst/>
                <a:uLnTx/>
                <a:uFillTx/>
                <a:latin typeface="Segoe UI"/>
                <a:ea typeface="+mn-ea"/>
                <a:cs typeface="+mn-cs"/>
              </a:rPr>
              <a:t>Managed Print and Document Services for Controlling Today’s, and Tomorrow’s, Information Costs; </a:t>
            </a:r>
            <a:r>
              <a:rPr kumimoji="0" lang="en-US" sz="700" b="0" i="0" u="none" strike="noStrike" kern="1200" cap="none" spc="0" normalizeH="0" baseline="30000" noProof="0">
                <a:ln>
                  <a:noFill/>
                </a:ln>
                <a:solidFill>
                  <a:prstClr val="white"/>
                </a:solidFill>
                <a:effectLst/>
                <a:uLnTx/>
                <a:uFillTx/>
                <a:latin typeface="Segoe UI"/>
                <a:ea typeface="+mn-ea"/>
                <a:cs typeface="+mn-cs"/>
              </a:rPr>
              <a:t>2</a:t>
            </a:r>
            <a:r>
              <a:rPr kumimoji="0" lang="en-US" sz="700" b="0" i="0" u="none" strike="noStrike" kern="1200" cap="none" spc="0" normalizeH="0" baseline="0" noProof="0">
                <a:ln>
                  <a:noFill/>
                </a:ln>
                <a:solidFill>
                  <a:prstClr val="white"/>
                </a:solidFill>
                <a:effectLst/>
                <a:uLnTx/>
                <a:uFillTx/>
                <a:latin typeface="Segoe UI"/>
                <a:ea typeface="+mn-ea"/>
                <a:cs typeface="+mn-cs"/>
              </a:rPr>
              <a:t>In the next 60 seconds 300 hours of video will be uploaded to YouTube </a:t>
            </a:r>
          </a:p>
        </p:txBody>
      </p:sp>
      <p:sp>
        <p:nvSpPr>
          <p:cNvPr id="2" name="TextBox 1">
            <a:extLst>
              <a:ext uri="{FF2B5EF4-FFF2-40B4-BE49-F238E27FC236}">
                <a16:creationId xmlns:a16="http://schemas.microsoft.com/office/drawing/2014/main" id="{65D67EEF-573D-4995-A2EE-DEB5BFBC95A9}"/>
              </a:ext>
            </a:extLst>
          </p:cNvPr>
          <p:cNvSpPr txBox="1"/>
          <p:nvPr/>
        </p:nvSpPr>
        <p:spPr>
          <a:xfrm>
            <a:off x="68961" y="1565518"/>
            <a:ext cx="3893439"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a:ea typeface="+mn-ea"/>
                <a:cs typeface="Segoe UI" pitchFamily="34" charset="0"/>
              </a:rPr>
              <a:t>Companies need to handle larger volumes of data</a:t>
            </a:r>
          </a:p>
        </p:txBody>
      </p:sp>
      <p:sp>
        <p:nvSpPr>
          <p:cNvPr id="16" name="TextBox 15">
            <a:extLst>
              <a:ext uri="{FF2B5EF4-FFF2-40B4-BE49-F238E27FC236}">
                <a16:creationId xmlns:a16="http://schemas.microsoft.com/office/drawing/2014/main" id="{9265D667-5EEA-40B3-9C6D-414B2CC69CC3}"/>
              </a:ext>
            </a:extLst>
          </p:cNvPr>
          <p:cNvSpPr txBox="1"/>
          <p:nvPr/>
        </p:nvSpPr>
        <p:spPr>
          <a:xfrm>
            <a:off x="4334784" y="1561670"/>
            <a:ext cx="372425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a:ea typeface="+mn-ea"/>
                <a:cs typeface="Segoe UI" pitchFamily="34" charset="0"/>
              </a:rPr>
              <a:t>Data is coming in more formats such as images and video</a:t>
            </a:r>
          </a:p>
        </p:txBody>
      </p:sp>
      <p:sp>
        <p:nvSpPr>
          <p:cNvPr id="17" name="TextBox 16">
            <a:extLst>
              <a:ext uri="{FF2B5EF4-FFF2-40B4-BE49-F238E27FC236}">
                <a16:creationId xmlns:a16="http://schemas.microsoft.com/office/drawing/2014/main" id="{71E2D4E1-9BBB-469A-AB3E-4FA3224756E2}"/>
              </a:ext>
            </a:extLst>
          </p:cNvPr>
          <p:cNvSpPr txBox="1"/>
          <p:nvPr/>
        </p:nvSpPr>
        <p:spPr>
          <a:xfrm>
            <a:off x="8431425" y="1568159"/>
            <a:ext cx="3651162"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a:ea typeface="+mn-ea"/>
                <a:cs typeface="Segoe UI" pitchFamily="34" charset="0"/>
              </a:rPr>
              <a:t>Results in a loss of productivity and money</a:t>
            </a:r>
          </a:p>
        </p:txBody>
      </p:sp>
      <p:sp>
        <p:nvSpPr>
          <p:cNvPr id="18" name="Title 1">
            <a:extLst>
              <a:ext uri="{FF2B5EF4-FFF2-40B4-BE49-F238E27FC236}">
                <a16:creationId xmlns:a16="http://schemas.microsoft.com/office/drawing/2014/main" id="{4C9B031F-3680-4114-B91B-ECBA58802179}"/>
              </a:ext>
            </a:extLst>
          </p:cNvPr>
          <p:cNvSpPr txBox="1">
            <a:spLocks/>
          </p:cNvSpPr>
          <p:nvPr/>
        </p:nvSpPr>
        <p:spPr>
          <a:xfrm>
            <a:off x="385448" y="120502"/>
            <a:ext cx="11018520" cy="838027"/>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latin typeface="Segoe UI Light" panose="020B0502040204020203" pitchFamily="34" charset="0"/>
                <a:cs typeface="Segoe UI Light" panose="020B0502040204020203" pitchFamily="34" charset="0"/>
              </a:rPr>
              <a:t>Business Impacts of Exponential Data Growth</a:t>
            </a:r>
          </a:p>
        </p:txBody>
      </p:sp>
    </p:spTree>
    <p:extLst>
      <p:ext uri="{BB962C8B-B14F-4D97-AF65-F5344CB8AC3E}">
        <p14:creationId xmlns:p14="http://schemas.microsoft.com/office/powerpoint/2010/main" val="172171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4C7C8-3C27-4976-887C-A0BDFFF08841}"/>
              </a:ext>
            </a:extLst>
          </p:cNvPr>
          <p:cNvSpPr>
            <a:spLocks noGrp="1"/>
          </p:cNvSpPr>
          <p:nvPr>
            <p:ph type="title"/>
          </p:nvPr>
        </p:nvSpPr>
        <p:spPr>
          <a:xfrm>
            <a:off x="183515" y="569634"/>
            <a:ext cx="10062210" cy="970860"/>
          </a:xfrm>
        </p:spPr>
        <p:txBody>
          <a:bodyPr/>
          <a:lstStyle/>
          <a:p>
            <a:r>
              <a:rPr lang="en-US">
                <a:solidFill>
                  <a:schemeClr val="tx1"/>
                </a:solidFill>
                <a:latin typeface="Segoe UI" panose="020B0502040204020203" pitchFamily="34" charset="0"/>
              </a:rPr>
              <a:t>Knowledge Mining Growth and Execution </a:t>
            </a:r>
          </a:p>
        </p:txBody>
      </p:sp>
      <p:sp>
        <p:nvSpPr>
          <p:cNvPr id="13" name="TextBox 12">
            <a:extLst>
              <a:ext uri="{FF2B5EF4-FFF2-40B4-BE49-F238E27FC236}">
                <a16:creationId xmlns:a16="http://schemas.microsoft.com/office/drawing/2014/main" id="{0B811BF8-DA8E-4DF3-B828-2C2403690D69}"/>
              </a:ext>
            </a:extLst>
          </p:cNvPr>
          <p:cNvSpPr txBox="1"/>
          <p:nvPr/>
        </p:nvSpPr>
        <p:spPr>
          <a:xfrm>
            <a:off x="2281681" y="5862015"/>
            <a:ext cx="7628638" cy="738664"/>
          </a:xfrm>
          <a:prstGeom prst="rect">
            <a:avLst/>
          </a:prstGeom>
          <a:noFill/>
        </p:spPr>
        <p:txBody>
          <a:bodyPr wrap="square" lIns="182880" tIns="146304" rIns="182880" bIns="14630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1" i="1"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 accounts that start consuming AI in their first month on Azure we see a consistently higher average ACR than accounts who do not</a:t>
            </a:r>
          </a:p>
        </p:txBody>
      </p:sp>
      <p:sp>
        <p:nvSpPr>
          <p:cNvPr id="9" name="Rectangle 8">
            <a:extLst>
              <a:ext uri="{FF2B5EF4-FFF2-40B4-BE49-F238E27FC236}">
                <a16:creationId xmlns:a16="http://schemas.microsoft.com/office/drawing/2014/main" id="{E09A0AE9-B605-4629-AE92-2AF2B2153376}"/>
              </a:ext>
            </a:extLst>
          </p:cNvPr>
          <p:cNvSpPr/>
          <p:nvPr/>
        </p:nvSpPr>
        <p:spPr bwMode="auto">
          <a:xfrm>
            <a:off x="183515" y="1329451"/>
            <a:ext cx="11824970" cy="20197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0C0"/>
                </a:solidFill>
                <a:effectLst/>
                <a:uLnTx/>
                <a:uFillTx/>
                <a:latin typeface="Segoe UI"/>
                <a:ea typeface="Segoe UI" panose="020B0502040204020203" pitchFamily="34" charset="0"/>
                <a:cs typeface="Segoe UI"/>
              </a:rPr>
              <a:t>The Numbers</a:t>
            </a: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Largest revenue driver in Azure AI portfolio and growing strong</a:t>
            </a:r>
            <a:endParaRPr lang="en-US" sz="1600" b="1" i="0" u="none" strike="noStrike" kern="1200" cap="none" spc="0" baseline="0" noProof="0">
              <a:solidFill>
                <a:srgbClr val="000000"/>
              </a:solidFill>
              <a:latin typeface="Segoe UI"/>
              <a:ea typeface="Segoe UI" panose="020B0502040204020203" pitchFamily="34" charset="0"/>
              <a:cs typeface="Segoe UI"/>
            </a:endParaRPr>
          </a:p>
          <a:p>
            <a:pPr marL="342900" indent="-342900" defTabSz="932472" fontAlgn="base">
              <a:lnSpc>
                <a:spcPct val="150000"/>
              </a:lnSpc>
              <a:spcBef>
                <a:spcPct val="0"/>
              </a:spcBef>
              <a:spcAft>
                <a:spcPct val="0"/>
              </a:spcAft>
              <a:buFont typeface="Arial" panose="020B0604020202020204" pitchFamily="34" charset="0"/>
              <a:buChar char="•"/>
              <a:defRPr/>
            </a:pPr>
            <a:r>
              <a:rPr kumimoji="0" lang="en-US" sz="16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Retires Azure </a:t>
            </a:r>
            <a:r>
              <a:rPr lang="en-US" sz="1600">
                <a:solidFill>
                  <a:srgbClr val="000000"/>
                </a:solidFill>
                <a:latin typeface="Segoe UI"/>
                <a:ea typeface="Segoe UI" panose="020B0502040204020203" pitchFamily="34" charset="0"/>
                <a:cs typeface="Segoe UI"/>
              </a:rPr>
              <a:t>Core Products</a:t>
            </a:r>
            <a:r>
              <a:rPr kumimoji="0" lang="en-US" sz="16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 Quota – </a:t>
            </a:r>
            <a:r>
              <a:rPr kumimoji="0" lang="en-US" sz="16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2x QUOTA REDUCTION!</a:t>
            </a:r>
            <a:endParaRPr lang="en-US" sz="1600" b="1" i="0" u="none" strike="noStrike" kern="1200" cap="none" spc="0" baseline="0" noProof="0">
              <a:solidFill>
                <a:srgbClr val="000000"/>
              </a:solidFill>
              <a:latin typeface="Segoe UI"/>
              <a:ea typeface="Segoe UI" panose="020B0502040204020203" pitchFamily="34" charset="0"/>
              <a:cs typeface="Segoe UI"/>
            </a:endParaRPr>
          </a:p>
          <a:p>
            <a:pPr marL="342900" indent="-342900" defTabSz="932472" fontAlgn="base">
              <a:lnSpc>
                <a:spcPct val="150000"/>
              </a:lnSpc>
              <a:spcBef>
                <a:spcPct val="0"/>
              </a:spcBef>
              <a:spcAft>
                <a:spcPct val="0"/>
              </a:spcAft>
              <a:buFont typeface="Arial" panose="020B0604020202020204" pitchFamily="34" charset="0"/>
              <a:buChar char="•"/>
              <a:defRPr/>
            </a:pPr>
            <a:r>
              <a:rPr kumimoji="0" lang="en-US" sz="16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Available today in preview with over </a:t>
            </a:r>
            <a:r>
              <a:rPr lang="en-US" sz="1600">
                <a:solidFill>
                  <a:srgbClr val="000000"/>
                </a:solidFill>
                <a:latin typeface="Segoe UI"/>
                <a:ea typeface="Segoe UI" panose="020B0502040204020203" pitchFamily="34" charset="0"/>
                <a:cs typeface="Segoe UI"/>
              </a:rPr>
              <a:t>700</a:t>
            </a:r>
            <a:r>
              <a:rPr kumimoji="0" lang="en-US" sz="16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 customers ALREADY</a:t>
            </a:r>
            <a:r>
              <a:rPr lang="en-US" sz="1600">
                <a:solidFill>
                  <a:srgbClr val="000000"/>
                </a:solidFill>
                <a:latin typeface="Segoe UI"/>
                <a:ea typeface="Segoe UI" panose="020B0502040204020203" pitchFamily="34" charset="0"/>
                <a:cs typeface="Segoe UI"/>
              </a:rPr>
              <a:t>  </a:t>
            </a:r>
            <a:endParaRPr lang="en-US" sz="1600" b="0" i="0" u="none" strike="noStrike" kern="1200" cap="none" spc="0" baseline="0" noProof="0">
              <a:solidFill>
                <a:srgbClr val="000000"/>
              </a:solidFill>
              <a:latin typeface="Segoe UI" panose="020B0502040204020203" pitchFamily="34" charset="0"/>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New customers being added every month - 75% growth for </a:t>
            </a:r>
            <a:r>
              <a:rPr kumimoji="0" lang="en-US" sz="1600" b="0" i="0" u="none" strike="noStrike" kern="1200" cap="none" spc="0" normalizeH="0" baseline="0" noProof="0" err="1">
                <a:ln>
                  <a:noFill/>
                </a:ln>
                <a:solidFill>
                  <a:prstClr val="black"/>
                </a:solidFill>
                <a:effectLst/>
                <a:uLnTx/>
                <a:uFillTx/>
                <a:latin typeface="Segoe UI"/>
                <a:ea typeface="+mn-ea"/>
                <a:cs typeface="+mn-cs"/>
              </a:rPr>
              <a:t>HiPo</a:t>
            </a:r>
            <a:r>
              <a:rPr kumimoji="0" lang="en-US" sz="1600" b="0" i="0" u="none" strike="noStrike" kern="1200" cap="none" spc="0" normalizeH="0" baseline="0" noProof="0">
                <a:ln>
                  <a:noFill/>
                </a:ln>
                <a:solidFill>
                  <a:prstClr val="black"/>
                </a:solidFill>
                <a:effectLst/>
                <a:uLnTx/>
                <a:uFillTx/>
                <a:latin typeface="Segoe UI"/>
                <a:ea typeface="+mn-ea"/>
                <a:cs typeface="+mn-cs"/>
              </a:rPr>
              <a:t> accounts &amp; 67% for mainstream accounts post announce</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rPr>
              <a:t>Largest Customer - ~$100K PER MONTH ACR TTM – First workloads running &lt;4 </a:t>
            </a:r>
            <a:r>
              <a:rPr kumimoji="0" lang="en-US" sz="1600" b="0" i="0" u="none" strike="noStrike" kern="1200" cap="none" spc="0" normalizeH="0" baseline="0" noProof="0" err="1">
                <a:ln>
                  <a:noFill/>
                </a:ln>
                <a:solidFill>
                  <a:srgbClr val="000000"/>
                </a:solidFill>
                <a:effectLst/>
                <a:uLnTx/>
                <a:uFillTx/>
                <a:latin typeface="Segoe UI"/>
                <a:ea typeface="Segoe UI" panose="020B0502040204020203" pitchFamily="34" charset="0"/>
                <a:cs typeface="Segoe UI"/>
              </a:rPr>
              <a:t>mos</a:t>
            </a:r>
            <a:endParaRPr kumimoji="0" lang="en-US" sz="16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a:endParaRPr>
          </a:p>
        </p:txBody>
      </p:sp>
      <p:sp>
        <p:nvSpPr>
          <p:cNvPr id="11" name="Rectangle 10">
            <a:extLst>
              <a:ext uri="{FF2B5EF4-FFF2-40B4-BE49-F238E27FC236}">
                <a16:creationId xmlns:a16="http://schemas.microsoft.com/office/drawing/2014/main" id="{60D6C504-9B31-44FE-A75C-95FD0E10376D}"/>
              </a:ext>
            </a:extLst>
          </p:cNvPr>
          <p:cNvSpPr/>
          <p:nvPr/>
        </p:nvSpPr>
        <p:spPr bwMode="auto">
          <a:xfrm>
            <a:off x="183515" y="3715115"/>
            <a:ext cx="6398654" cy="19145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70C0"/>
                </a:solidFill>
                <a:effectLst/>
                <a:uLnTx/>
                <a:uFillTx/>
                <a:latin typeface="Segoe UI" panose="020B0502040204020203" pitchFamily="34" charset="0"/>
                <a:ea typeface="Segoe UI" panose="020B0502040204020203" pitchFamily="34" charset="0"/>
                <a:cs typeface="Segoe UI" panose="020B0502040204020203" pitchFamily="34" charset="0"/>
              </a:rPr>
              <a:t>Engage and Operationalize</a:t>
            </a: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Low barrier to entry - use cases move forward quickly</a:t>
            </a: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Average POC runs 3-4 weeks  </a:t>
            </a: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Complementary Azure analytics and cognitive services provide additional intelligent capabilities for data search and analysis.</a:t>
            </a: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R="0" lvl="0" algn="l" defTabSz="932472" rtl="0" eaLnBrk="1" fontAlgn="base" latinLnBrk="0" hangingPunct="1">
              <a:lnSpc>
                <a:spcPct val="150000"/>
              </a:lnSpc>
              <a:spcBef>
                <a:spcPct val="0"/>
              </a:spcBef>
              <a:spcAft>
                <a:spcPct val="0"/>
              </a:spcAft>
              <a:buClrTx/>
              <a:buSzTx/>
              <a:tabLst/>
              <a:defRPr/>
            </a:pP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342900" marR="0" lvl="0" indent="-342900" algn="l" defTabSz="932472" rtl="0" eaLnBrk="1" fontAlgn="base" latinLnBrk="0" hangingPunct="1">
              <a:lnSpc>
                <a:spcPct val="15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1CA45C9D-57E5-4B2D-ACE2-00831B49C990}"/>
              </a:ext>
            </a:extLst>
          </p:cNvPr>
          <p:cNvPicPr>
            <a:picLocks noChangeAspect="1"/>
          </p:cNvPicPr>
          <p:nvPr/>
        </p:nvPicPr>
        <p:blipFill rotWithShape="1">
          <a:blip r:embed="rId3"/>
          <a:srcRect t="10852"/>
          <a:stretch/>
        </p:blipFill>
        <p:spPr>
          <a:xfrm>
            <a:off x="6405658" y="3715115"/>
            <a:ext cx="5602839" cy="1944642"/>
          </a:xfrm>
          <a:prstGeom prst="rect">
            <a:avLst/>
          </a:prstGeom>
        </p:spPr>
      </p:pic>
    </p:spTree>
    <p:extLst>
      <p:ext uri="{BB962C8B-B14F-4D97-AF65-F5344CB8AC3E}">
        <p14:creationId xmlns:p14="http://schemas.microsoft.com/office/powerpoint/2010/main" val="429416685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tangle 186">
            <a:extLst>
              <a:ext uri="{FF2B5EF4-FFF2-40B4-BE49-F238E27FC236}">
                <a16:creationId xmlns:a16="http://schemas.microsoft.com/office/drawing/2014/main" id="{CE4D90E0-AFC8-44D0-B6DD-9E804477A257}"/>
              </a:ext>
            </a:extLst>
          </p:cNvPr>
          <p:cNvSpPr/>
          <p:nvPr/>
        </p:nvSpPr>
        <p:spPr>
          <a:xfrm>
            <a:off x="1540502" y="3682890"/>
            <a:ext cx="129680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Data</a:t>
            </a:r>
          </a:p>
        </p:txBody>
      </p:sp>
      <p:sp>
        <p:nvSpPr>
          <p:cNvPr id="188" name="Rectangle 187">
            <a:extLst>
              <a:ext uri="{FF2B5EF4-FFF2-40B4-BE49-F238E27FC236}">
                <a16:creationId xmlns:a16="http://schemas.microsoft.com/office/drawing/2014/main" id="{63FAEA9E-3B45-4FCB-9BD0-3A31D245F869}"/>
              </a:ext>
            </a:extLst>
          </p:cNvPr>
          <p:cNvSpPr/>
          <p:nvPr/>
        </p:nvSpPr>
        <p:spPr>
          <a:xfrm>
            <a:off x="4298234" y="3733470"/>
            <a:ext cx="129680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Ingestion</a:t>
            </a:r>
          </a:p>
        </p:txBody>
      </p:sp>
      <p:sp>
        <p:nvSpPr>
          <p:cNvPr id="189" name="Rectangle 188">
            <a:extLst>
              <a:ext uri="{FF2B5EF4-FFF2-40B4-BE49-F238E27FC236}">
                <a16:creationId xmlns:a16="http://schemas.microsoft.com/office/drawing/2014/main" id="{CF3FCBDF-0349-4739-A4BB-606E9EF41A6E}"/>
              </a:ext>
            </a:extLst>
          </p:cNvPr>
          <p:cNvSpPr/>
          <p:nvPr/>
        </p:nvSpPr>
        <p:spPr>
          <a:xfrm>
            <a:off x="3565156" y="4735915"/>
            <a:ext cx="2655169" cy="1985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rawl through your data via pull APIs and indexer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rack” open unstructured data (PDFs, Wor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a:t>
            </a:r>
            <a:r>
              <a:rPr kumimoji="0" lang="en-US" sz="1200" b="0"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xtract</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text using OCR, identify Key Phrases, Peoples Names,​ Company Names, Analyze Sentiment, Computer Vision,​ etc.</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0" name="Rectangle 189">
            <a:extLst>
              <a:ext uri="{FF2B5EF4-FFF2-40B4-BE49-F238E27FC236}">
                <a16:creationId xmlns:a16="http://schemas.microsoft.com/office/drawing/2014/main" id="{9AB343B9-9112-4619-9953-458B03BC7D02}"/>
              </a:ext>
            </a:extLst>
          </p:cNvPr>
          <p:cNvSpPr/>
          <p:nvPr/>
        </p:nvSpPr>
        <p:spPr>
          <a:xfrm>
            <a:off x="1149966" y="4735914"/>
            <a:ext cx="2286000"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dentify storage types which can contain a variety of data formats</a:t>
            </a:r>
          </a:p>
        </p:txBody>
      </p:sp>
      <p:cxnSp>
        <p:nvCxnSpPr>
          <p:cNvPr id="191" name="Straight Arrow Connector 190">
            <a:extLst>
              <a:ext uri="{FF2B5EF4-FFF2-40B4-BE49-F238E27FC236}">
                <a16:creationId xmlns:a16="http://schemas.microsoft.com/office/drawing/2014/main" id="{C5FD5DDF-C98B-487C-B4E9-B322F333FF4A}"/>
              </a:ext>
            </a:extLst>
          </p:cNvPr>
          <p:cNvCxnSpPr>
            <a:cxnSpLocks/>
          </p:cNvCxnSpPr>
          <p:nvPr/>
        </p:nvCxnSpPr>
        <p:spPr>
          <a:xfrm>
            <a:off x="3185712" y="3449171"/>
            <a:ext cx="9144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077F6623-7090-463D-8EC4-3D9DA38501AD}"/>
              </a:ext>
            </a:extLst>
          </p:cNvPr>
          <p:cNvCxnSpPr>
            <a:cxnSpLocks/>
          </p:cNvCxnSpPr>
          <p:nvPr/>
        </p:nvCxnSpPr>
        <p:spPr>
          <a:xfrm>
            <a:off x="5661119" y="3438786"/>
            <a:ext cx="3913827"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94" name="Group 193">
            <a:extLst>
              <a:ext uri="{FF2B5EF4-FFF2-40B4-BE49-F238E27FC236}">
                <a16:creationId xmlns:a16="http://schemas.microsoft.com/office/drawing/2014/main" id="{23976186-A535-439A-999D-B04BCFDB6E99}"/>
              </a:ext>
            </a:extLst>
          </p:cNvPr>
          <p:cNvGrpSpPr/>
          <p:nvPr/>
        </p:nvGrpSpPr>
        <p:grpSpPr>
          <a:xfrm>
            <a:off x="5812067" y="2374359"/>
            <a:ext cx="3762879" cy="740390"/>
            <a:chOff x="-4860407" y="2462968"/>
            <a:chExt cx="6687447" cy="618000"/>
          </a:xfrm>
        </p:grpSpPr>
        <p:sp>
          <p:nvSpPr>
            <p:cNvPr id="195" name="TextBox 194">
              <a:extLst>
                <a:ext uri="{FF2B5EF4-FFF2-40B4-BE49-F238E27FC236}">
                  <a16:creationId xmlns:a16="http://schemas.microsoft.com/office/drawing/2014/main" id="{79224A56-C3C8-4A40-B996-633B1EE60DD3}"/>
                </a:ext>
              </a:extLst>
            </p:cNvPr>
            <p:cNvSpPr txBox="1"/>
            <p:nvPr/>
          </p:nvSpPr>
          <p:spPr>
            <a:xfrm>
              <a:off x="-3787603" y="2462968"/>
              <a:ext cx="4627901" cy="2312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a:ea typeface="+mn-ea"/>
                  <a:cs typeface="+mn-cs"/>
                </a:rPr>
                <a:t>Cognitive Search Process</a:t>
              </a:r>
            </a:p>
          </p:txBody>
        </p:sp>
        <p:sp>
          <p:nvSpPr>
            <p:cNvPr id="196" name="Left Brace 195">
              <a:extLst>
                <a:ext uri="{FF2B5EF4-FFF2-40B4-BE49-F238E27FC236}">
                  <a16:creationId xmlns:a16="http://schemas.microsoft.com/office/drawing/2014/main" id="{210A9091-9286-4CF6-9EF4-A6B600261113}"/>
                </a:ext>
              </a:extLst>
            </p:cNvPr>
            <p:cNvSpPr/>
            <p:nvPr/>
          </p:nvSpPr>
          <p:spPr>
            <a:xfrm rot="5400000">
              <a:off x="-1619575" y="-365647"/>
              <a:ext cx="205783" cy="6687447"/>
            </a:xfrm>
            <a:prstGeom prst="leftBrace">
              <a:avLst>
                <a:gd name="adj1" fmla="val 1187"/>
                <a:gd name="adj2" fmla="val 50000"/>
              </a:avLst>
            </a:prstGeom>
            <a:ln w="1270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7" name="Group 196">
            <a:extLst>
              <a:ext uri="{FF2B5EF4-FFF2-40B4-BE49-F238E27FC236}">
                <a16:creationId xmlns:a16="http://schemas.microsoft.com/office/drawing/2014/main" id="{A27FFE33-EF7B-4E55-9B85-5C98A8BF5CE4}"/>
              </a:ext>
            </a:extLst>
          </p:cNvPr>
          <p:cNvGrpSpPr/>
          <p:nvPr/>
        </p:nvGrpSpPr>
        <p:grpSpPr>
          <a:xfrm>
            <a:off x="1939023" y="3124768"/>
            <a:ext cx="499758" cy="456386"/>
            <a:chOff x="2384955" y="3347027"/>
            <a:chExt cx="499758" cy="456386"/>
          </a:xfrm>
        </p:grpSpPr>
        <p:sp>
          <p:nvSpPr>
            <p:cNvPr id="198" name="Freeform 21">
              <a:extLst>
                <a:ext uri="{FF2B5EF4-FFF2-40B4-BE49-F238E27FC236}">
                  <a16:creationId xmlns:a16="http://schemas.microsoft.com/office/drawing/2014/main" id="{C1EB38A3-C764-4596-A761-D554632104E0}"/>
                </a:ext>
              </a:extLst>
            </p:cNvPr>
            <p:cNvSpPr>
              <a:spLocks/>
            </p:cNvSpPr>
            <p:nvPr/>
          </p:nvSpPr>
          <p:spPr bwMode="auto">
            <a:xfrm>
              <a:off x="2384955" y="3347027"/>
              <a:ext cx="0" cy="104865"/>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22">
              <a:extLst>
                <a:ext uri="{FF2B5EF4-FFF2-40B4-BE49-F238E27FC236}">
                  <a16:creationId xmlns:a16="http://schemas.microsoft.com/office/drawing/2014/main" id="{F082973D-1229-4599-8AB6-89BBA44C1757}"/>
                </a:ext>
              </a:extLst>
            </p:cNvPr>
            <p:cNvSpPr>
              <a:spLocks/>
            </p:cNvSpPr>
            <p:nvPr/>
          </p:nvSpPr>
          <p:spPr bwMode="auto">
            <a:xfrm>
              <a:off x="2573249" y="3347027"/>
              <a:ext cx="0" cy="104865"/>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23">
              <a:extLst>
                <a:ext uri="{FF2B5EF4-FFF2-40B4-BE49-F238E27FC236}">
                  <a16:creationId xmlns:a16="http://schemas.microsoft.com/office/drawing/2014/main" id="{B7A9C319-58FB-4582-B55C-12F8A27A11D4}"/>
                </a:ext>
              </a:extLst>
            </p:cNvPr>
            <p:cNvSpPr>
              <a:spLocks/>
            </p:cNvSpPr>
            <p:nvPr/>
          </p:nvSpPr>
          <p:spPr bwMode="auto">
            <a:xfrm>
              <a:off x="2758712" y="3347027"/>
              <a:ext cx="0" cy="104865"/>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24">
              <a:extLst>
                <a:ext uri="{FF2B5EF4-FFF2-40B4-BE49-F238E27FC236}">
                  <a16:creationId xmlns:a16="http://schemas.microsoft.com/office/drawing/2014/main" id="{F44423A5-A40F-4435-8DBC-06AB76E7F948}"/>
                </a:ext>
              </a:extLst>
            </p:cNvPr>
            <p:cNvSpPr>
              <a:spLocks/>
            </p:cNvSpPr>
            <p:nvPr/>
          </p:nvSpPr>
          <p:spPr bwMode="auto">
            <a:xfrm>
              <a:off x="2445832" y="3347027"/>
              <a:ext cx="66540" cy="1063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25">
              <a:extLst>
                <a:ext uri="{FF2B5EF4-FFF2-40B4-BE49-F238E27FC236}">
                  <a16:creationId xmlns:a16="http://schemas.microsoft.com/office/drawing/2014/main" id="{3F0AF74D-0077-469E-B19C-343B7152FC78}"/>
                </a:ext>
              </a:extLst>
            </p:cNvPr>
            <p:cNvSpPr>
              <a:spLocks/>
            </p:cNvSpPr>
            <p:nvPr/>
          </p:nvSpPr>
          <p:spPr bwMode="auto">
            <a:xfrm>
              <a:off x="2634126" y="3347027"/>
              <a:ext cx="62293" cy="10634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26">
              <a:extLst>
                <a:ext uri="{FF2B5EF4-FFF2-40B4-BE49-F238E27FC236}">
                  <a16:creationId xmlns:a16="http://schemas.microsoft.com/office/drawing/2014/main" id="{25049477-D00A-4265-A5A6-CE9CA619FE40}"/>
                </a:ext>
              </a:extLst>
            </p:cNvPr>
            <p:cNvSpPr>
              <a:spLocks/>
            </p:cNvSpPr>
            <p:nvPr/>
          </p:nvSpPr>
          <p:spPr bwMode="auto">
            <a:xfrm>
              <a:off x="2819589" y="3347027"/>
              <a:ext cx="65124" cy="1063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27">
              <a:extLst>
                <a:ext uri="{FF2B5EF4-FFF2-40B4-BE49-F238E27FC236}">
                  <a16:creationId xmlns:a16="http://schemas.microsoft.com/office/drawing/2014/main" id="{4423FB2E-8CB8-4289-8E85-D22B4DF1E5D6}"/>
                </a:ext>
              </a:extLst>
            </p:cNvPr>
            <p:cNvSpPr>
              <a:spLocks/>
            </p:cNvSpPr>
            <p:nvPr/>
          </p:nvSpPr>
          <p:spPr bwMode="auto">
            <a:xfrm>
              <a:off x="2384955" y="3697071"/>
              <a:ext cx="0" cy="1063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28">
              <a:extLst>
                <a:ext uri="{FF2B5EF4-FFF2-40B4-BE49-F238E27FC236}">
                  <a16:creationId xmlns:a16="http://schemas.microsoft.com/office/drawing/2014/main" id="{274D3B43-0007-4C81-8CA9-5F0AD00B28A2}"/>
                </a:ext>
              </a:extLst>
            </p:cNvPr>
            <p:cNvSpPr>
              <a:spLocks/>
            </p:cNvSpPr>
            <p:nvPr/>
          </p:nvSpPr>
          <p:spPr bwMode="auto">
            <a:xfrm>
              <a:off x="2573249" y="3697071"/>
              <a:ext cx="0" cy="1063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29">
              <a:extLst>
                <a:ext uri="{FF2B5EF4-FFF2-40B4-BE49-F238E27FC236}">
                  <a16:creationId xmlns:a16="http://schemas.microsoft.com/office/drawing/2014/main" id="{474283F8-A3FC-4AA4-9B9E-5AB3E0568BCF}"/>
                </a:ext>
              </a:extLst>
            </p:cNvPr>
            <p:cNvSpPr>
              <a:spLocks/>
            </p:cNvSpPr>
            <p:nvPr/>
          </p:nvSpPr>
          <p:spPr bwMode="auto">
            <a:xfrm>
              <a:off x="2758712" y="3697071"/>
              <a:ext cx="0" cy="1063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30">
              <a:extLst>
                <a:ext uri="{FF2B5EF4-FFF2-40B4-BE49-F238E27FC236}">
                  <a16:creationId xmlns:a16="http://schemas.microsoft.com/office/drawing/2014/main" id="{7610C4EA-0566-4E30-8E68-508BBD58527C}"/>
                </a:ext>
              </a:extLst>
            </p:cNvPr>
            <p:cNvSpPr>
              <a:spLocks/>
            </p:cNvSpPr>
            <p:nvPr/>
          </p:nvSpPr>
          <p:spPr bwMode="auto">
            <a:xfrm>
              <a:off x="2445832" y="3697071"/>
              <a:ext cx="66540" cy="1063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31">
              <a:extLst>
                <a:ext uri="{FF2B5EF4-FFF2-40B4-BE49-F238E27FC236}">
                  <a16:creationId xmlns:a16="http://schemas.microsoft.com/office/drawing/2014/main" id="{C9F7C017-AFC7-4A09-AE20-D80A688A6AE8}"/>
                </a:ext>
              </a:extLst>
            </p:cNvPr>
            <p:cNvSpPr>
              <a:spLocks/>
            </p:cNvSpPr>
            <p:nvPr/>
          </p:nvSpPr>
          <p:spPr bwMode="auto">
            <a:xfrm>
              <a:off x="2634126" y="3697071"/>
              <a:ext cx="62293" cy="1063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32">
              <a:extLst>
                <a:ext uri="{FF2B5EF4-FFF2-40B4-BE49-F238E27FC236}">
                  <a16:creationId xmlns:a16="http://schemas.microsoft.com/office/drawing/2014/main" id="{CE969C21-7514-4696-BE13-9B4232AFAEBC}"/>
                </a:ext>
              </a:extLst>
            </p:cNvPr>
            <p:cNvSpPr>
              <a:spLocks/>
            </p:cNvSpPr>
            <p:nvPr/>
          </p:nvSpPr>
          <p:spPr bwMode="auto">
            <a:xfrm>
              <a:off x="2819589" y="3697071"/>
              <a:ext cx="65124" cy="1063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33">
              <a:extLst>
                <a:ext uri="{FF2B5EF4-FFF2-40B4-BE49-F238E27FC236}">
                  <a16:creationId xmlns:a16="http://schemas.microsoft.com/office/drawing/2014/main" id="{DEA3415C-BAF2-43BB-9E73-35D7437B188A}"/>
                </a:ext>
              </a:extLst>
            </p:cNvPr>
            <p:cNvSpPr>
              <a:spLocks/>
            </p:cNvSpPr>
            <p:nvPr/>
          </p:nvSpPr>
          <p:spPr bwMode="auto">
            <a:xfrm>
              <a:off x="2512372" y="3527218"/>
              <a:ext cx="0" cy="100434"/>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34">
              <a:extLst>
                <a:ext uri="{FF2B5EF4-FFF2-40B4-BE49-F238E27FC236}">
                  <a16:creationId xmlns:a16="http://schemas.microsoft.com/office/drawing/2014/main" id="{53786961-F91D-4D6B-9522-F3B77F775C96}"/>
                </a:ext>
              </a:extLst>
            </p:cNvPr>
            <p:cNvSpPr>
              <a:spLocks/>
            </p:cNvSpPr>
            <p:nvPr/>
          </p:nvSpPr>
          <p:spPr bwMode="auto">
            <a:xfrm>
              <a:off x="2696419" y="3527218"/>
              <a:ext cx="0" cy="100434"/>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35">
              <a:extLst>
                <a:ext uri="{FF2B5EF4-FFF2-40B4-BE49-F238E27FC236}">
                  <a16:creationId xmlns:a16="http://schemas.microsoft.com/office/drawing/2014/main" id="{39060CC1-298A-44B4-B954-859213BB19DA}"/>
                </a:ext>
              </a:extLst>
            </p:cNvPr>
            <p:cNvSpPr>
              <a:spLocks/>
            </p:cNvSpPr>
            <p:nvPr/>
          </p:nvSpPr>
          <p:spPr bwMode="auto">
            <a:xfrm>
              <a:off x="2384955" y="3527218"/>
              <a:ext cx="65124" cy="104865"/>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25400" cap="flat">
              <a:solidFill>
                <a:srgbClr val="02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36">
              <a:extLst>
                <a:ext uri="{FF2B5EF4-FFF2-40B4-BE49-F238E27FC236}">
                  <a16:creationId xmlns:a16="http://schemas.microsoft.com/office/drawing/2014/main" id="{E1E78FBF-4B60-4505-8B1F-8BCF73A3BB8E}"/>
                </a:ext>
              </a:extLst>
            </p:cNvPr>
            <p:cNvSpPr>
              <a:spLocks/>
            </p:cNvSpPr>
            <p:nvPr/>
          </p:nvSpPr>
          <p:spPr bwMode="auto">
            <a:xfrm>
              <a:off x="2573249" y="3527218"/>
              <a:ext cx="63709" cy="104865"/>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4" name="Freeform 37">
              <a:extLst>
                <a:ext uri="{FF2B5EF4-FFF2-40B4-BE49-F238E27FC236}">
                  <a16:creationId xmlns:a16="http://schemas.microsoft.com/office/drawing/2014/main" id="{5BDB8CDD-0F33-46C1-9D4A-B11C74DD9CE8}"/>
                </a:ext>
              </a:extLst>
            </p:cNvPr>
            <p:cNvSpPr>
              <a:spLocks/>
            </p:cNvSpPr>
            <p:nvPr/>
          </p:nvSpPr>
          <p:spPr bwMode="auto">
            <a:xfrm>
              <a:off x="2758712" y="3527218"/>
              <a:ext cx="63709" cy="104865"/>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5" name="Freeform 38">
              <a:extLst>
                <a:ext uri="{FF2B5EF4-FFF2-40B4-BE49-F238E27FC236}">
                  <a16:creationId xmlns:a16="http://schemas.microsoft.com/office/drawing/2014/main" id="{369CA7CE-72D5-4114-8984-91B28676B646}"/>
                </a:ext>
              </a:extLst>
            </p:cNvPr>
            <p:cNvSpPr>
              <a:spLocks/>
            </p:cNvSpPr>
            <p:nvPr/>
          </p:nvSpPr>
          <p:spPr bwMode="auto">
            <a:xfrm>
              <a:off x="2884713" y="3527218"/>
              <a:ext cx="0" cy="100434"/>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54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6" name="Graphic 14" descr="Filter">
            <a:extLst>
              <a:ext uri="{FF2B5EF4-FFF2-40B4-BE49-F238E27FC236}">
                <a16:creationId xmlns:a16="http://schemas.microsoft.com/office/drawing/2014/main" id="{8B1E6E65-CCD7-41B8-B9A7-4370F420FC07}"/>
              </a:ext>
            </a:extLst>
          </p:cNvPr>
          <p:cNvSpPr/>
          <p:nvPr/>
        </p:nvSpPr>
        <p:spPr>
          <a:xfrm>
            <a:off x="4775821" y="3171579"/>
            <a:ext cx="409575" cy="409575"/>
          </a:xfrm>
          <a:custGeom>
            <a:avLst/>
            <a:gdLst>
              <a:gd name="connsiteX0" fmla="*/ 654844 w 657225"/>
              <a:gd name="connsiteY0" fmla="*/ 7144 h 657225"/>
              <a:gd name="connsiteX1" fmla="*/ 7144 w 657225"/>
              <a:gd name="connsiteY1" fmla="*/ 7144 h 657225"/>
              <a:gd name="connsiteX2" fmla="*/ 292894 w 657225"/>
              <a:gd name="connsiteY2" fmla="*/ 292894 h 657225"/>
              <a:gd name="connsiteX3" fmla="*/ 292894 w 657225"/>
              <a:gd name="connsiteY3" fmla="*/ 578644 h 657225"/>
              <a:gd name="connsiteX4" fmla="*/ 292894 w 657225"/>
              <a:gd name="connsiteY4" fmla="*/ 654844 h 657225"/>
              <a:gd name="connsiteX5" fmla="*/ 369094 w 657225"/>
              <a:gd name="connsiteY5" fmla="*/ 578644 h 657225"/>
              <a:gd name="connsiteX6" fmla="*/ 369094 w 657225"/>
              <a:gd name="connsiteY6" fmla="*/ 2928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657225">
                <a:moveTo>
                  <a:pt x="654844" y="7144"/>
                </a:moveTo>
                <a:lnTo>
                  <a:pt x="7144" y="7144"/>
                </a:lnTo>
                <a:lnTo>
                  <a:pt x="292894" y="292894"/>
                </a:lnTo>
                <a:lnTo>
                  <a:pt x="292894" y="578644"/>
                </a:lnTo>
                <a:lnTo>
                  <a:pt x="292894" y="654844"/>
                </a:lnTo>
                <a:lnTo>
                  <a:pt x="369094" y="578644"/>
                </a:lnTo>
                <a:lnTo>
                  <a:pt x="369094" y="292894"/>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8" name="Rectangle 217">
            <a:extLst>
              <a:ext uri="{FF2B5EF4-FFF2-40B4-BE49-F238E27FC236}">
                <a16:creationId xmlns:a16="http://schemas.microsoft.com/office/drawing/2014/main" id="{155D31F7-AB20-4B76-8AF7-989A0993C857}"/>
              </a:ext>
            </a:extLst>
          </p:cNvPr>
          <p:cNvSpPr/>
          <p:nvPr/>
        </p:nvSpPr>
        <p:spPr>
          <a:xfrm>
            <a:off x="7693890" y="4133019"/>
            <a:ext cx="129680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Enrichment</a:t>
            </a:r>
          </a:p>
        </p:txBody>
      </p:sp>
      <p:sp>
        <p:nvSpPr>
          <p:cNvPr id="219" name="Rectangle 218">
            <a:extLst>
              <a:ext uri="{FF2B5EF4-FFF2-40B4-BE49-F238E27FC236}">
                <a16:creationId xmlns:a16="http://schemas.microsoft.com/office/drawing/2014/main" id="{1AE689AF-21DB-4021-B4F4-3FA803A04730}"/>
              </a:ext>
            </a:extLst>
          </p:cNvPr>
          <p:cNvSpPr/>
          <p:nvPr/>
        </p:nvSpPr>
        <p:spPr>
          <a:xfrm>
            <a:off x="6271993" y="4133019"/>
            <a:ext cx="125044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Cognitive Skills</a:t>
            </a:r>
          </a:p>
        </p:txBody>
      </p:sp>
      <p:sp>
        <p:nvSpPr>
          <p:cNvPr id="221" name="Rectangle 220">
            <a:extLst>
              <a:ext uri="{FF2B5EF4-FFF2-40B4-BE49-F238E27FC236}">
                <a16:creationId xmlns:a16="http://schemas.microsoft.com/office/drawing/2014/main" id="{2E6C5DE6-4E0B-4960-83C3-C62E3675B10E}"/>
              </a:ext>
            </a:extLst>
          </p:cNvPr>
          <p:cNvSpPr/>
          <p:nvPr/>
        </p:nvSpPr>
        <p:spPr>
          <a:xfrm>
            <a:off x="6499221" y="4735915"/>
            <a:ext cx="2655169" cy="13542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nnotate and enrich with cognitive services and custom skill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clude Third Party Enrichers​ Custom classification models,​ Custom entity extraction,​ etc.​</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222" name="Group 181">
            <a:extLst>
              <a:ext uri="{FF2B5EF4-FFF2-40B4-BE49-F238E27FC236}">
                <a16:creationId xmlns:a16="http://schemas.microsoft.com/office/drawing/2014/main" id="{41A6CE3C-F7AF-41BE-8332-3E0A4F1D83BA}"/>
              </a:ext>
            </a:extLst>
          </p:cNvPr>
          <p:cNvGrpSpPr>
            <a:grpSpLocks noChangeAspect="1"/>
          </p:cNvGrpSpPr>
          <p:nvPr/>
        </p:nvGrpSpPr>
        <p:grpSpPr bwMode="auto">
          <a:xfrm>
            <a:off x="7915251" y="3628575"/>
            <a:ext cx="683262" cy="385628"/>
            <a:chOff x="6739" y="2783"/>
            <a:chExt cx="264" cy="149"/>
          </a:xfrm>
        </p:grpSpPr>
        <p:sp>
          <p:nvSpPr>
            <p:cNvPr id="226" name="Freeform 182">
              <a:extLst>
                <a:ext uri="{FF2B5EF4-FFF2-40B4-BE49-F238E27FC236}">
                  <a16:creationId xmlns:a16="http://schemas.microsoft.com/office/drawing/2014/main" id="{1DE702CB-B2E1-4DBA-8672-F833E7C4EC1F}"/>
                </a:ext>
              </a:extLst>
            </p:cNvPr>
            <p:cNvSpPr>
              <a:spLocks/>
            </p:cNvSpPr>
            <p:nvPr/>
          </p:nvSpPr>
          <p:spPr bwMode="auto">
            <a:xfrm>
              <a:off x="6772" y="2882"/>
              <a:ext cx="33" cy="17"/>
            </a:xfrm>
            <a:custGeom>
              <a:avLst/>
              <a:gdLst>
                <a:gd name="T0" fmla="*/ 53 w 53"/>
                <a:gd name="T1" fmla="*/ 0 h 27"/>
                <a:gd name="T2" fmla="*/ 53 w 53"/>
                <a:gd name="T3" fmla="*/ 0 h 27"/>
                <a:gd name="T4" fmla="*/ 0 w 53"/>
                <a:gd name="T5" fmla="*/ 0 h 27"/>
                <a:gd name="T6" fmla="*/ 0 w 53"/>
                <a:gd name="T7" fmla="*/ 27 h 27"/>
                <a:gd name="T8" fmla="*/ 53 w 53"/>
                <a:gd name="T9" fmla="*/ 27 h 27"/>
                <a:gd name="T10" fmla="*/ 53 w 53"/>
                <a:gd name="T11" fmla="*/ 0 h 27"/>
              </a:gdLst>
              <a:ahLst/>
              <a:cxnLst>
                <a:cxn ang="0">
                  <a:pos x="T0" y="T1"/>
                </a:cxn>
                <a:cxn ang="0">
                  <a:pos x="T2" y="T3"/>
                </a:cxn>
                <a:cxn ang="0">
                  <a:pos x="T4" y="T5"/>
                </a:cxn>
                <a:cxn ang="0">
                  <a:pos x="T6" y="T7"/>
                </a:cxn>
                <a:cxn ang="0">
                  <a:pos x="T8" y="T9"/>
                </a:cxn>
                <a:cxn ang="0">
                  <a:pos x="T10" y="T11"/>
                </a:cxn>
              </a:cxnLst>
              <a:rect l="0" t="0" r="r" b="b"/>
              <a:pathLst>
                <a:path w="53" h="27">
                  <a:moveTo>
                    <a:pt x="53" y="0"/>
                  </a:moveTo>
                  <a:lnTo>
                    <a:pt x="53" y="0"/>
                  </a:lnTo>
                  <a:lnTo>
                    <a:pt x="0" y="0"/>
                  </a:lnTo>
                  <a:lnTo>
                    <a:pt x="0" y="27"/>
                  </a:lnTo>
                  <a:lnTo>
                    <a:pt x="53" y="27"/>
                  </a:lnTo>
                  <a:lnTo>
                    <a:pt x="53" y="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Freeform 183">
              <a:extLst>
                <a:ext uri="{FF2B5EF4-FFF2-40B4-BE49-F238E27FC236}">
                  <a16:creationId xmlns:a16="http://schemas.microsoft.com/office/drawing/2014/main" id="{B8627638-6B97-4728-AEF9-3C25648F40BC}"/>
                </a:ext>
              </a:extLst>
            </p:cNvPr>
            <p:cNvSpPr>
              <a:spLocks/>
            </p:cNvSpPr>
            <p:nvPr/>
          </p:nvSpPr>
          <p:spPr bwMode="auto">
            <a:xfrm>
              <a:off x="6755" y="2849"/>
              <a:ext cx="50" cy="17"/>
            </a:xfrm>
            <a:custGeom>
              <a:avLst/>
              <a:gdLst>
                <a:gd name="T0" fmla="*/ 80 w 80"/>
                <a:gd name="T1" fmla="*/ 0 h 27"/>
                <a:gd name="T2" fmla="*/ 80 w 80"/>
                <a:gd name="T3" fmla="*/ 0 h 27"/>
                <a:gd name="T4" fmla="*/ 0 w 80"/>
                <a:gd name="T5" fmla="*/ 0 h 27"/>
                <a:gd name="T6" fmla="*/ 0 w 80"/>
                <a:gd name="T7" fmla="*/ 27 h 27"/>
                <a:gd name="T8" fmla="*/ 80 w 80"/>
                <a:gd name="T9" fmla="*/ 27 h 27"/>
                <a:gd name="T10" fmla="*/ 80 w 80"/>
                <a:gd name="T11" fmla="*/ 0 h 27"/>
              </a:gdLst>
              <a:ahLst/>
              <a:cxnLst>
                <a:cxn ang="0">
                  <a:pos x="T0" y="T1"/>
                </a:cxn>
                <a:cxn ang="0">
                  <a:pos x="T2" y="T3"/>
                </a:cxn>
                <a:cxn ang="0">
                  <a:pos x="T4" y="T5"/>
                </a:cxn>
                <a:cxn ang="0">
                  <a:pos x="T6" y="T7"/>
                </a:cxn>
                <a:cxn ang="0">
                  <a:pos x="T8" y="T9"/>
                </a:cxn>
                <a:cxn ang="0">
                  <a:pos x="T10" y="T11"/>
                </a:cxn>
              </a:cxnLst>
              <a:rect l="0" t="0" r="r" b="b"/>
              <a:pathLst>
                <a:path w="80" h="27">
                  <a:moveTo>
                    <a:pt x="80" y="0"/>
                  </a:moveTo>
                  <a:lnTo>
                    <a:pt x="80" y="0"/>
                  </a:lnTo>
                  <a:lnTo>
                    <a:pt x="0" y="0"/>
                  </a:lnTo>
                  <a:lnTo>
                    <a:pt x="0" y="27"/>
                  </a:lnTo>
                  <a:lnTo>
                    <a:pt x="80" y="27"/>
                  </a:lnTo>
                  <a:lnTo>
                    <a:pt x="80" y="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Freeform 184">
              <a:extLst>
                <a:ext uri="{FF2B5EF4-FFF2-40B4-BE49-F238E27FC236}">
                  <a16:creationId xmlns:a16="http://schemas.microsoft.com/office/drawing/2014/main" id="{27E248DA-2795-4563-BAE4-C0B0936B7B84}"/>
                </a:ext>
              </a:extLst>
            </p:cNvPr>
            <p:cNvSpPr>
              <a:spLocks/>
            </p:cNvSpPr>
            <p:nvPr/>
          </p:nvSpPr>
          <p:spPr bwMode="auto">
            <a:xfrm>
              <a:off x="6739" y="2816"/>
              <a:ext cx="66" cy="16"/>
            </a:xfrm>
            <a:custGeom>
              <a:avLst/>
              <a:gdLst>
                <a:gd name="T0" fmla="*/ 0 w 106"/>
                <a:gd name="T1" fmla="*/ 26 h 26"/>
                <a:gd name="T2" fmla="*/ 0 w 106"/>
                <a:gd name="T3" fmla="*/ 26 h 26"/>
                <a:gd name="T4" fmla="*/ 106 w 106"/>
                <a:gd name="T5" fmla="*/ 26 h 26"/>
                <a:gd name="T6" fmla="*/ 106 w 106"/>
                <a:gd name="T7" fmla="*/ 0 h 26"/>
                <a:gd name="T8" fmla="*/ 0 w 106"/>
                <a:gd name="T9" fmla="*/ 0 h 26"/>
                <a:gd name="T10" fmla="*/ 0 w 106"/>
                <a:gd name="T11" fmla="*/ 26 h 26"/>
              </a:gdLst>
              <a:ahLst/>
              <a:cxnLst>
                <a:cxn ang="0">
                  <a:pos x="T0" y="T1"/>
                </a:cxn>
                <a:cxn ang="0">
                  <a:pos x="T2" y="T3"/>
                </a:cxn>
                <a:cxn ang="0">
                  <a:pos x="T4" y="T5"/>
                </a:cxn>
                <a:cxn ang="0">
                  <a:pos x="T6" y="T7"/>
                </a:cxn>
                <a:cxn ang="0">
                  <a:pos x="T8" y="T9"/>
                </a:cxn>
                <a:cxn ang="0">
                  <a:pos x="T10" y="T11"/>
                </a:cxn>
              </a:cxnLst>
              <a:rect l="0" t="0" r="r" b="b"/>
              <a:pathLst>
                <a:path w="106" h="26">
                  <a:moveTo>
                    <a:pt x="0" y="26"/>
                  </a:moveTo>
                  <a:lnTo>
                    <a:pt x="0" y="26"/>
                  </a:lnTo>
                  <a:lnTo>
                    <a:pt x="106" y="26"/>
                  </a:lnTo>
                  <a:lnTo>
                    <a:pt x="106" y="0"/>
                  </a:lnTo>
                  <a:lnTo>
                    <a:pt x="0" y="0"/>
                  </a:lnTo>
                  <a:lnTo>
                    <a:pt x="0" y="26"/>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Freeform 185">
              <a:extLst>
                <a:ext uri="{FF2B5EF4-FFF2-40B4-BE49-F238E27FC236}">
                  <a16:creationId xmlns:a16="http://schemas.microsoft.com/office/drawing/2014/main" id="{E44084C2-17C5-46D9-B91F-0BDCB28A448B}"/>
                </a:ext>
              </a:extLst>
            </p:cNvPr>
            <p:cNvSpPr>
              <a:spLocks/>
            </p:cNvSpPr>
            <p:nvPr/>
          </p:nvSpPr>
          <p:spPr bwMode="auto">
            <a:xfrm>
              <a:off x="6822" y="2783"/>
              <a:ext cx="181" cy="149"/>
            </a:xfrm>
            <a:custGeom>
              <a:avLst/>
              <a:gdLst>
                <a:gd name="T0" fmla="*/ 0 w 293"/>
                <a:gd name="T1" fmla="*/ 240 h 240"/>
                <a:gd name="T2" fmla="*/ 0 w 293"/>
                <a:gd name="T3" fmla="*/ 240 h 240"/>
                <a:gd name="T4" fmla="*/ 293 w 293"/>
                <a:gd name="T5" fmla="*/ 240 h 240"/>
                <a:gd name="T6" fmla="*/ 293 w 293"/>
                <a:gd name="T7" fmla="*/ 0 h 240"/>
                <a:gd name="T8" fmla="*/ 0 w 293"/>
                <a:gd name="T9" fmla="*/ 0 h 240"/>
                <a:gd name="T10" fmla="*/ 0 w 293"/>
                <a:gd name="T11" fmla="*/ 240 h 240"/>
              </a:gdLst>
              <a:ahLst/>
              <a:cxnLst>
                <a:cxn ang="0">
                  <a:pos x="T0" y="T1"/>
                </a:cxn>
                <a:cxn ang="0">
                  <a:pos x="T2" y="T3"/>
                </a:cxn>
                <a:cxn ang="0">
                  <a:pos x="T4" y="T5"/>
                </a:cxn>
                <a:cxn ang="0">
                  <a:pos x="T6" y="T7"/>
                </a:cxn>
                <a:cxn ang="0">
                  <a:pos x="T8" y="T9"/>
                </a:cxn>
                <a:cxn ang="0">
                  <a:pos x="T10" y="T11"/>
                </a:cxn>
              </a:cxnLst>
              <a:rect l="0" t="0" r="r" b="b"/>
              <a:pathLst>
                <a:path w="293" h="240">
                  <a:moveTo>
                    <a:pt x="0" y="240"/>
                  </a:moveTo>
                  <a:lnTo>
                    <a:pt x="0" y="240"/>
                  </a:lnTo>
                  <a:lnTo>
                    <a:pt x="293" y="240"/>
                  </a:lnTo>
                  <a:lnTo>
                    <a:pt x="293" y="0"/>
                  </a:lnTo>
                  <a:lnTo>
                    <a:pt x="0" y="0"/>
                  </a:lnTo>
                  <a:lnTo>
                    <a:pt x="0" y="24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Freeform 186">
              <a:extLst>
                <a:ext uri="{FF2B5EF4-FFF2-40B4-BE49-F238E27FC236}">
                  <a16:creationId xmlns:a16="http://schemas.microsoft.com/office/drawing/2014/main" id="{92941C9E-A390-46C7-B232-94EF65DCE2EF}"/>
                </a:ext>
              </a:extLst>
            </p:cNvPr>
            <p:cNvSpPr>
              <a:spLocks/>
            </p:cNvSpPr>
            <p:nvPr/>
          </p:nvSpPr>
          <p:spPr bwMode="auto">
            <a:xfrm>
              <a:off x="6854" y="2882"/>
              <a:ext cx="50" cy="17"/>
            </a:xfrm>
            <a:custGeom>
              <a:avLst/>
              <a:gdLst>
                <a:gd name="T0" fmla="*/ 0 w 80"/>
                <a:gd name="T1" fmla="*/ 27 h 27"/>
                <a:gd name="T2" fmla="*/ 0 w 80"/>
                <a:gd name="T3" fmla="*/ 27 h 27"/>
                <a:gd name="T4" fmla="*/ 80 w 80"/>
                <a:gd name="T5" fmla="*/ 27 h 27"/>
                <a:gd name="T6" fmla="*/ 80 w 80"/>
                <a:gd name="T7" fmla="*/ 0 h 27"/>
                <a:gd name="T8" fmla="*/ 0 w 80"/>
                <a:gd name="T9" fmla="*/ 0 h 27"/>
                <a:gd name="T10" fmla="*/ 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0" y="27"/>
                  </a:moveTo>
                  <a:lnTo>
                    <a:pt x="0" y="27"/>
                  </a:lnTo>
                  <a:lnTo>
                    <a:pt x="80" y="27"/>
                  </a:lnTo>
                  <a:lnTo>
                    <a:pt x="80" y="0"/>
                  </a:lnTo>
                  <a:lnTo>
                    <a:pt x="0" y="0"/>
                  </a:lnTo>
                  <a:lnTo>
                    <a:pt x="0" y="2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Freeform 187">
              <a:extLst>
                <a:ext uri="{FF2B5EF4-FFF2-40B4-BE49-F238E27FC236}">
                  <a16:creationId xmlns:a16="http://schemas.microsoft.com/office/drawing/2014/main" id="{818A0441-AAF4-4F59-B290-60B084DF9338}"/>
                </a:ext>
              </a:extLst>
            </p:cNvPr>
            <p:cNvSpPr>
              <a:spLocks/>
            </p:cNvSpPr>
            <p:nvPr/>
          </p:nvSpPr>
          <p:spPr bwMode="auto">
            <a:xfrm>
              <a:off x="6921" y="2849"/>
              <a:ext cx="50" cy="50"/>
            </a:xfrm>
            <a:custGeom>
              <a:avLst/>
              <a:gdLst>
                <a:gd name="T0" fmla="*/ 0 w 80"/>
                <a:gd name="T1" fmla="*/ 80 h 80"/>
                <a:gd name="T2" fmla="*/ 0 w 80"/>
                <a:gd name="T3" fmla="*/ 80 h 80"/>
                <a:gd name="T4" fmla="*/ 80 w 80"/>
                <a:gd name="T5" fmla="*/ 80 h 80"/>
                <a:gd name="T6" fmla="*/ 80 w 80"/>
                <a:gd name="T7" fmla="*/ 0 h 80"/>
                <a:gd name="T8" fmla="*/ 0 w 80"/>
                <a:gd name="T9" fmla="*/ 0 h 80"/>
                <a:gd name="T10" fmla="*/ 0 w 80"/>
                <a:gd name="T11" fmla="*/ 80 h 80"/>
              </a:gdLst>
              <a:ahLst/>
              <a:cxnLst>
                <a:cxn ang="0">
                  <a:pos x="T0" y="T1"/>
                </a:cxn>
                <a:cxn ang="0">
                  <a:pos x="T2" y="T3"/>
                </a:cxn>
                <a:cxn ang="0">
                  <a:pos x="T4" y="T5"/>
                </a:cxn>
                <a:cxn ang="0">
                  <a:pos x="T6" y="T7"/>
                </a:cxn>
                <a:cxn ang="0">
                  <a:pos x="T8" y="T9"/>
                </a:cxn>
                <a:cxn ang="0">
                  <a:pos x="T10" y="T11"/>
                </a:cxn>
              </a:cxnLst>
              <a:rect l="0" t="0" r="r" b="b"/>
              <a:pathLst>
                <a:path w="80" h="80">
                  <a:moveTo>
                    <a:pt x="0" y="80"/>
                  </a:moveTo>
                  <a:lnTo>
                    <a:pt x="0" y="80"/>
                  </a:lnTo>
                  <a:lnTo>
                    <a:pt x="80" y="80"/>
                  </a:lnTo>
                  <a:lnTo>
                    <a:pt x="80" y="0"/>
                  </a:lnTo>
                  <a:lnTo>
                    <a:pt x="0" y="0"/>
                  </a:lnTo>
                  <a:lnTo>
                    <a:pt x="0" y="8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Freeform 188">
              <a:extLst>
                <a:ext uri="{FF2B5EF4-FFF2-40B4-BE49-F238E27FC236}">
                  <a16:creationId xmlns:a16="http://schemas.microsoft.com/office/drawing/2014/main" id="{F820461B-7139-4F8A-BC7A-7ECCC157A093}"/>
                </a:ext>
              </a:extLst>
            </p:cNvPr>
            <p:cNvSpPr>
              <a:spLocks/>
            </p:cNvSpPr>
            <p:nvPr/>
          </p:nvSpPr>
          <p:spPr bwMode="auto">
            <a:xfrm>
              <a:off x="6854" y="2816"/>
              <a:ext cx="117" cy="16"/>
            </a:xfrm>
            <a:custGeom>
              <a:avLst/>
              <a:gdLst>
                <a:gd name="T0" fmla="*/ 187 w 187"/>
                <a:gd name="T1" fmla="*/ 0 h 26"/>
                <a:gd name="T2" fmla="*/ 187 w 187"/>
                <a:gd name="T3" fmla="*/ 0 h 26"/>
                <a:gd name="T4" fmla="*/ 0 w 187"/>
                <a:gd name="T5" fmla="*/ 0 h 26"/>
                <a:gd name="T6" fmla="*/ 0 w 187"/>
                <a:gd name="T7" fmla="*/ 26 h 26"/>
                <a:gd name="T8" fmla="*/ 187 w 187"/>
                <a:gd name="T9" fmla="*/ 26 h 26"/>
                <a:gd name="T10" fmla="*/ 187 w 187"/>
                <a:gd name="T11" fmla="*/ 0 h 26"/>
              </a:gdLst>
              <a:ahLst/>
              <a:cxnLst>
                <a:cxn ang="0">
                  <a:pos x="T0" y="T1"/>
                </a:cxn>
                <a:cxn ang="0">
                  <a:pos x="T2" y="T3"/>
                </a:cxn>
                <a:cxn ang="0">
                  <a:pos x="T4" y="T5"/>
                </a:cxn>
                <a:cxn ang="0">
                  <a:pos x="T6" y="T7"/>
                </a:cxn>
                <a:cxn ang="0">
                  <a:pos x="T8" y="T9"/>
                </a:cxn>
                <a:cxn ang="0">
                  <a:pos x="T10" y="T11"/>
                </a:cxn>
              </a:cxnLst>
              <a:rect l="0" t="0" r="r" b="b"/>
              <a:pathLst>
                <a:path w="187" h="26">
                  <a:moveTo>
                    <a:pt x="187" y="0"/>
                  </a:moveTo>
                  <a:lnTo>
                    <a:pt x="187" y="0"/>
                  </a:lnTo>
                  <a:lnTo>
                    <a:pt x="0" y="0"/>
                  </a:lnTo>
                  <a:lnTo>
                    <a:pt x="0" y="26"/>
                  </a:lnTo>
                  <a:lnTo>
                    <a:pt x="187" y="26"/>
                  </a:lnTo>
                  <a:lnTo>
                    <a:pt x="187"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Freeform 189">
              <a:extLst>
                <a:ext uri="{FF2B5EF4-FFF2-40B4-BE49-F238E27FC236}">
                  <a16:creationId xmlns:a16="http://schemas.microsoft.com/office/drawing/2014/main" id="{EE18C1F2-F377-4199-9C71-23D3538B8F70}"/>
                </a:ext>
              </a:extLst>
            </p:cNvPr>
            <p:cNvSpPr>
              <a:spLocks/>
            </p:cNvSpPr>
            <p:nvPr/>
          </p:nvSpPr>
          <p:spPr bwMode="auto">
            <a:xfrm>
              <a:off x="6854" y="2849"/>
              <a:ext cx="50" cy="17"/>
            </a:xfrm>
            <a:custGeom>
              <a:avLst/>
              <a:gdLst>
                <a:gd name="T0" fmla="*/ 0 w 80"/>
                <a:gd name="T1" fmla="*/ 27 h 27"/>
                <a:gd name="T2" fmla="*/ 0 w 80"/>
                <a:gd name="T3" fmla="*/ 27 h 27"/>
                <a:gd name="T4" fmla="*/ 80 w 80"/>
                <a:gd name="T5" fmla="*/ 27 h 27"/>
                <a:gd name="T6" fmla="*/ 80 w 80"/>
                <a:gd name="T7" fmla="*/ 0 h 27"/>
                <a:gd name="T8" fmla="*/ 0 w 80"/>
                <a:gd name="T9" fmla="*/ 0 h 27"/>
                <a:gd name="T10" fmla="*/ 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0" y="27"/>
                  </a:moveTo>
                  <a:lnTo>
                    <a:pt x="0" y="27"/>
                  </a:lnTo>
                  <a:lnTo>
                    <a:pt x="80" y="27"/>
                  </a:lnTo>
                  <a:lnTo>
                    <a:pt x="80" y="0"/>
                  </a:lnTo>
                  <a:lnTo>
                    <a:pt x="0" y="0"/>
                  </a:lnTo>
                  <a:lnTo>
                    <a:pt x="0" y="27"/>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98DC7A94-2EA1-49C5-AEB2-4EF00A51A15C}"/>
              </a:ext>
            </a:extLst>
          </p:cNvPr>
          <p:cNvGrpSpPr/>
          <p:nvPr/>
        </p:nvGrpSpPr>
        <p:grpSpPr>
          <a:xfrm>
            <a:off x="6528366" y="3628575"/>
            <a:ext cx="614900" cy="385628"/>
            <a:chOff x="5687761" y="3172304"/>
            <a:chExt cx="816477" cy="512045"/>
          </a:xfrm>
        </p:grpSpPr>
        <p:sp>
          <p:nvSpPr>
            <p:cNvPr id="224" name="Freeform: Shape 223">
              <a:extLst>
                <a:ext uri="{FF2B5EF4-FFF2-40B4-BE49-F238E27FC236}">
                  <a16:creationId xmlns:a16="http://schemas.microsoft.com/office/drawing/2014/main" id="{223FD85B-806E-4F3D-B87F-2276C41D9234}"/>
                </a:ext>
              </a:extLst>
            </p:cNvPr>
            <p:cNvSpPr/>
            <p:nvPr/>
          </p:nvSpPr>
          <p:spPr>
            <a:xfrm>
              <a:off x="6085138" y="3172304"/>
              <a:ext cx="419100" cy="419100"/>
            </a:xfrm>
            <a:custGeom>
              <a:avLst/>
              <a:gdLst>
                <a:gd name="connsiteX0" fmla="*/ 210026 w 419100"/>
                <a:gd name="connsiteY0" fmla="*/ 281464 h 419100"/>
                <a:gd name="connsiteX1" fmla="*/ 138589 w 419100"/>
                <a:gd name="connsiteY1" fmla="*/ 210026 h 419100"/>
                <a:gd name="connsiteX2" fmla="*/ 210026 w 419100"/>
                <a:gd name="connsiteY2" fmla="*/ 138589 h 419100"/>
                <a:gd name="connsiteX3" fmla="*/ 281464 w 419100"/>
                <a:gd name="connsiteY3" fmla="*/ 210026 h 419100"/>
                <a:gd name="connsiteX4" fmla="*/ 210026 w 419100"/>
                <a:gd name="connsiteY4" fmla="*/ 281464 h 419100"/>
                <a:gd name="connsiteX5" fmla="*/ 370999 w 419100"/>
                <a:gd name="connsiteY5" fmla="*/ 165259 h 419100"/>
                <a:gd name="connsiteX6" fmla="*/ 355759 w 419100"/>
                <a:gd name="connsiteY6" fmla="*/ 128111 h 419100"/>
                <a:gd name="connsiteX7" fmla="*/ 370999 w 419100"/>
                <a:gd name="connsiteY7" fmla="*/ 83344 h 419100"/>
                <a:gd name="connsiteX8" fmla="*/ 336709 w 419100"/>
                <a:gd name="connsiteY8" fmla="*/ 49054 h 419100"/>
                <a:gd name="connsiteX9" fmla="*/ 291941 w 419100"/>
                <a:gd name="connsiteY9" fmla="*/ 64294 h 419100"/>
                <a:gd name="connsiteX10" fmla="*/ 254794 w 419100"/>
                <a:gd name="connsiteY10" fmla="*/ 49054 h 419100"/>
                <a:gd name="connsiteX11" fmla="*/ 233839 w 419100"/>
                <a:gd name="connsiteY11" fmla="*/ 7144 h 419100"/>
                <a:gd name="connsiteX12" fmla="*/ 186214 w 419100"/>
                <a:gd name="connsiteY12" fmla="*/ 7144 h 419100"/>
                <a:gd name="connsiteX13" fmla="*/ 165259 w 419100"/>
                <a:gd name="connsiteY13" fmla="*/ 49054 h 419100"/>
                <a:gd name="connsiteX14" fmla="*/ 128111 w 419100"/>
                <a:gd name="connsiteY14" fmla="*/ 64294 h 419100"/>
                <a:gd name="connsiteX15" fmla="*/ 83344 w 419100"/>
                <a:gd name="connsiteY15" fmla="*/ 49054 h 419100"/>
                <a:gd name="connsiteX16" fmla="*/ 49054 w 419100"/>
                <a:gd name="connsiteY16" fmla="*/ 83344 h 419100"/>
                <a:gd name="connsiteX17" fmla="*/ 64294 w 419100"/>
                <a:gd name="connsiteY17" fmla="*/ 128111 h 419100"/>
                <a:gd name="connsiteX18" fmla="*/ 49054 w 419100"/>
                <a:gd name="connsiteY18" fmla="*/ 165259 h 419100"/>
                <a:gd name="connsiteX19" fmla="*/ 7144 w 419100"/>
                <a:gd name="connsiteY19" fmla="*/ 186214 h 419100"/>
                <a:gd name="connsiteX20" fmla="*/ 7144 w 419100"/>
                <a:gd name="connsiteY20" fmla="*/ 233839 h 419100"/>
                <a:gd name="connsiteX21" fmla="*/ 49054 w 419100"/>
                <a:gd name="connsiteY21" fmla="*/ 254794 h 419100"/>
                <a:gd name="connsiteX22" fmla="*/ 64294 w 419100"/>
                <a:gd name="connsiteY22" fmla="*/ 291941 h 419100"/>
                <a:gd name="connsiteX23" fmla="*/ 49054 w 419100"/>
                <a:gd name="connsiteY23" fmla="*/ 336709 h 419100"/>
                <a:gd name="connsiteX24" fmla="*/ 82391 w 419100"/>
                <a:gd name="connsiteY24" fmla="*/ 370046 h 419100"/>
                <a:gd name="connsiteX25" fmla="*/ 127159 w 419100"/>
                <a:gd name="connsiteY25" fmla="*/ 354806 h 419100"/>
                <a:gd name="connsiteX26" fmla="*/ 164306 w 419100"/>
                <a:gd name="connsiteY26" fmla="*/ 370046 h 419100"/>
                <a:gd name="connsiteX27" fmla="*/ 185261 w 419100"/>
                <a:gd name="connsiteY27" fmla="*/ 411956 h 419100"/>
                <a:gd name="connsiteX28" fmla="*/ 232886 w 419100"/>
                <a:gd name="connsiteY28" fmla="*/ 411956 h 419100"/>
                <a:gd name="connsiteX29" fmla="*/ 253841 w 419100"/>
                <a:gd name="connsiteY29" fmla="*/ 370046 h 419100"/>
                <a:gd name="connsiteX30" fmla="*/ 290989 w 419100"/>
                <a:gd name="connsiteY30" fmla="*/ 354806 h 419100"/>
                <a:gd name="connsiteX31" fmla="*/ 335756 w 419100"/>
                <a:gd name="connsiteY31" fmla="*/ 370046 h 419100"/>
                <a:gd name="connsiteX32" fmla="*/ 370046 w 419100"/>
                <a:gd name="connsiteY32" fmla="*/ 336709 h 419100"/>
                <a:gd name="connsiteX33" fmla="*/ 354806 w 419100"/>
                <a:gd name="connsiteY33" fmla="*/ 291941 h 419100"/>
                <a:gd name="connsiteX34" fmla="*/ 370999 w 419100"/>
                <a:gd name="connsiteY34" fmla="*/ 254794 h 419100"/>
                <a:gd name="connsiteX35" fmla="*/ 412909 w 419100"/>
                <a:gd name="connsiteY35" fmla="*/ 233839 h 419100"/>
                <a:gd name="connsiteX36" fmla="*/ 412909 w 419100"/>
                <a:gd name="connsiteY36" fmla="*/ 186214 h 419100"/>
                <a:gd name="connsiteX37" fmla="*/ 370999 w 419100"/>
                <a:gd name="connsiteY37" fmla="*/ 165259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19100" h="419100">
                  <a:moveTo>
                    <a:pt x="210026" y="281464"/>
                  </a:moveTo>
                  <a:cubicBezTo>
                    <a:pt x="170021" y="281464"/>
                    <a:pt x="138589" y="249079"/>
                    <a:pt x="138589" y="210026"/>
                  </a:cubicBezTo>
                  <a:cubicBezTo>
                    <a:pt x="138589" y="170974"/>
                    <a:pt x="170974" y="138589"/>
                    <a:pt x="210026" y="138589"/>
                  </a:cubicBezTo>
                  <a:cubicBezTo>
                    <a:pt x="250031" y="138589"/>
                    <a:pt x="281464" y="170974"/>
                    <a:pt x="281464" y="210026"/>
                  </a:cubicBezTo>
                  <a:cubicBezTo>
                    <a:pt x="281464" y="249079"/>
                    <a:pt x="249079" y="281464"/>
                    <a:pt x="210026" y="281464"/>
                  </a:cubicBezTo>
                  <a:close/>
                  <a:moveTo>
                    <a:pt x="370999" y="165259"/>
                  </a:moveTo>
                  <a:cubicBezTo>
                    <a:pt x="367189" y="151924"/>
                    <a:pt x="362426" y="139541"/>
                    <a:pt x="355759" y="128111"/>
                  </a:cubicBezTo>
                  <a:lnTo>
                    <a:pt x="370999" y="83344"/>
                  </a:lnTo>
                  <a:lnTo>
                    <a:pt x="336709" y="49054"/>
                  </a:lnTo>
                  <a:lnTo>
                    <a:pt x="291941" y="64294"/>
                  </a:lnTo>
                  <a:cubicBezTo>
                    <a:pt x="280511" y="57626"/>
                    <a:pt x="268129" y="52864"/>
                    <a:pt x="254794" y="49054"/>
                  </a:cubicBezTo>
                  <a:lnTo>
                    <a:pt x="233839" y="7144"/>
                  </a:lnTo>
                  <a:lnTo>
                    <a:pt x="186214" y="7144"/>
                  </a:lnTo>
                  <a:lnTo>
                    <a:pt x="165259" y="49054"/>
                  </a:lnTo>
                  <a:cubicBezTo>
                    <a:pt x="151924" y="52864"/>
                    <a:pt x="139541" y="57626"/>
                    <a:pt x="128111" y="64294"/>
                  </a:cubicBezTo>
                  <a:lnTo>
                    <a:pt x="83344" y="49054"/>
                  </a:lnTo>
                  <a:lnTo>
                    <a:pt x="49054" y="83344"/>
                  </a:lnTo>
                  <a:lnTo>
                    <a:pt x="64294" y="128111"/>
                  </a:lnTo>
                  <a:cubicBezTo>
                    <a:pt x="57626" y="139541"/>
                    <a:pt x="52864" y="151924"/>
                    <a:pt x="49054" y="165259"/>
                  </a:cubicBezTo>
                  <a:lnTo>
                    <a:pt x="7144" y="186214"/>
                  </a:lnTo>
                  <a:lnTo>
                    <a:pt x="7144" y="233839"/>
                  </a:lnTo>
                  <a:lnTo>
                    <a:pt x="49054" y="254794"/>
                  </a:lnTo>
                  <a:cubicBezTo>
                    <a:pt x="52864" y="268129"/>
                    <a:pt x="57626" y="280511"/>
                    <a:pt x="64294" y="291941"/>
                  </a:cubicBezTo>
                  <a:lnTo>
                    <a:pt x="49054" y="336709"/>
                  </a:lnTo>
                  <a:lnTo>
                    <a:pt x="82391" y="370046"/>
                  </a:lnTo>
                  <a:lnTo>
                    <a:pt x="127159" y="354806"/>
                  </a:lnTo>
                  <a:cubicBezTo>
                    <a:pt x="138589" y="361474"/>
                    <a:pt x="150971" y="366236"/>
                    <a:pt x="164306" y="370046"/>
                  </a:cubicBezTo>
                  <a:lnTo>
                    <a:pt x="185261" y="411956"/>
                  </a:lnTo>
                  <a:lnTo>
                    <a:pt x="232886" y="411956"/>
                  </a:lnTo>
                  <a:lnTo>
                    <a:pt x="253841" y="370046"/>
                  </a:lnTo>
                  <a:cubicBezTo>
                    <a:pt x="267176" y="366236"/>
                    <a:pt x="279559" y="361474"/>
                    <a:pt x="290989" y="354806"/>
                  </a:cubicBezTo>
                  <a:lnTo>
                    <a:pt x="335756" y="370046"/>
                  </a:lnTo>
                  <a:lnTo>
                    <a:pt x="370046" y="336709"/>
                  </a:lnTo>
                  <a:lnTo>
                    <a:pt x="354806" y="291941"/>
                  </a:lnTo>
                  <a:cubicBezTo>
                    <a:pt x="361474" y="280511"/>
                    <a:pt x="367189" y="267176"/>
                    <a:pt x="370999" y="254794"/>
                  </a:cubicBezTo>
                  <a:lnTo>
                    <a:pt x="412909" y="233839"/>
                  </a:lnTo>
                  <a:lnTo>
                    <a:pt x="412909" y="186214"/>
                  </a:lnTo>
                  <a:lnTo>
                    <a:pt x="370999" y="165259"/>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14A5CD6B-065F-4458-AE60-7672853B6353}"/>
                </a:ext>
              </a:extLst>
            </p:cNvPr>
            <p:cNvSpPr/>
            <p:nvPr/>
          </p:nvSpPr>
          <p:spPr>
            <a:xfrm>
              <a:off x="5687761" y="3265249"/>
              <a:ext cx="419100" cy="419100"/>
            </a:xfrm>
            <a:custGeom>
              <a:avLst/>
              <a:gdLst>
                <a:gd name="connsiteX0" fmla="*/ 210026 w 419100"/>
                <a:gd name="connsiteY0" fmla="*/ 281464 h 419100"/>
                <a:gd name="connsiteX1" fmla="*/ 138589 w 419100"/>
                <a:gd name="connsiteY1" fmla="*/ 210026 h 419100"/>
                <a:gd name="connsiteX2" fmla="*/ 210026 w 419100"/>
                <a:gd name="connsiteY2" fmla="*/ 138589 h 419100"/>
                <a:gd name="connsiteX3" fmla="*/ 281464 w 419100"/>
                <a:gd name="connsiteY3" fmla="*/ 210026 h 419100"/>
                <a:gd name="connsiteX4" fmla="*/ 210026 w 419100"/>
                <a:gd name="connsiteY4" fmla="*/ 281464 h 419100"/>
                <a:gd name="connsiteX5" fmla="*/ 210026 w 419100"/>
                <a:gd name="connsiteY5" fmla="*/ 281464 h 419100"/>
                <a:gd name="connsiteX6" fmla="*/ 355759 w 419100"/>
                <a:gd name="connsiteY6" fmla="*/ 128111 h 419100"/>
                <a:gd name="connsiteX7" fmla="*/ 370999 w 419100"/>
                <a:gd name="connsiteY7" fmla="*/ 83344 h 419100"/>
                <a:gd name="connsiteX8" fmla="*/ 336709 w 419100"/>
                <a:gd name="connsiteY8" fmla="*/ 49054 h 419100"/>
                <a:gd name="connsiteX9" fmla="*/ 291941 w 419100"/>
                <a:gd name="connsiteY9" fmla="*/ 64294 h 419100"/>
                <a:gd name="connsiteX10" fmla="*/ 254794 w 419100"/>
                <a:gd name="connsiteY10" fmla="*/ 49054 h 419100"/>
                <a:gd name="connsiteX11" fmla="*/ 233839 w 419100"/>
                <a:gd name="connsiteY11" fmla="*/ 7144 h 419100"/>
                <a:gd name="connsiteX12" fmla="*/ 186214 w 419100"/>
                <a:gd name="connsiteY12" fmla="*/ 7144 h 419100"/>
                <a:gd name="connsiteX13" fmla="*/ 165259 w 419100"/>
                <a:gd name="connsiteY13" fmla="*/ 49054 h 419100"/>
                <a:gd name="connsiteX14" fmla="*/ 128111 w 419100"/>
                <a:gd name="connsiteY14" fmla="*/ 64294 h 419100"/>
                <a:gd name="connsiteX15" fmla="*/ 83344 w 419100"/>
                <a:gd name="connsiteY15" fmla="*/ 49054 h 419100"/>
                <a:gd name="connsiteX16" fmla="*/ 50006 w 419100"/>
                <a:gd name="connsiteY16" fmla="*/ 82391 h 419100"/>
                <a:gd name="connsiteX17" fmla="*/ 64294 w 419100"/>
                <a:gd name="connsiteY17" fmla="*/ 127159 h 419100"/>
                <a:gd name="connsiteX18" fmla="*/ 49054 w 419100"/>
                <a:gd name="connsiteY18" fmla="*/ 164306 h 419100"/>
                <a:gd name="connsiteX19" fmla="*/ 7144 w 419100"/>
                <a:gd name="connsiteY19" fmla="*/ 185261 h 419100"/>
                <a:gd name="connsiteX20" fmla="*/ 7144 w 419100"/>
                <a:gd name="connsiteY20" fmla="*/ 232886 h 419100"/>
                <a:gd name="connsiteX21" fmla="*/ 49054 w 419100"/>
                <a:gd name="connsiteY21" fmla="*/ 253841 h 419100"/>
                <a:gd name="connsiteX22" fmla="*/ 64294 w 419100"/>
                <a:gd name="connsiteY22" fmla="*/ 290989 h 419100"/>
                <a:gd name="connsiteX23" fmla="*/ 50006 w 419100"/>
                <a:gd name="connsiteY23" fmla="*/ 335756 h 419100"/>
                <a:gd name="connsiteX24" fmla="*/ 83344 w 419100"/>
                <a:gd name="connsiteY24" fmla="*/ 369094 h 419100"/>
                <a:gd name="connsiteX25" fmla="*/ 128111 w 419100"/>
                <a:gd name="connsiteY25" fmla="*/ 354806 h 419100"/>
                <a:gd name="connsiteX26" fmla="*/ 165259 w 419100"/>
                <a:gd name="connsiteY26" fmla="*/ 370046 h 419100"/>
                <a:gd name="connsiteX27" fmla="*/ 186214 w 419100"/>
                <a:gd name="connsiteY27" fmla="*/ 411956 h 419100"/>
                <a:gd name="connsiteX28" fmla="*/ 233839 w 419100"/>
                <a:gd name="connsiteY28" fmla="*/ 411956 h 419100"/>
                <a:gd name="connsiteX29" fmla="*/ 254794 w 419100"/>
                <a:gd name="connsiteY29" fmla="*/ 370046 h 419100"/>
                <a:gd name="connsiteX30" fmla="*/ 291941 w 419100"/>
                <a:gd name="connsiteY30" fmla="*/ 354806 h 419100"/>
                <a:gd name="connsiteX31" fmla="*/ 336709 w 419100"/>
                <a:gd name="connsiteY31" fmla="*/ 370046 h 419100"/>
                <a:gd name="connsiteX32" fmla="*/ 370046 w 419100"/>
                <a:gd name="connsiteY32" fmla="*/ 335756 h 419100"/>
                <a:gd name="connsiteX33" fmla="*/ 355759 w 419100"/>
                <a:gd name="connsiteY33" fmla="*/ 291941 h 419100"/>
                <a:gd name="connsiteX34" fmla="*/ 370999 w 419100"/>
                <a:gd name="connsiteY34" fmla="*/ 254794 h 419100"/>
                <a:gd name="connsiteX35" fmla="*/ 412909 w 419100"/>
                <a:gd name="connsiteY35" fmla="*/ 233839 h 419100"/>
                <a:gd name="connsiteX36" fmla="*/ 412909 w 419100"/>
                <a:gd name="connsiteY36" fmla="*/ 186214 h 419100"/>
                <a:gd name="connsiteX37" fmla="*/ 370999 w 419100"/>
                <a:gd name="connsiteY37" fmla="*/ 165259 h 419100"/>
                <a:gd name="connsiteX38" fmla="*/ 355759 w 419100"/>
                <a:gd name="connsiteY38" fmla="*/ 128111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9100" h="419100">
                  <a:moveTo>
                    <a:pt x="210026" y="281464"/>
                  </a:moveTo>
                  <a:cubicBezTo>
                    <a:pt x="170021" y="281464"/>
                    <a:pt x="138589" y="249079"/>
                    <a:pt x="138589" y="210026"/>
                  </a:cubicBezTo>
                  <a:cubicBezTo>
                    <a:pt x="138589" y="170021"/>
                    <a:pt x="170974" y="138589"/>
                    <a:pt x="210026" y="138589"/>
                  </a:cubicBezTo>
                  <a:cubicBezTo>
                    <a:pt x="250031" y="138589"/>
                    <a:pt x="281464" y="170974"/>
                    <a:pt x="281464" y="210026"/>
                  </a:cubicBezTo>
                  <a:cubicBezTo>
                    <a:pt x="281464" y="249079"/>
                    <a:pt x="250031" y="281464"/>
                    <a:pt x="210026" y="281464"/>
                  </a:cubicBezTo>
                  <a:lnTo>
                    <a:pt x="210026" y="281464"/>
                  </a:lnTo>
                  <a:close/>
                  <a:moveTo>
                    <a:pt x="355759" y="128111"/>
                  </a:moveTo>
                  <a:lnTo>
                    <a:pt x="370999" y="83344"/>
                  </a:lnTo>
                  <a:lnTo>
                    <a:pt x="336709" y="49054"/>
                  </a:lnTo>
                  <a:lnTo>
                    <a:pt x="291941" y="64294"/>
                  </a:lnTo>
                  <a:cubicBezTo>
                    <a:pt x="280511" y="57626"/>
                    <a:pt x="267176" y="52864"/>
                    <a:pt x="254794" y="49054"/>
                  </a:cubicBezTo>
                  <a:lnTo>
                    <a:pt x="233839" y="7144"/>
                  </a:lnTo>
                  <a:lnTo>
                    <a:pt x="186214" y="7144"/>
                  </a:lnTo>
                  <a:lnTo>
                    <a:pt x="165259" y="49054"/>
                  </a:lnTo>
                  <a:cubicBezTo>
                    <a:pt x="151924" y="52864"/>
                    <a:pt x="139541" y="57626"/>
                    <a:pt x="128111" y="64294"/>
                  </a:cubicBezTo>
                  <a:lnTo>
                    <a:pt x="83344" y="49054"/>
                  </a:lnTo>
                  <a:lnTo>
                    <a:pt x="50006" y="82391"/>
                  </a:lnTo>
                  <a:lnTo>
                    <a:pt x="64294" y="127159"/>
                  </a:lnTo>
                  <a:cubicBezTo>
                    <a:pt x="57626" y="138589"/>
                    <a:pt x="52864" y="151924"/>
                    <a:pt x="49054" y="164306"/>
                  </a:cubicBezTo>
                  <a:lnTo>
                    <a:pt x="7144" y="185261"/>
                  </a:lnTo>
                  <a:lnTo>
                    <a:pt x="7144" y="232886"/>
                  </a:lnTo>
                  <a:lnTo>
                    <a:pt x="49054" y="253841"/>
                  </a:lnTo>
                  <a:cubicBezTo>
                    <a:pt x="52864" y="267176"/>
                    <a:pt x="57626" y="279559"/>
                    <a:pt x="64294" y="290989"/>
                  </a:cubicBezTo>
                  <a:lnTo>
                    <a:pt x="50006" y="335756"/>
                  </a:lnTo>
                  <a:lnTo>
                    <a:pt x="83344" y="369094"/>
                  </a:lnTo>
                  <a:lnTo>
                    <a:pt x="128111" y="354806"/>
                  </a:lnTo>
                  <a:cubicBezTo>
                    <a:pt x="139541" y="361474"/>
                    <a:pt x="151924" y="366236"/>
                    <a:pt x="165259" y="370046"/>
                  </a:cubicBezTo>
                  <a:lnTo>
                    <a:pt x="186214" y="411956"/>
                  </a:lnTo>
                  <a:lnTo>
                    <a:pt x="233839" y="411956"/>
                  </a:lnTo>
                  <a:lnTo>
                    <a:pt x="254794" y="370046"/>
                  </a:lnTo>
                  <a:cubicBezTo>
                    <a:pt x="268129" y="366236"/>
                    <a:pt x="280511" y="361474"/>
                    <a:pt x="291941" y="354806"/>
                  </a:cubicBezTo>
                  <a:lnTo>
                    <a:pt x="336709" y="370046"/>
                  </a:lnTo>
                  <a:lnTo>
                    <a:pt x="370046" y="335756"/>
                  </a:lnTo>
                  <a:lnTo>
                    <a:pt x="355759" y="291941"/>
                  </a:lnTo>
                  <a:cubicBezTo>
                    <a:pt x="362426" y="280511"/>
                    <a:pt x="367189" y="268129"/>
                    <a:pt x="370999" y="254794"/>
                  </a:cubicBezTo>
                  <a:lnTo>
                    <a:pt x="412909" y="233839"/>
                  </a:lnTo>
                  <a:lnTo>
                    <a:pt x="412909" y="186214"/>
                  </a:lnTo>
                  <a:lnTo>
                    <a:pt x="370999" y="165259"/>
                  </a:lnTo>
                  <a:cubicBezTo>
                    <a:pt x="367189" y="151924"/>
                    <a:pt x="362426" y="139541"/>
                    <a:pt x="355759" y="128111"/>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0B806783-60DC-4BC0-8450-DFB83F2AF90C}"/>
              </a:ext>
            </a:extLst>
          </p:cNvPr>
          <p:cNvGrpSpPr/>
          <p:nvPr/>
        </p:nvGrpSpPr>
        <p:grpSpPr>
          <a:xfrm>
            <a:off x="1871917" y="1679381"/>
            <a:ext cx="8926175" cy="686909"/>
            <a:chOff x="4108883" y="3047094"/>
            <a:chExt cx="4009030" cy="686907"/>
          </a:xfrm>
        </p:grpSpPr>
        <p:sp>
          <p:nvSpPr>
            <p:cNvPr id="235" name="Left Brace 234">
              <a:extLst>
                <a:ext uri="{FF2B5EF4-FFF2-40B4-BE49-F238E27FC236}">
                  <a16:creationId xmlns:a16="http://schemas.microsoft.com/office/drawing/2014/main" id="{1A0893ED-66F9-4A30-884D-2811E9083B21}"/>
                </a:ext>
              </a:extLst>
            </p:cNvPr>
            <p:cNvSpPr/>
            <p:nvPr/>
          </p:nvSpPr>
          <p:spPr>
            <a:xfrm rot="5400000">
              <a:off x="5974898" y="1590986"/>
              <a:ext cx="277000" cy="4009030"/>
            </a:xfrm>
            <a:prstGeom prst="leftBrace">
              <a:avLst>
                <a:gd name="adj1" fmla="val 1905"/>
                <a:gd name="adj2" fmla="val 50000"/>
              </a:avLst>
            </a:prstGeom>
            <a:ln w="1270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C0"/>
                </a:solidFill>
                <a:effectLst/>
                <a:uLnTx/>
                <a:uFillTx/>
                <a:latin typeface="Segoe UI"/>
                <a:ea typeface="+mn-ea"/>
                <a:cs typeface="+mn-cs"/>
              </a:endParaRPr>
            </a:p>
          </p:txBody>
        </p:sp>
        <p:sp>
          <p:nvSpPr>
            <p:cNvPr id="236" name="TextBox 235">
              <a:extLst>
                <a:ext uri="{FF2B5EF4-FFF2-40B4-BE49-F238E27FC236}">
                  <a16:creationId xmlns:a16="http://schemas.microsoft.com/office/drawing/2014/main" id="{472ADACA-5118-410C-A877-13FE7F565B1D}"/>
                </a:ext>
              </a:extLst>
            </p:cNvPr>
            <p:cNvSpPr txBox="1"/>
            <p:nvPr/>
          </p:nvSpPr>
          <p:spPr>
            <a:xfrm>
              <a:off x="4545582" y="3047094"/>
              <a:ext cx="31366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a:ea typeface="+mn-ea"/>
                  <a:cs typeface="+mn-cs"/>
                </a:rPr>
                <a:t> Azure Search</a:t>
              </a:r>
            </a:p>
          </p:txBody>
        </p:sp>
      </p:grpSp>
      <p:sp>
        <p:nvSpPr>
          <p:cNvPr id="237" name="Rectangle 236">
            <a:extLst>
              <a:ext uri="{FF2B5EF4-FFF2-40B4-BE49-F238E27FC236}">
                <a16:creationId xmlns:a16="http://schemas.microsoft.com/office/drawing/2014/main" id="{4B49B36A-D8B6-43BB-AF3F-D107F9C29A1A}"/>
              </a:ext>
            </a:extLst>
          </p:cNvPr>
          <p:cNvSpPr/>
          <p:nvPr/>
        </p:nvSpPr>
        <p:spPr>
          <a:xfrm>
            <a:off x="9940141" y="3737522"/>
            <a:ext cx="129680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Search index</a:t>
            </a:r>
          </a:p>
        </p:txBody>
      </p:sp>
      <p:sp>
        <p:nvSpPr>
          <p:cNvPr id="238" name="Rectangle 237">
            <a:extLst>
              <a:ext uri="{FF2B5EF4-FFF2-40B4-BE49-F238E27FC236}">
                <a16:creationId xmlns:a16="http://schemas.microsoft.com/office/drawing/2014/main" id="{FE39383A-4A76-48B8-93CB-F3BD671604AF}"/>
              </a:ext>
            </a:extLst>
          </p:cNvPr>
          <p:cNvSpPr/>
          <p:nvPr/>
        </p:nvSpPr>
        <p:spPr>
          <a:xfrm>
            <a:off x="9523278" y="4740261"/>
            <a:ext cx="2113089" cy="461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rganize data in an index to make it searchable</a:t>
            </a:r>
          </a:p>
        </p:txBody>
      </p:sp>
      <p:grpSp>
        <p:nvGrpSpPr>
          <p:cNvPr id="239" name="Group 238">
            <a:extLst>
              <a:ext uri="{FF2B5EF4-FFF2-40B4-BE49-F238E27FC236}">
                <a16:creationId xmlns:a16="http://schemas.microsoft.com/office/drawing/2014/main" id="{8AC1403A-6974-4E39-903F-E50124E1586B}"/>
              </a:ext>
            </a:extLst>
          </p:cNvPr>
          <p:cNvGrpSpPr/>
          <p:nvPr/>
        </p:nvGrpSpPr>
        <p:grpSpPr>
          <a:xfrm>
            <a:off x="10378991" y="3218273"/>
            <a:ext cx="419101" cy="417513"/>
            <a:chOff x="7943850" y="1262063"/>
            <a:chExt cx="419101" cy="417513"/>
          </a:xfrm>
        </p:grpSpPr>
        <p:sp>
          <p:nvSpPr>
            <p:cNvPr id="240" name="Freeform 18">
              <a:extLst>
                <a:ext uri="{FF2B5EF4-FFF2-40B4-BE49-F238E27FC236}">
                  <a16:creationId xmlns:a16="http://schemas.microsoft.com/office/drawing/2014/main" id="{7A74FC3C-939A-4D28-8615-1192086AADC4}"/>
                </a:ext>
              </a:extLst>
            </p:cNvPr>
            <p:cNvSpPr>
              <a:spLocks/>
            </p:cNvSpPr>
            <p:nvPr/>
          </p:nvSpPr>
          <p:spPr bwMode="auto">
            <a:xfrm>
              <a:off x="8075613" y="1262063"/>
              <a:ext cx="287338" cy="287338"/>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1" name="Freeform 19">
              <a:extLst>
                <a:ext uri="{FF2B5EF4-FFF2-40B4-BE49-F238E27FC236}">
                  <a16:creationId xmlns:a16="http://schemas.microsoft.com/office/drawing/2014/main" id="{B69A9756-D44B-46A7-AA1F-D9200AE6DDD9}"/>
                </a:ext>
              </a:extLst>
            </p:cNvPr>
            <p:cNvSpPr>
              <a:spLocks/>
            </p:cNvSpPr>
            <p:nvPr/>
          </p:nvSpPr>
          <p:spPr bwMode="auto">
            <a:xfrm>
              <a:off x="7943850" y="1497013"/>
              <a:ext cx="182563" cy="182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2" name="Freeform 20">
              <a:extLst>
                <a:ext uri="{FF2B5EF4-FFF2-40B4-BE49-F238E27FC236}">
                  <a16:creationId xmlns:a16="http://schemas.microsoft.com/office/drawing/2014/main" id="{EF913F08-9C38-40D4-94C0-5B220B3CD3D0}"/>
                </a:ext>
              </a:extLst>
            </p:cNvPr>
            <p:cNvSpPr>
              <a:spLocks/>
            </p:cNvSpPr>
            <p:nvPr/>
          </p:nvSpPr>
          <p:spPr bwMode="auto">
            <a:xfrm>
              <a:off x="8101013" y="1287463"/>
              <a:ext cx="236538" cy="236538"/>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6" name="Title 1">
            <a:extLst>
              <a:ext uri="{FF2B5EF4-FFF2-40B4-BE49-F238E27FC236}">
                <a16:creationId xmlns:a16="http://schemas.microsoft.com/office/drawing/2014/main" id="{2D8A7621-D809-451F-BEF3-998872E089DC}"/>
              </a:ext>
            </a:extLst>
          </p:cNvPr>
          <p:cNvSpPr txBox="1">
            <a:spLocks/>
          </p:cNvSpPr>
          <p:nvPr/>
        </p:nvSpPr>
        <p:spPr>
          <a:xfrm>
            <a:off x="258448" y="577702"/>
            <a:ext cx="11463498" cy="838027"/>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ea typeface="+mn-ea"/>
                <a:cs typeface="Segoe UI" pitchFamily="34" charset="0"/>
              </a:rPr>
              <a:t>Knowledge Mining – Azure &amp; Cognitive Search</a:t>
            </a:r>
          </a:p>
        </p:txBody>
      </p:sp>
    </p:spTree>
    <p:extLst>
      <p:ext uri="{BB962C8B-B14F-4D97-AF65-F5344CB8AC3E}">
        <p14:creationId xmlns:p14="http://schemas.microsoft.com/office/powerpoint/2010/main" val="363577493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67ACED00-315A-4DDD-B655-180CEFCCC74F}"/>
              </a:ext>
            </a:extLst>
          </p:cNvPr>
          <p:cNvSpPr txBox="1">
            <a:spLocks/>
          </p:cNvSpPr>
          <p:nvPr/>
        </p:nvSpPr>
        <p:spPr>
          <a:xfrm>
            <a:off x="258448" y="559724"/>
            <a:ext cx="10833261" cy="856006"/>
          </a:xfrm>
          <a:prstGeom prst="rect">
            <a:avLst/>
          </a:prstGeom>
        </p:spPr>
        <p:txBody>
          <a:bodyPr vert="horz" wrap="square" lIns="146304" tIns="91440" rIns="146304" bIns="91440" rtlCol="0" anchor="t">
            <a:no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a:ln w="3175">
                  <a:noFill/>
                </a:ln>
                <a:solidFill>
                  <a:srgbClr val="505050"/>
                </a:solidFill>
                <a:effectLst/>
                <a:uLnTx/>
                <a:uFillTx/>
                <a:ea typeface="+mn-ea"/>
                <a:cs typeface="Segoe UI" pitchFamily="34" charset="0"/>
              </a:rPr>
              <a:t>Why</a:t>
            </a:r>
            <a:r>
              <a:rPr kumimoji="0" lang="en-US" sz="4400" b="1" i="0" u="none" strike="noStrike" kern="1200" cap="none" spc="-100" normalizeH="0" baseline="0" noProof="0">
                <a:ln w="3175">
                  <a:noFill/>
                </a:ln>
                <a:solidFill>
                  <a:srgbClr val="0078D7"/>
                </a:solidFill>
                <a:effectLst/>
                <a:uLnTx/>
                <a:uFillTx/>
                <a:ea typeface="+mn-ea"/>
                <a:cs typeface="Segoe UI" pitchFamily="34" charset="0"/>
              </a:rPr>
              <a:t> Azure </a:t>
            </a:r>
            <a:r>
              <a:rPr kumimoji="0" lang="en-US" sz="4400" b="1" i="0" u="none" strike="noStrike" kern="1200" cap="none" spc="-100" normalizeH="0" baseline="0" noProof="0">
                <a:ln w="3175">
                  <a:noFill/>
                </a:ln>
                <a:solidFill>
                  <a:srgbClr val="505050"/>
                </a:solidFill>
                <a:effectLst/>
                <a:uLnTx/>
                <a:uFillTx/>
                <a:ea typeface="+mn-ea"/>
                <a:cs typeface="Segoe UI" pitchFamily="34" charset="0"/>
              </a:rPr>
              <a:t>for Knowledge Mining?</a:t>
            </a:r>
          </a:p>
        </p:txBody>
      </p:sp>
      <p:sp>
        <p:nvSpPr>
          <p:cNvPr id="37" name="Rectangle 36">
            <a:extLst>
              <a:ext uri="{FF2B5EF4-FFF2-40B4-BE49-F238E27FC236}">
                <a16:creationId xmlns:a16="http://schemas.microsoft.com/office/drawing/2014/main" id="{A3E0CD0A-539E-4E77-AF2B-FE336926BAED}"/>
              </a:ext>
            </a:extLst>
          </p:cNvPr>
          <p:cNvSpPr/>
          <p:nvPr/>
        </p:nvSpPr>
        <p:spPr>
          <a:xfrm>
            <a:off x="313872" y="2400984"/>
            <a:ext cx="271009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Light"/>
                <a:ea typeface="+mn-ea"/>
                <a:cs typeface="+mn-cs"/>
              </a:rPr>
              <a:t>Fully managed search experience</a:t>
            </a:r>
          </a:p>
        </p:txBody>
      </p:sp>
      <p:sp>
        <p:nvSpPr>
          <p:cNvPr id="38" name="Rectangle 37">
            <a:extLst>
              <a:ext uri="{FF2B5EF4-FFF2-40B4-BE49-F238E27FC236}">
                <a16:creationId xmlns:a16="http://schemas.microsoft.com/office/drawing/2014/main" id="{7DB83E32-0A4F-4909-A276-75F0166CC773}"/>
              </a:ext>
            </a:extLst>
          </p:cNvPr>
          <p:cNvSpPr/>
          <p:nvPr/>
        </p:nvSpPr>
        <p:spPr>
          <a:xfrm>
            <a:off x="3285897" y="2400984"/>
            <a:ext cx="271009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Light"/>
                <a:ea typeface="+mn-ea"/>
                <a:cs typeface="Segoe UI" panose="020B0502040204020203" pitchFamily="34" charset="0"/>
              </a:rPr>
              <a:t>One-click integration of AI services</a:t>
            </a:r>
          </a:p>
        </p:txBody>
      </p:sp>
      <p:sp>
        <p:nvSpPr>
          <p:cNvPr id="40" name="Rectangle 39">
            <a:extLst>
              <a:ext uri="{FF2B5EF4-FFF2-40B4-BE49-F238E27FC236}">
                <a16:creationId xmlns:a16="http://schemas.microsoft.com/office/drawing/2014/main" id="{3E060713-56EE-46E0-B311-0578FA240957}"/>
              </a:ext>
            </a:extLst>
          </p:cNvPr>
          <p:cNvSpPr/>
          <p:nvPr/>
        </p:nvSpPr>
        <p:spPr>
          <a:xfrm>
            <a:off x="6257922" y="2400984"/>
            <a:ext cx="247417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Light"/>
                <a:ea typeface="+mn-ea"/>
                <a:cs typeface="Segoe UI" panose="020B0502040204020203" pitchFamily="34" charset="0"/>
              </a:rPr>
              <a:t>Customize to your specific business needs </a:t>
            </a:r>
          </a:p>
        </p:txBody>
      </p:sp>
      <p:sp>
        <p:nvSpPr>
          <p:cNvPr id="41" name="Rectangle 40">
            <a:extLst>
              <a:ext uri="{FF2B5EF4-FFF2-40B4-BE49-F238E27FC236}">
                <a16:creationId xmlns:a16="http://schemas.microsoft.com/office/drawing/2014/main" id="{06DD33A8-0B4B-41B0-ACAA-17E9A9D470CA}"/>
              </a:ext>
            </a:extLst>
          </p:cNvPr>
          <p:cNvSpPr/>
          <p:nvPr/>
        </p:nvSpPr>
        <p:spPr>
          <a:xfrm>
            <a:off x="9250626" y="2400984"/>
            <a:ext cx="247417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Light"/>
                <a:ea typeface="+mn-ea"/>
                <a:cs typeface="Segoe UI" panose="020B0502040204020203" pitchFamily="34" charset="0"/>
              </a:rPr>
              <a:t>Secure and reliable </a:t>
            </a:r>
          </a:p>
        </p:txBody>
      </p:sp>
      <p:grpSp>
        <p:nvGrpSpPr>
          <p:cNvPr id="42" name="Group 308">
            <a:extLst>
              <a:ext uri="{FF2B5EF4-FFF2-40B4-BE49-F238E27FC236}">
                <a16:creationId xmlns:a16="http://schemas.microsoft.com/office/drawing/2014/main" id="{91CA97C7-CFAD-4A81-A4EA-1DAD5DB55509}"/>
              </a:ext>
            </a:extLst>
          </p:cNvPr>
          <p:cNvGrpSpPr>
            <a:grpSpLocks noChangeAspect="1"/>
          </p:cNvGrpSpPr>
          <p:nvPr/>
        </p:nvGrpSpPr>
        <p:grpSpPr bwMode="auto">
          <a:xfrm>
            <a:off x="1279983" y="1566765"/>
            <a:ext cx="722412" cy="719502"/>
            <a:chOff x="6763" y="3372"/>
            <a:chExt cx="248" cy="247"/>
          </a:xfrm>
        </p:grpSpPr>
        <p:sp>
          <p:nvSpPr>
            <p:cNvPr id="43" name="Freeform 309">
              <a:extLst>
                <a:ext uri="{FF2B5EF4-FFF2-40B4-BE49-F238E27FC236}">
                  <a16:creationId xmlns:a16="http://schemas.microsoft.com/office/drawing/2014/main" id="{9ABAF7EA-B713-481F-9428-D9ECB64E0E35}"/>
                </a:ext>
              </a:extLst>
            </p:cNvPr>
            <p:cNvSpPr>
              <a:spLocks/>
            </p:cNvSpPr>
            <p:nvPr/>
          </p:nvSpPr>
          <p:spPr bwMode="auto">
            <a:xfrm>
              <a:off x="6796" y="3404"/>
              <a:ext cx="166" cy="116"/>
            </a:xfrm>
            <a:custGeom>
              <a:avLst/>
              <a:gdLst>
                <a:gd name="T0" fmla="*/ 163 w 267"/>
                <a:gd name="T1" fmla="*/ 187 h 187"/>
                <a:gd name="T2" fmla="*/ 163 w 267"/>
                <a:gd name="T3" fmla="*/ 187 h 187"/>
                <a:gd name="T4" fmla="*/ 267 w 267"/>
                <a:gd name="T5" fmla="*/ 84 h 187"/>
                <a:gd name="T6" fmla="*/ 267 w 267"/>
                <a:gd name="T7" fmla="*/ 84 h 187"/>
                <a:gd name="T8" fmla="*/ 267 w 267"/>
                <a:gd name="T9" fmla="*/ 0 h 187"/>
                <a:gd name="T10" fmla="*/ 0 w 267"/>
                <a:gd name="T11" fmla="*/ 0 h 187"/>
                <a:gd name="T12" fmla="*/ 0 w 267"/>
                <a:gd name="T13" fmla="*/ 187 h 187"/>
                <a:gd name="T14" fmla="*/ 163 w 267"/>
                <a:gd name="T15" fmla="*/ 187 h 187"/>
                <a:gd name="T16" fmla="*/ 163 w 267"/>
                <a:gd name="T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87">
                  <a:moveTo>
                    <a:pt x="163" y="187"/>
                  </a:moveTo>
                  <a:lnTo>
                    <a:pt x="163" y="187"/>
                  </a:lnTo>
                  <a:cubicBezTo>
                    <a:pt x="163" y="130"/>
                    <a:pt x="210" y="83"/>
                    <a:pt x="267" y="84"/>
                  </a:cubicBezTo>
                  <a:lnTo>
                    <a:pt x="267" y="84"/>
                  </a:lnTo>
                  <a:lnTo>
                    <a:pt x="267" y="0"/>
                  </a:lnTo>
                  <a:lnTo>
                    <a:pt x="0" y="0"/>
                  </a:lnTo>
                  <a:lnTo>
                    <a:pt x="0" y="187"/>
                  </a:lnTo>
                  <a:lnTo>
                    <a:pt x="163" y="187"/>
                  </a:lnTo>
                  <a:lnTo>
                    <a:pt x="163" y="18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310">
              <a:extLst>
                <a:ext uri="{FF2B5EF4-FFF2-40B4-BE49-F238E27FC236}">
                  <a16:creationId xmlns:a16="http://schemas.microsoft.com/office/drawing/2014/main" id="{0D5CEBE2-F5D9-4081-845B-2B57A74BAD33}"/>
                </a:ext>
              </a:extLst>
            </p:cNvPr>
            <p:cNvSpPr>
              <a:spLocks/>
            </p:cNvSpPr>
            <p:nvPr/>
          </p:nvSpPr>
          <p:spPr bwMode="auto">
            <a:xfrm>
              <a:off x="6763" y="3372"/>
              <a:ext cx="166" cy="115"/>
            </a:xfrm>
            <a:custGeom>
              <a:avLst/>
              <a:gdLst>
                <a:gd name="T0" fmla="*/ 267 w 267"/>
                <a:gd name="T1" fmla="*/ 0 h 185"/>
                <a:gd name="T2" fmla="*/ 267 w 267"/>
                <a:gd name="T3" fmla="*/ 0 h 185"/>
                <a:gd name="T4" fmla="*/ 1 w 267"/>
                <a:gd name="T5" fmla="*/ 0 h 185"/>
                <a:gd name="T6" fmla="*/ 0 w 267"/>
                <a:gd name="T7" fmla="*/ 185 h 185"/>
                <a:gd name="T8" fmla="*/ 27 w 267"/>
                <a:gd name="T9" fmla="*/ 185 h 185"/>
                <a:gd name="T10" fmla="*/ 27 w 267"/>
                <a:gd name="T11" fmla="*/ 27 h 185"/>
                <a:gd name="T12" fmla="*/ 267 w 267"/>
                <a:gd name="T13" fmla="*/ 27 h 185"/>
                <a:gd name="T14" fmla="*/ 267 w 267"/>
                <a:gd name="T15" fmla="*/ 0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85">
                  <a:moveTo>
                    <a:pt x="267" y="0"/>
                  </a:moveTo>
                  <a:lnTo>
                    <a:pt x="267" y="0"/>
                  </a:lnTo>
                  <a:lnTo>
                    <a:pt x="1" y="0"/>
                  </a:lnTo>
                  <a:lnTo>
                    <a:pt x="0" y="185"/>
                  </a:lnTo>
                  <a:lnTo>
                    <a:pt x="27" y="185"/>
                  </a:lnTo>
                  <a:lnTo>
                    <a:pt x="27" y="27"/>
                  </a:lnTo>
                  <a:lnTo>
                    <a:pt x="267" y="27"/>
                  </a:lnTo>
                  <a:lnTo>
                    <a:pt x="267"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311">
              <a:extLst>
                <a:ext uri="{FF2B5EF4-FFF2-40B4-BE49-F238E27FC236}">
                  <a16:creationId xmlns:a16="http://schemas.microsoft.com/office/drawing/2014/main" id="{D6039661-75D5-4A21-BD80-98FDE059DED9}"/>
                </a:ext>
              </a:extLst>
            </p:cNvPr>
            <p:cNvSpPr>
              <a:spLocks noEditPoints="1"/>
            </p:cNvSpPr>
            <p:nvPr/>
          </p:nvSpPr>
          <p:spPr bwMode="auto">
            <a:xfrm>
              <a:off x="6862" y="3471"/>
              <a:ext cx="149" cy="148"/>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7" name="Group 308">
            <a:extLst>
              <a:ext uri="{FF2B5EF4-FFF2-40B4-BE49-F238E27FC236}">
                <a16:creationId xmlns:a16="http://schemas.microsoft.com/office/drawing/2014/main" id="{E940CAFA-7696-467A-9E49-1CD3112CC0F5}"/>
              </a:ext>
            </a:extLst>
          </p:cNvPr>
          <p:cNvGrpSpPr>
            <a:grpSpLocks noChangeAspect="1"/>
          </p:cNvGrpSpPr>
          <p:nvPr/>
        </p:nvGrpSpPr>
        <p:grpSpPr bwMode="auto">
          <a:xfrm>
            <a:off x="10178666" y="1541147"/>
            <a:ext cx="534790" cy="706782"/>
            <a:chOff x="4171" y="796"/>
            <a:chExt cx="199" cy="263"/>
          </a:xfrm>
        </p:grpSpPr>
        <p:sp>
          <p:nvSpPr>
            <p:cNvPr id="48" name="Freeform 309">
              <a:extLst>
                <a:ext uri="{FF2B5EF4-FFF2-40B4-BE49-F238E27FC236}">
                  <a16:creationId xmlns:a16="http://schemas.microsoft.com/office/drawing/2014/main" id="{1C9D393E-4936-4AE4-A971-69985F5CF322}"/>
                </a:ext>
              </a:extLst>
            </p:cNvPr>
            <p:cNvSpPr>
              <a:spLocks noEditPoints="1"/>
            </p:cNvSpPr>
            <p:nvPr/>
          </p:nvSpPr>
          <p:spPr bwMode="auto">
            <a:xfrm>
              <a:off x="4171" y="796"/>
              <a:ext cx="199" cy="116"/>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310">
              <a:extLst>
                <a:ext uri="{FF2B5EF4-FFF2-40B4-BE49-F238E27FC236}">
                  <a16:creationId xmlns:a16="http://schemas.microsoft.com/office/drawing/2014/main" id="{AC24DAA6-24A2-435C-930A-579F9632444C}"/>
                </a:ext>
              </a:extLst>
            </p:cNvPr>
            <p:cNvSpPr>
              <a:spLocks noEditPoints="1"/>
            </p:cNvSpPr>
            <p:nvPr/>
          </p:nvSpPr>
          <p:spPr bwMode="auto">
            <a:xfrm>
              <a:off x="4171" y="912"/>
              <a:ext cx="199" cy="147"/>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311">
              <a:extLst>
                <a:ext uri="{FF2B5EF4-FFF2-40B4-BE49-F238E27FC236}">
                  <a16:creationId xmlns:a16="http://schemas.microsoft.com/office/drawing/2014/main" id="{7ADD3A19-D41E-4339-9DB9-5D97E15A469A}"/>
                </a:ext>
              </a:extLst>
            </p:cNvPr>
            <p:cNvSpPr>
              <a:spLocks/>
            </p:cNvSpPr>
            <p:nvPr/>
          </p:nvSpPr>
          <p:spPr bwMode="auto">
            <a:xfrm>
              <a:off x="4253" y="973"/>
              <a:ext cx="33" cy="3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7" name="Group 205">
            <a:extLst>
              <a:ext uri="{FF2B5EF4-FFF2-40B4-BE49-F238E27FC236}">
                <a16:creationId xmlns:a16="http://schemas.microsoft.com/office/drawing/2014/main" id="{2FD83F25-5B55-4EB6-B9E7-60D8C747B719}"/>
              </a:ext>
            </a:extLst>
          </p:cNvPr>
          <p:cNvGrpSpPr>
            <a:grpSpLocks noChangeAspect="1"/>
          </p:cNvGrpSpPr>
          <p:nvPr/>
        </p:nvGrpSpPr>
        <p:grpSpPr bwMode="auto">
          <a:xfrm>
            <a:off x="4212206" y="1607011"/>
            <a:ext cx="554903" cy="593259"/>
            <a:chOff x="1563" y="2741"/>
            <a:chExt cx="217" cy="232"/>
          </a:xfrm>
        </p:grpSpPr>
        <p:sp>
          <p:nvSpPr>
            <p:cNvPr id="78" name="Freeform 206">
              <a:extLst>
                <a:ext uri="{FF2B5EF4-FFF2-40B4-BE49-F238E27FC236}">
                  <a16:creationId xmlns:a16="http://schemas.microsoft.com/office/drawing/2014/main" id="{61B9C08D-D835-487F-AC88-515C01F38E8F}"/>
                </a:ext>
              </a:extLst>
            </p:cNvPr>
            <p:cNvSpPr>
              <a:spLocks/>
            </p:cNvSpPr>
            <p:nvPr/>
          </p:nvSpPr>
          <p:spPr bwMode="auto">
            <a:xfrm>
              <a:off x="1563" y="2741"/>
              <a:ext cx="75" cy="120"/>
            </a:xfrm>
            <a:custGeom>
              <a:avLst/>
              <a:gdLst>
                <a:gd name="T0" fmla="*/ 89 w 120"/>
                <a:gd name="T1" fmla="*/ 182 h 193"/>
                <a:gd name="T2" fmla="*/ 89 w 120"/>
                <a:gd name="T3" fmla="*/ 182 h 193"/>
                <a:gd name="T4" fmla="*/ 61 w 120"/>
                <a:gd name="T5" fmla="*/ 120 h 193"/>
                <a:gd name="T6" fmla="*/ 120 w 120"/>
                <a:gd name="T7" fmla="*/ 120 h 193"/>
                <a:gd name="T8" fmla="*/ 0 w 120"/>
                <a:gd name="T9" fmla="*/ 0 h 193"/>
                <a:gd name="T10" fmla="*/ 0 w 120"/>
                <a:gd name="T11" fmla="*/ 168 h 193"/>
                <a:gd name="T12" fmla="*/ 37 w 120"/>
                <a:gd name="T13" fmla="*/ 131 h 193"/>
                <a:gd name="T14" fmla="*/ 65 w 120"/>
                <a:gd name="T15" fmla="*/ 193 h 193"/>
                <a:gd name="T16" fmla="*/ 89 w 120"/>
                <a:gd name="T17" fmla="*/ 1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93">
                  <a:moveTo>
                    <a:pt x="89" y="182"/>
                  </a:moveTo>
                  <a:lnTo>
                    <a:pt x="89" y="182"/>
                  </a:lnTo>
                  <a:lnTo>
                    <a:pt x="61" y="120"/>
                  </a:lnTo>
                  <a:lnTo>
                    <a:pt x="120" y="120"/>
                  </a:lnTo>
                  <a:lnTo>
                    <a:pt x="0" y="0"/>
                  </a:lnTo>
                  <a:lnTo>
                    <a:pt x="0" y="168"/>
                  </a:lnTo>
                  <a:lnTo>
                    <a:pt x="37" y="131"/>
                  </a:lnTo>
                  <a:lnTo>
                    <a:pt x="65" y="193"/>
                  </a:lnTo>
                  <a:lnTo>
                    <a:pt x="89" y="182"/>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207">
              <a:extLst>
                <a:ext uri="{FF2B5EF4-FFF2-40B4-BE49-F238E27FC236}">
                  <a16:creationId xmlns:a16="http://schemas.microsoft.com/office/drawing/2014/main" id="{1D352C05-8001-412A-A223-9262B66DF95B}"/>
                </a:ext>
              </a:extLst>
            </p:cNvPr>
            <p:cNvSpPr>
              <a:spLocks/>
            </p:cNvSpPr>
            <p:nvPr/>
          </p:nvSpPr>
          <p:spPr bwMode="auto">
            <a:xfrm>
              <a:off x="1599" y="2757"/>
              <a:ext cx="181" cy="216"/>
            </a:xfrm>
            <a:custGeom>
              <a:avLst/>
              <a:gdLst>
                <a:gd name="T0" fmla="*/ 270 w 291"/>
                <a:gd name="T1" fmla="*/ 105 h 348"/>
                <a:gd name="T2" fmla="*/ 270 w 291"/>
                <a:gd name="T3" fmla="*/ 105 h 348"/>
                <a:gd name="T4" fmla="*/ 250 w 291"/>
                <a:gd name="T5" fmla="*/ 125 h 348"/>
                <a:gd name="T6" fmla="*/ 250 w 291"/>
                <a:gd name="T7" fmla="*/ 162 h 348"/>
                <a:gd name="T8" fmla="*/ 237 w 291"/>
                <a:gd name="T9" fmla="*/ 162 h 348"/>
                <a:gd name="T10" fmla="*/ 237 w 291"/>
                <a:gd name="T11" fmla="*/ 96 h 348"/>
                <a:gd name="T12" fmla="*/ 216 w 291"/>
                <a:gd name="T13" fmla="*/ 76 h 348"/>
                <a:gd name="T14" fmla="*/ 196 w 291"/>
                <a:gd name="T15" fmla="*/ 96 h 348"/>
                <a:gd name="T16" fmla="*/ 196 w 291"/>
                <a:gd name="T17" fmla="*/ 162 h 348"/>
                <a:gd name="T18" fmla="*/ 183 w 291"/>
                <a:gd name="T19" fmla="*/ 162 h 348"/>
                <a:gd name="T20" fmla="*/ 183 w 291"/>
                <a:gd name="T21" fmla="*/ 96 h 348"/>
                <a:gd name="T22" fmla="*/ 163 w 291"/>
                <a:gd name="T23" fmla="*/ 76 h 348"/>
                <a:gd name="T24" fmla="*/ 143 w 291"/>
                <a:gd name="T25" fmla="*/ 96 h 348"/>
                <a:gd name="T26" fmla="*/ 143 w 291"/>
                <a:gd name="T27" fmla="*/ 162 h 348"/>
                <a:gd name="T28" fmla="*/ 130 w 291"/>
                <a:gd name="T29" fmla="*/ 162 h 348"/>
                <a:gd name="T30" fmla="*/ 130 w 291"/>
                <a:gd name="T31" fmla="*/ 20 h 348"/>
                <a:gd name="T32" fmla="*/ 110 w 291"/>
                <a:gd name="T33" fmla="*/ 0 h 348"/>
                <a:gd name="T34" fmla="*/ 90 w 291"/>
                <a:gd name="T35" fmla="*/ 20 h 348"/>
                <a:gd name="T36" fmla="*/ 90 w 291"/>
                <a:gd name="T37" fmla="*/ 162 h 348"/>
                <a:gd name="T38" fmla="*/ 90 w 291"/>
                <a:gd name="T39" fmla="*/ 214 h 348"/>
                <a:gd name="T40" fmla="*/ 44 w 291"/>
                <a:gd name="T41" fmla="*/ 195 h 348"/>
                <a:gd name="T42" fmla="*/ 7 w 291"/>
                <a:gd name="T43" fmla="*/ 197 h 348"/>
                <a:gd name="T44" fmla="*/ 8 w 291"/>
                <a:gd name="T45" fmla="*/ 216 h 348"/>
                <a:gd name="T46" fmla="*/ 118 w 291"/>
                <a:gd name="T47" fmla="*/ 326 h 348"/>
                <a:gd name="T48" fmla="*/ 204 w 291"/>
                <a:gd name="T49" fmla="*/ 342 h 348"/>
                <a:gd name="T50" fmla="*/ 290 w 291"/>
                <a:gd name="T51" fmla="*/ 277 h 348"/>
                <a:gd name="T52" fmla="*/ 290 w 291"/>
                <a:gd name="T53" fmla="*/ 164 h 348"/>
                <a:gd name="T54" fmla="*/ 290 w 291"/>
                <a:gd name="T55" fmla="*/ 162 h 348"/>
                <a:gd name="T56" fmla="*/ 290 w 291"/>
                <a:gd name="T57" fmla="*/ 125 h 348"/>
                <a:gd name="T58" fmla="*/ 270 w 291"/>
                <a:gd name="T59" fmla="*/ 10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1" h="348">
                  <a:moveTo>
                    <a:pt x="270" y="105"/>
                  </a:moveTo>
                  <a:lnTo>
                    <a:pt x="270" y="105"/>
                  </a:lnTo>
                  <a:cubicBezTo>
                    <a:pt x="259" y="105"/>
                    <a:pt x="250" y="114"/>
                    <a:pt x="250" y="125"/>
                  </a:cubicBezTo>
                  <a:lnTo>
                    <a:pt x="250" y="162"/>
                  </a:lnTo>
                  <a:lnTo>
                    <a:pt x="237" y="162"/>
                  </a:lnTo>
                  <a:lnTo>
                    <a:pt x="237" y="96"/>
                  </a:lnTo>
                  <a:cubicBezTo>
                    <a:pt x="237" y="85"/>
                    <a:pt x="228" y="76"/>
                    <a:pt x="216" y="76"/>
                  </a:cubicBezTo>
                  <a:cubicBezTo>
                    <a:pt x="205" y="76"/>
                    <a:pt x="196" y="85"/>
                    <a:pt x="196" y="96"/>
                  </a:cubicBezTo>
                  <a:lnTo>
                    <a:pt x="196" y="162"/>
                  </a:lnTo>
                  <a:lnTo>
                    <a:pt x="183" y="162"/>
                  </a:lnTo>
                  <a:lnTo>
                    <a:pt x="183" y="96"/>
                  </a:lnTo>
                  <a:cubicBezTo>
                    <a:pt x="183" y="85"/>
                    <a:pt x="174" y="76"/>
                    <a:pt x="163" y="76"/>
                  </a:cubicBezTo>
                  <a:cubicBezTo>
                    <a:pt x="152" y="76"/>
                    <a:pt x="143" y="85"/>
                    <a:pt x="143" y="96"/>
                  </a:cubicBezTo>
                  <a:lnTo>
                    <a:pt x="143" y="162"/>
                  </a:lnTo>
                  <a:lnTo>
                    <a:pt x="130" y="162"/>
                  </a:lnTo>
                  <a:lnTo>
                    <a:pt x="130" y="20"/>
                  </a:lnTo>
                  <a:cubicBezTo>
                    <a:pt x="130" y="9"/>
                    <a:pt x="121" y="0"/>
                    <a:pt x="110" y="0"/>
                  </a:cubicBezTo>
                  <a:cubicBezTo>
                    <a:pt x="98" y="0"/>
                    <a:pt x="90" y="9"/>
                    <a:pt x="90" y="20"/>
                  </a:cubicBezTo>
                  <a:lnTo>
                    <a:pt x="90" y="162"/>
                  </a:lnTo>
                  <a:lnTo>
                    <a:pt x="90" y="214"/>
                  </a:lnTo>
                  <a:lnTo>
                    <a:pt x="44" y="195"/>
                  </a:lnTo>
                  <a:cubicBezTo>
                    <a:pt x="44" y="195"/>
                    <a:pt x="15" y="185"/>
                    <a:pt x="7" y="197"/>
                  </a:cubicBezTo>
                  <a:cubicBezTo>
                    <a:pt x="0" y="209"/>
                    <a:pt x="8" y="216"/>
                    <a:pt x="8" y="216"/>
                  </a:cubicBezTo>
                  <a:lnTo>
                    <a:pt x="118" y="326"/>
                  </a:lnTo>
                  <a:cubicBezTo>
                    <a:pt x="145" y="348"/>
                    <a:pt x="204" y="342"/>
                    <a:pt x="204" y="342"/>
                  </a:cubicBezTo>
                  <a:cubicBezTo>
                    <a:pt x="291" y="333"/>
                    <a:pt x="290" y="277"/>
                    <a:pt x="290" y="277"/>
                  </a:cubicBezTo>
                  <a:lnTo>
                    <a:pt x="290" y="164"/>
                  </a:lnTo>
                  <a:lnTo>
                    <a:pt x="290" y="162"/>
                  </a:lnTo>
                  <a:lnTo>
                    <a:pt x="290" y="125"/>
                  </a:lnTo>
                  <a:cubicBezTo>
                    <a:pt x="290" y="114"/>
                    <a:pt x="281" y="105"/>
                    <a:pt x="270" y="105"/>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0" name="Freeform 28">
            <a:extLst>
              <a:ext uri="{FF2B5EF4-FFF2-40B4-BE49-F238E27FC236}">
                <a16:creationId xmlns:a16="http://schemas.microsoft.com/office/drawing/2014/main" id="{7651AFB9-CCE1-4D82-BA9C-6A8983BE6748}"/>
              </a:ext>
            </a:extLst>
          </p:cNvPr>
          <p:cNvSpPr>
            <a:spLocks/>
          </p:cNvSpPr>
          <p:nvPr/>
        </p:nvSpPr>
        <p:spPr bwMode="auto">
          <a:xfrm>
            <a:off x="7277014" y="1687359"/>
            <a:ext cx="547508" cy="547508"/>
          </a:xfrm>
          <a:custGeom>
            <a:avLst/>
            <a:gdLst>
              <a:gd name="T0" fmla="*/ 3 w 373"/>
              <a:gd name="T1" fmla="*/ 314 h 374"/>
              <a:gd name="T2" fmla="*/ 3 w 373"/>
              <a:gd name="T3" fmla="*/ 314 h 374"/>
              <a:gd name="T4" fmla="*/ 0 w 373"/>
              <a:gd name="T5" fmla="*/ 331 h 374"/>
              <a:gd name="T6" fmla="*/ 4 w 373"/>
              <a:gd name="T7" fmla="*/ 347 h 374"/>
              <a:gd name="T8" fmla="*/ 13 w 373"/>
              <a:gd name="T9" fmla="*/ 361 h 374"/>
              <a:gd name="T10" fmla="*/ 27 w 373"/>
              <a:gd name="T11" fmla="*/ 370 h 374"/>
              <a:gd name="T12" fmla="*/ 43 w 373"/>
              <a:gd name="T13" fmla="*/ 374 h 374"/>
              <a:gd name="T14" fmla="*/ 60 w 373"/>
              <a:gd name="T15" fmla="*/ 370 h 374"/>
              <a:gd name="T16" fmla="*/ 74 w 373"/>
              <a:gd name="T17" fmla="*/ 361 h 374"/>
              <a:gd name="T18" fmla="*/ 252 w 373"/>
              <a:gd name="T19" fmla="*/ 183 h 374"/>
              <a:gd name="T20" fmla="*/ 266 w 373"/>
              <a:gd name="T21" fmla="*/ 186 h 374"/>
              <a:gd name="T22" fmla="*/ 280 w 373"/>
              <a:gd name="T23" fmla="*/ 187 h 374"/>
              <a:gd name="T24" fmla="*/ 317 w 373"/>
              <a:gd name="T25" fmla="*/ 180 h 374"/>
              <a:gd name="T26" fmla="*/ 346 w 373"/>
              <a:gd name="T27" fmla="*/ 160 h 374"/>
              <a:gd name="T28" fmla="*/ 366 w 373"/>
              <a:gd name="T29" fmla="*/ 130 h 374"/>
              <a:gd name="T30" fmla="*/ 373 w 373"/>
              <a:gd name="T31" fmla="*/ 94 h 374"/>
              <a:gd name="T32" fmla="*/ 368 w 373"/>
              <a:gd name="T33" fmla="*/ 64 h 374"/>
              <a:gd name="T34" fmla="*/ 293 w 373"/>
              <a:gd name="T35" fmla="*/ 139 h 374"/>
              <a:gd name="T36" fmla="*/ 235 w 373"/>
              <a:gd name="T37" fmla="*/ 80 h 374"/>
              <a:gd name="T38" fmla="*/ 310 w 373"/>
              <a:gd name="T39" fmla="*/ 5 h 374"/>
              <a:gd name="T40" fmla="*/ 280 w 373"/>
              <a:gd name="T41" fmla="*/ 0 h 374"/>
              <a:gd name="T42" fmla="*/ 244 w 373"/>
              <a:gd name="T43" fmla="*/ 8 h 374"/>
              <a:gd name="T44" fmla="*/ 214 w 373"/>
              <a:gd name="T45" fmla="*/ 28 h 374"/>
              <a:gd name="T46" fmla="*/ 194 w 373"/>
              <a:gd name="T47" fmla="*/ 57 h 374"/>
              <a:gd name="T48" fmla="*/ 187 w 373"/>
              <a:gd name="T49" fmla="*/ 94 h 374"/>
              <a:gd name="T50" fmla="*/ 188 w 373"/>
              <a:gd name="T51" fmla="*/ 108 h 374"/>
              <a:gd name="T52" fmla="*/ 191 w 373"/>
              <a:gd name="T53" fmla="*/ 122 h 374"/>
              <a:gd name="T54" fmla="*/ 13 w 373"/>
              <a:gd name="T55" fmla="*/ 300 h 374"/>
              <a:gd name="T56" fmla="*/ 3 w 373"/>
              <a:gd name="T57" fmla="*/ 31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3" h="374">
                <a:moveTo>
                  <a:pt x="3" y="314"/>
                </a:moveTo>
                <a:lnTo>
                  <a:pt x="3" y="314"/>
                </a:lnTo>
                <a:cubicBezTo>
                  <a:pt x="1" y="319"/>
                  <a:pt x="0" y="325"/>
                  <a:pt x="0" y="331"/>
                </a:cubicBezTo>
                <a:cubicBezTo>
                  <a:pt x="0" y="337"/>
                  <a:pt x="1" y="342"/>
                  <a:pt x="4" y="347"/>
                </a:cubicBezTo>
                <a:cubicBezTo>
                  <a:pt x="6" y="353"/>
                  <a:pt x="9" y="357"/>
                  <a:pt x="13" y="361"/>
                </a:cubicBezTo>
                <a:cubicBezTo>
                  <a:pt x="17" y="365"/>
                  <a:pt x="21" y="368"/>
                  <a:pt x="27" y="370"/>
                </a:cubicBezTo>
                <a:cubicBezTo>
                  <a:pt x="32" y="373"/>
                  <a:pt x="37" y="374"/>
                  <a:pt x="43" y="374"/>
                </a:cubicBezTo>
                <a:cubicBezTo>
                  <a:pt x="49" y="374"/>
                  <a:pt x="55" y="373"/>
                  <a:pt x="60" y="370"/>
                </a:cubicBezTo>
                <a:cubicBezTo>
                  <a:pt x="65" y="368"/>
                  <a:pt x="70" y="365"/>
                  <a:pt x="74" y="361"/>
                </a:cubicBezTo>
                <a:lnTo>
                  <a:pt x="252" y="183"/>
                </a:lnTo>
                <a:cubicBezTo>
                  <a:pt x="257" y="184"/>
                  <a:pt x="261" y="185"/>
                  <a:pt x="266" y="186"/>
                </a:cubicBezTo>
                <a:cubicBezTo>
                  <a:pt x="271" y="187"/>
                  <a:pt x="275" y="187"/>
                  <a:pt x="280" y="187"/>
                </a:cubicBezTo>
                <a:cubicBezTo>
                  <a:pt x="293" y="187"/>
                  <a:pt x="305" y="185"/>
                  <a:pt x="317" y="180"/>
                </a:cubicBezTo>
                <a:cubicBezTo>
                  <a:pt x="328" y="175"/>
                  <a:pt x="338" y="168"/>
                  <a:pt x="346" y="160"/>
                </a:cubicBezTo>
                <a:cubicBezTo>
                  <a:pt x="354" y="151"/>
                  <a:pt x="361" y="142"/>
                  <a:pt x="366" y="130"/>
                </a:cubicBezTo>
                <a:cubicBezTo>
                  <a:pt x="371" y="119"/>
                  <a:pt x="373" y="107"/>
                  <a:pt x="373" y="94"/>
                </a:cubicBezTo>
                <a:cubicBezTo>
                  <a:pt x="373" y="84"/>
                  <a:pt x="372" y="74"/>
                  <a:pt x="368" y="64"/>
                </a:cubicBezTo>
                <a:lnTo>
                  <a:pt x="293" y="139"/>
                </a:lnTo>
                <a:lnTo>
                  <a:pt x="235" y="80"/>
                </a:lnTo>
                <a:lnTo>
                  <a:pt x="310" y="5"/>
                </a:lnTo>
                <a:cubicBezTo>
                  <a:pt x="300" y="2"/>
                  <a:pt x="290" y="0"/>
                  <a:pt x="280" y="0"/>
                </a:cubicBezTo>
                <a:cubicBezTo>
                  <a:pt x="267" y="0"/>
                  <a:pt x="255" y="3"/>
                  <a:pt x="244" y="8"/>
                </a:cubicBezTo>
                <a:cubicBezTo>
                  <a:pt x="232" y="13"/>
                  <a:pt x="223" y="19"/>
                  <a:pt x="214" y="28"/>
                </a:cubicBezTo>
                <a:cubicBezTo>
                  <a:pt x="206" y="36"/>
                  <a:pt x="199" y="46"/>
                  <a:pt x="194" y="57"/>
                </a:cubicBezTo>
                <a:cubicBezTo>
                  <a:pt x="189" y="69"/>
                  <a:pt x="187" y="81"/>
                  <a:pt x="187" y="94"/>
                </a:cubicBezTo>
                <a:cubicBezTo>
                  <a:pt x="187" y="99"/>
                  <a:pt x="187" y="103"/>
                  <a:pt x="188" y="108"/>
                </a:cubicBezTo>
                <a:cubicBezTo>
                  <a:pt x="189" y="113"/>
                  <a:pt x="190" y="117"/>
                  <a:pt x="191" y="122"/>
                </a:cubicBezTo>
                <a:lnTo>
                  <a:pt x="13" y="300"/>
                </a:lnTo>
                <a:cubicBezTo>
                  <a:pt x="9" y="304"/>
                  <a:pt x="6" y="309"/>
                  <a:pt x="3" y="314"/>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C2429E48-ACD2-4C7E-A772-D25F662B317C}"/>
              </a:ext>
            </a:extLst>
          </p:cNvPr>
          <p:cNvGrpSpPr/>
          <p:nvPr/>
        </p:nvGrpSpPr>
        <p:grpSpPr>
          <a:xfrm>
            <a:off x="248888" y="3044293"/>
            <a:ext cx="2865381" cy="3511806"/>
            <a:chOff x="377568" y="3069021"/>
            <a:chExt cx="3511260" cy="3897316"/>
          </a:xfrm>
        </p:grpSpPr>
        <p:sp>
          <p:nvSpPr>
            <p:cNvPr id="82" name="Rectangle 81">
              <a:extLst>
                <a:ext uri="{FF2B5EF4-FFF2-40B4-BE49-F238E27FC236}">
                  <a16:creationId xmlns:a16="http://schemas.microsoft.com/office/drawing/2014/main" id="{6E642078-06CA-4369-920F-498F4946F0CB}"/>
                </a:ext>
              </a:extLst>
            </p:cNvPr>
            <p:cNvSpPr/>
            <p:nvPr/>
          </p:nvSpPr>
          <p:spPr>
            <a:xfrm>
              <a:off x="377568" y="3174989"/>
              <a:ext cx="3412273" cy="37913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I-optimized</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nd </a:t>
              </a: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dustry leading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gestion, annotation, and indexing capabilities, out-of-the-box</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a:ea typeface="+mn-ea"/>
                  <a:cs typeface="+mn-cs"/>
                </a:rPr>
                <a:t>Fully managed service </a:t>
              </a:r>
              <a:r>
                <a:rPr kumimoji="0" lang="en-US" sz="1200" b="0" i="0" u="none" strike="noStrike" kern="1200" cap="none" spc="0" normalizeH="0" baseline="0" noProof="0">
                  <a:ln>
                    <a:noFill/>
                  </a:ln>
                  <a:solidFill>
                    <a:prstClr val="black"/>
                  </a:solidFill>
                  <a:effectLst/>
                  <a:uLnTx/>
                  <a:uFillTx/>
                  <a:latin typeface="Segoe UI"/>
                  <a:ea typeface="+mn-ea"/>
                  <a:cs typeface="+mn-cs"/>
                </a:rPr>
                <a:t>that you can configure rather than cod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Use </a:t>
              </a:r>
              <a:r>
                <a:rPr kumimoji="0" lang="en-US" sz="1200" b="1" i="0" u="none" strike="noStrike" kern="1200" cap="none" spc="0" normalizeH="0" baseline="0" noProof="0">
                  <a:ln>
                    <a:noFill/>
                  </a:ln>
                  <a:solidFill>
                    <a:prstClr val="black"/>
                  </a:solidFill>
                  <a:effectLst/>
                  <a:uLnTx/>
                  <a:uFillTx/>
                  <a:latin typeface="Segoe UI"/>
                  <a:ea typeface="+mn-ea"/>
                  <a:cs typeface="+mn-cs"/>
                </a:rPr>
                <a:t>any Azure storage solution </a:t>
              </a:r>
              <a:r>
                <a:rPr kumimoji="0" lang="en-US" sz="1200" b="0" i="0" u="none" strike="noStrike" kern="1200" cap="none" spc="0" normalizeH="0" baseline="0" noProof="0">
                  <a:ln>
                    <a:noFill/>
                  </a:ln>
                  <a:solidFill>
                    <a:prstClr val="black"/>
                  </a:solidFill>
                  <a:effectLst/>
                  <a:uLnTx/>
                  <a:uFillTx/>
                  <a:latin typeface="Segoe UI"/>
                  <a:ea typeface="+mn-ea"/>
                  <a:cs typeface="+mn-cs"/>
                </a:rPr>
                <a:t>and easily schedule to update on a regular time interval</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Document cracking + OCR ingests both structured and </a:t>
              </a:r>
              <a:r>
                <a:rPr kumimoji="0" lang="en-US" sz="1200" b="1" i="0" u="none" strike="noStrike" kern="1200" cap="none" spc="0" normalizeH="0" baseline="0" noProof="0">
                  <a:ln>
                    <a:noFill/>
                  </a:ln>
                  <a:solidFill>
                    <a:prstClr val="black"/>
                  </a:solidFill>
                  <a:effectLst/>
                  <a:uLnTx/>
                  <a:uFillTx/>
                  <a:latin typeface="Segoe UI"/>
                  <a:ea typeface="+mn-ea"/>
                  <a:cs typeface="+mn-cs"/>
                </a:rPr>
                <a:t>unstructured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ndexing evolved to </a:t>
              </a:r>
              <a:r>
                <a:rPr kumimoji="0" lang="en-US" sz="1200" b="1" i="0" u="none" strike="noStrike" kern="1200" cap="none" spc="0" normalizeH="0" baseline="0" noProof="0">
                  <a:ln>
                    <a:noFill/>
                  </a:ln>
                  <a:solidFill>
                    <a:srgbClr val="FFFFFF"/>
                  </a:solidFill>
                  <a:effectLst/>
                  <a:uLnTx/>
                  <a:uFillTx/>
                  <a:latin typeface="Segoe UI"/>
                  <a:ea typeface="+mn-ea"/>
                  <a:cs typeface="+mn-cs"/>
                </a:rPr>
                <a:t>derive the true intent of a query </a:t>
              </a:r>
              <a:r>
                <a:rPr kumimoji="0" lang="en-US" sz="1200" b="0" i="0" u="none" strike="noStrike" kern="1200" cap="none" spc="0" normalizeH="0" baseline="0" noProof="0">
                  <a:ln>
                    <a:noFill/>
                  </a:ln>
                  <a:solidFill>
                    <a:srgbClr val="FFFFFF"/>
                  </a:solidFill>
                  <a:effectLst/>
                  <a:uLnTx/>
                  <a:uFillTx/>
                  <a:latin typeface="Segoe UI"/>
                  <a:ea typeface="+mn-ea"/>
                  <a:cs typeface="+mn-cs"/>
                </a:rPr>
                <a:t>with analyzers fine-tuned across languages, suggestions, scoring/ranking you can configure,</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cxnSp>
          <p:nvCxnSpPr>
            <p:cNvPr id="83" name="Straight Connector 82">
              <a:extLst>
                <a:ext uri="{FF2B5EF4-FFF2-40B4-BE49-F238E27FC236}">
                  <a16:creationId xmlns:a16="http://schemas.microsoft.com/office/drawing/2014/main" id="{5942ECCA-AF51-40FC-B142-EB80568FEEAD}"/>
                </a:ext>
              </a:extLst>
            </p:cNvPr>
            <p:cNvCxnSpPr>
              <a:cxnSpLocks/>
            </p:cNvCxnSpPr>
            <p:nvPr/>
          </p:nvCxnSpPr>
          <p:spPr>
            <a:xfrm>
              <a:off x="457200" y="3069021"/>
              <a:ext cx="343162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7A2AEB87-1A75-4DE8-A1B8-D557A5F51464}"/>
              </a:ext>
            </a:extLst>
          </p:cNvPr>
          <p:cNvGrpSpPr/>
          <p:nvPr/>
        </p:nvGrpSpPr>
        <p:grpSpPr>
          <a:xfrm>
            <a:off x="3204922" y="3044290"/>
            <a:ext cx="2865381" cy="3511806"/>
            <a:chOff x="377568" y="3069021"/>
            <a:chExt cx="3511260" cy="3897318"/>
          </a:xfrm>
        </p:grpSpPr>
        <p:sp>
          <p:nvSpPr>
            <p:cNvPr id="85" name="Rectangle 84">
              <a:extLst>
                <a:ext uri="{FF2B5EF4-FFF2-40B4-BE49-F238E27FC236}">
                  <a16:creationId xmlns:a16="http://schemas.microsoft.com/office/drawing/2014/main" id="{A8E3554F-0548-41B5-A5EA-D7679D54B842}"/>
                </a:ext>
              </a:extLst>
            </p:cNvPr>
            <p:cNvSpPr/>
            <p:nvPr/>
          </p:nvSpPr>
          <p:spPr>
            <a:xfrm>
              <a:off x="377568" y="3174989"/>
              <a:ext cx="3412273" cy="3791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hoose from a variety of Cognitive Skills to derive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ore understanding from your data</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Vision</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Language</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Speech</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Search Services</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Knowledge</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cxnSp>
          <p:nvCxnSpPr>
            <p:cNvPr id="86" name="Straight Connector 85">
              <a:extLst>
                <a:ext uri="{FF2B5EF4-FFF2-40B4-BE49-F238E27FC236}">
                  <a16:creationId xmlns:a16="http://schemas.microsoft.com/office/drawing/2014/main" id="{3E772F90-87F0-4A64-B565-053FAAA71692}"/>
                </a:ext>
              </a:extLst>
            </p:cNvPr>
            <p:cNvCxnSpPr>
              <a:cxnSpLocks/>
            </p:cNvCxnSpPr>
            <p:nvPr/>
          </p:nvCxnSpPr>
          <p:spPr>
            <a:xfrm>
              <a:off x="457200" y="3069021"/>
              <a:ext cx="343162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393B6C5F-D2E9-4D99-B2E0-D291301F0F6E}"/>
              </a:ext>
            </a:extLst>
          </p:cNvPr>
          <p:cNvGrpSpPr/>
          <p:nvPr/>
        </p:nvGrpSpPr>
        <p:grpSpPr>
          <a:xfrm>
            <a:off x="6158467" y="3044293"/>
            <a:ext cx="2865381" cy="2588476"/>
            <a:chOff x="377568" y="3069021"/>
            <a:chExt cx="3511260" cy="2872627"/>
          </a:xfrm>
        </p:grpSpPr>
        <p:sp>
          <p:nvSpPr>
            <p:cNvPr id="88" name="Rectangle 87">
              <a:extLst>
                <a:ext uri="{FF2B5EF4-FFF2-40B4-BE49-F238E27FC236}">
                  <a16:creationId xmlns:a16="http://schemas.microsoft.com/office/drawing/2014/main" id="{8EDE3BD5-144E-4CFB-AD3A-216D869F500D}"/>
                </a:ext>
              </a:extLst>
            </p:cNvPr>
            <p:cNvSpPr/>
            <p:nvPr/>
          </p:nvSpPr>
          <p:spPr>
            <a:xfrm>
              <a:off x="377568" y="3174989"/>
              <a:ext cx="3412273" cy="2766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rchestrate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AI models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d run updates only on the section of the solution you need</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skills to train your data</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lassifications model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ntity extraction</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coring model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analyzer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mplex type shaping</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cxnSp>
          <p:nvCxnSpPr>
            <p:cNvPr id="89" name="Straight Connector 88">
              <a:extLst>
                <a:ext uri="{FF2B5EF4-FFF2-40B4-BE49-F238E27FC236}">
                  <a16:creationId xmlns:a16="http://schemas.microsoft.com/office/drawing/2014/main" id="{C3111203-F5E7-48AD-BCDD-49C42351E820}"/>
                </a:ext>
              </a:extLst>
            </p:cNvPr>
            <p:cNvCxnSpPr>
              <a:cxnSpLocks/>
            </p:cNvCxnSpPr>
            <p:nvPr/>
          </p:nvCxnSpPr>
          <p:spPr>
            <a:xfrm>
              <a:off x="457200" y="3069021"/>
              <a:ext cx="343162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3A5B943A-88E2-4834-BFBC-F25321F51DD2}"/>
              </a:ext>
            </a:extLst>
          </p:cNvPr>
          <p:cNvGrpSpPr/>
          <p:nvPr/>
        </p:nvGrpSpPr>
        <p:grpSpPr>
          <a:xfrm>
            <a:off x="9112012" y="3044293"/>
            <a:ext cx="2865381" cy="3496417"/>
            <a:chOff x="377568" y="3069021"/>
            <a:chExt cx="3511260" cy="3880236"/>
          </a:xfrm>
        </p:grpSpPr>
        <p:sp>
          <p:nvSpPr>
            <p:cNvPr id="91" name="Rectangle 90">
              <a:extLst>
                <a:ext uri="{FF2B5EF4-FFF2-40B4-BE49-F238E27FC236}">
                  <a16:creationId xmlns:a16="http://schemas.microsoft.com/office/drawing/2014/main" id="{9918C254-1F52-4C29-9255-05A80DBE0350}"/>
                </a:ext>
              </a:extLst>
            </p:cNvPr>
            <p:cNvSpPr/>
            <p:nvPr/>
          </p:nvSpPr>
          <p:spPr>
            <a:xfrm>
              <a:off x="377568" y="3174989"/>
              <a:ext cx="3412273" cy="3774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t for the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cale and performance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needs of enterprises</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ith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dvanced security and privacy features</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LA of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 availability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ith</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200" b="1" i="0" u="none" strike="noStrike" kern="1200" cap="none" spc="0" normalizeH="0" baseline="0" noProof="0">
                  <a:ln>
                    <a:noFill/>
                  </a:ln>
                  <a:gradFill>
                    <a:gsLst>
                      <a:gs pos="1250">
                        <a:prstClr val="black"/>
                      </a:gs>
                      <a:gs pos="100000">
                        <a:prstClr val="black"/>
                      </a:gs>
                    </a:gsLst>
                    <a:lin ang="5400000" scaled="0"/>
                  </a:gradFill>
                  <a:effectLst/>
                  <a:uLnTx/>
                  <a:uFillTx/>
                  <a:latin typeface="Segoe UI" panose="020B0502040204020203" pitchFamily="34" charset="0"/>
                  <a:ea typeface="+mn-ea"/>
                  <a:cs typeface="Segoe UI Semilight" panose="020B0402040204020203" pitchFamily="34" charset="0"/>
                </a:rPr>
                <a:t>i</a:t>
              </a:r>
              <a:r>
                <a:rPr kumimoji="0" lang="en-US" sz="1200" b="0"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Semilight" panose="020B0402040204020203" pitchFamily="34" charset="0"/>
                </a:rPr>
                <a:t>ndustry leading privacy and security</a:t>
              </a: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err="1">
                  <a:ln>
                    <a:noFill/>
                  </a:ln>
                  <a:solidFill>
                    <a:prstClr val="black"/>
                  </a:solidFill>
                  <a:effectLst/>
                  <a:uLnTx/>
                  <a:uFillTx/>
                  <a:latin typeface="Segoe UI"/>
                  <a:ea typeface="+mn-ea"/>
                  <a:cs typeface="+mn-cs"/>
                </a:rPr>
                <a:t>FedRamp</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ISO 27001:2013</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SOC 2Type 2</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err="1">
                  <a:ln>
                    <a:noFill/>
                  </a:ln>
                  <a:solidFill>
                    <a:prstClr val="black"/>
                  </a:solidFill>
                  <a:effectLst/>
                  <a:uLnTx/>
                  <a:uFillTx/>
                  <a:latin typeface="Segoe UI"/>
                  <a:ea typeface="+mn-ea"/>
                  <a:cs typeface="+mn-cs"/>
                </a:rPr>
                <a:t>GxP</a:t>
              </a:r>
              <a:r>
                <a:rPr kumimoji="0" lang="en-US" sz="1200" b="0" i="0" u="none" strike="noStrike" kern="1200" cap="none" spc="0" normalizeH="0" baseline="0" noProof="0">
                  <a:ln>
                    <a:noFill/>
                  </a:ln>
                  <a:solidFill>
                    <a:prstClr val="black"/>
                  </a:solidFill>
                  <a:effectLst/>
                  <a:uLnTx/>
                  <a:uFillTx/>
                  <a:latin typeface="Segoe UI"/>
                  <a:ea typeface="+mn-ea"/>
                  <a:cs typeface="+mn-cs"/>
                </a:rPr>
                <a:t> (21 CFR Part 11)</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HIPPAA and the HITECH act </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HITRUST</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PCI DSS Level 1</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Australia IRAP Unclassified </a:t>
              </a:r>
            </a:p>
          </p:txBody>
        </p:sp>
        <p:cxnSp>
          <p:nvCxnSpPr>
            <p:cNvPr id="92" name="Straight Connector 91">
              <a:extLst>
                <a:ext uri="{FF2B5EF4-FFF2-40B4-BE49-F238E27FC236}">
                  <a16:creationId xmlns:a16="http://schemas.microsoft.com/office/drawing/2014/main" id="{0FBF5710-F3C6-4CFD-96A4-963D9EA1ABA0}"/>
                </a:ext>
              </a:extLst>
            </p:cNvPr>
            <p:cNvCxnSpPr>
              <a:cxnSpLocks/>
            </p:cNvCxnSpPr>
            <p:nvPr/>
          </p:nvCxnSpPr>
          <p:spPr>
            <a:xfrm>
              <a:off x="457200" y="3069021"/>
              <a:ext cx="343162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1" name="Group 151">
            <a:extLst>
              <a:ext uri="{FF2B5EF4-FFF2-40B4-BE49-F238E27FC236}">
                <a16:creationId xmlns:a16="http://schemas.microsoft.com/office/drawing/2014/main" id="{154AE3B1-53B8-4FA7-9AA6-C9D7CE710AA8}"/>
              </a:ext>
            </a:extLst>
          </p:cNvPr>
          <p:cNvGrpSpPr>
            <a:grpSpLocks noChangeAspect="1"/>
          </p:cNvGrpSpPr>
          <p:nvPr/>
        </p:nvGrpSpPr>
        <p:grpSpPr bwMode="auto">
          <a:xfrm>
            <a:off x="4043068" y="3841339"/>
            <a:ext cx="627036" cy="298253"/>
            <a:chOff x="5003" y="2153"/>
            <a:chExt cx="267" cy="127"/>
          </a:xfrm>
        </p:grpSpPr>
        <p:sp>
          <p:nvSpPr>
            <p:cNvPr id="102" name="Freeform 152">
              <a:extLst>
                <a:ext uri="{FF2B5EF4-FFF2-40B4-BE49-F238E27FC236}">
                  <a16:creationId xmlns:a16="http://schemas.microsoft.com/office/drawing/2014/main" id="{D2CDD57C-8917-40E6-B791-1D57B5902E4A}"/>
                </a:ext>
              </a:extLst>
            </p:cNvPr>
            <p:cNvSpPr>
              <a:spLocks/>
            </p:cNvSpPr>
            <p:nvPr/>
          </p:nvSpPr>
          <p:spPr bwMode="auto">
            <a:xfrm>
              <a:off x="5034" y="2198"/>
              <a:ext cx="52" cy="71"/>
            </a:xfrm>
            <a:custGeom>
              <a:avLst/>
              <a:gdLst>
                <a:gd name="T0" fmla="*/ 83 w 83"/>
                <a:gd name="T1" fmla="*/ 0 h 114"/>
                <a:gd name="T2" fmla="*/ 83 w 83"/>
                <a:gd name="T3" fmla="*/ 0 h 114"/>
                <a:gd name="T4" fmla="*/ 39 w 83"/>
                <a:gd name="T5" fmla="*/ 24 h 114"/>
                <a:gd name="T6" fmla="*/ 0 w 83"/>
                <a:gd name="T7" fmla="*/ 57 h 114"/>
                <a:gd name="T8" fmla="*/ 39 w 83"/>
                <a:gd name="T9" fmla="*/ 89 h 114"/>
                <a:gd name="T10" fmla="*/ 83 w 83"/>
                <a:gd name="T11" fmla="*/ 114 h 114"/>
                <a:gd name="T12" fmla="*/ 70 w 83"/>
                <a:gd name="T13" fmla="*/ 87 h 114"/>
                <a:gd name="T14" fmla="*/ 65 w 83"/>
                <a:gd name="T15" fmla="*/ 57 h 114"/>
                <a:gd name="T16" fmla="*/ 70 w 83"/>
                <a:gd name="T17" fmla="*/ 27 h 114"/>
                <a:gd name="T18" fmla="*/ 83 w 83"/>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4">
                  <a:moveTo>
                    <a:pt x="83" y="0"/>
                  </a:moveTo>
                  <a:lnTo>
                    <a:pt x="83" y="0"/>
                  </a:lnTo>
                  <a:cubicBezTo>
                    <a:pt x="67" y="6"/>
                    <a:pt x="53" y="14"/>
                    <a:pt x="39" y="24"/>
                  </a:cubicBezTo>
                  <a:cubicBezTo>
                    <a:pt x="25" y="34"/>
                    <a:pt x="12" y="45"/>
                    <a:pt x="0" y="57"/>
                  </a:cubicBezTo>
                  <a:cubicBezTo>
                    <a:pt x="12" y="69"/>
                    <a:pt x="25" y="79"/>
                    <a:pt x="39" y="89"/>
                  </a:cubicBezTo>
                  <a:cubicBezTo>
                    <a:pt x="53" y="99"/>
                    <a:pt x="67" y="107"/>
                    <a:pt x="83" y="114"/>
                  </a:cubicBezTo>
                  <a:cubicBezTo>
                    <a:pt x="77" y="106"/>
                    <a:pt x="73" y="96"/>
                    <a:pt x="70" y="87"/>
                  </a:cubicBezTo>
                  <a:cubicBezTo>
                    <a:pt x="67" y="77"/>
                    <a:pt x="65" y="67"/>
                    <a:pt x="65" y="57"/>
                  </a:cubicBezTo>
                  <a:cubicBezTo>
                    <a:pt x="65" y="47"/>
                    <a:pt x="67" y="37"/>
                    <a:pt x="70" y="27"/>
                  </a:cubicBezTo>
                  <a:cubicBezTo>
                    <a:pt x="73" y="17"/>
                    <a:pt x="77" y="8"/>
                    <a:pt x="83"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53">
              <a:extLst>
                <a:ext uri="{FF2B5EF4-FFF2-40B4-BE49-F238E27FC236}">
                  <a16:creationId xmlns:a16="http://schemas.microsoft.com/office/drawing/2014/main" id="{3C7A3AAF-2B93-4D61-A1BF-E91EBFC90CF9}"/>
                </a:ext>
              </a:extLst>
            </p:cNvPr>
            <p:cNvSpPr>
              <a:spLocks/>
            </p:cNvSpPr>
            <p:nvPr/>
          </p:nvSpPr>
          <p:spPr bwMode="auto">
            <a:xfrm>
              <a:off x="5188" y="2198"/>
              <a:ext cx="51" cy="71"/>
            </a:xfrm>
            <a:custGeom>
              <a:avLst/>
              <a:gdLst>
                <a:gd name="T0" fmla="*/ 0 w 83"/>
                <a:gd name="T1" fmla="*/ 0 h 114"/>
                <a:gd name="T2" fmla="*/ 0 w 83"/>
                <a:gd name="T3" fmla="*/ 0 h 114"/>
                <a:gd name="T4" fmla="*/ 13 w 83"/>
                <a:gd name="T5" fmla="*/ 27 h 114"/>
                <a:gd name="T6" fmla="*/ 18 w 83"/>
                <a:gd name="T7" fmla="*/ 57 h 114"/>
                <a:gd name="T8" fmla="*/ 13 w 83"/>
                <a:gd name="T9" fmla="*/ 87 h 114"/>
                <a:gd name="T10" fmla="*/ 0 w 83"/>
                <a:gd name="T11" fmla="*/ 114 h 114"/>
                <a:gd name="T12" fmla="*/ 44 w 83"/>
                <a:gd name="T13" fmla="*/ 89 h 114"/>
                <a:gd name="T14" fmla="*/ 83 w 83"/>
                <a:gd name="T15" fmla="*/ 57 h 114"/>
                <a:gd name="T16" fmla="*/ 44 w 83"/>
                <a:gd name="T17" fmla="*/ 24 h 114"/>
                <a:gd name="T18" fmla="*/ 0 w 83"/>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4">
                  <a:moveTo>
                    <a:pt x="0" y="0"/>
                  </a:moveTo>
                  <a:lnTo>
                    <a:pt x="0" y="0"/>
                  </a:lnTo>
                  <a:cubicBezTo>
                    <a:pt x="6" y="8"/>
                    <a:pt x="10" y="17"/>
                    <a:pt x="13" y="27"/>
                  </a:cubicBezTo>
                  <a:cubicBezTo>
                    <a:pt x="16" y="37"/>
                    <a:pt x="18" y="47"/>
                    <a:pt x="18" y="57"/>
                  </a:cubicBezTo>
                  <a:cubicBezTo>
                    <a:pt x="18" y="67"/>
                    <a:pt x="16" y="77"/>
                    <a:pt x="13" y="87"/>
                  </a:cubicBezTo>
                  <a:cubicBezTo>
                    <a:pt x="10" y="96"/>
                    <a:pt x="6" y="106"/>
                    <a:pt x="0" y="114"/>
                  </a:cubicBezTo>
                  <a:cubicBezTo>
                    <a:pt x="16" y="107"/>
                    <a:pt x="31" y="99"/>
                    <a:pt x="44" y="89"/>
                  </a:cubicBezTo>
                  <a:cubicBezTo>
                    <a:pt x="58" y="79"/>
                    <a:pt x="71" y="69"/>
                    <a:pt x="83" y="57"/>
                  </a:cubicBezTo>
                  <a:cubicBezTo>
                    <a:pt x="71" y="45"/>
                    <a:pt x="58" y="34"/>
                    <a:pt x="44" y="24"/>
                  </a:cubicBezTo>
                  <a:cubicBezTo>
                    <a:pt x="31" y="14"/>
                    <a:pt x="16" y="6"/>
                    <a:pt x="0"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154">
              <a:extLst>
                <a:ext uri="{FF2B5EF4-FFF2-40B4-BE49-F238E27FC236}">
                  <a16:creationId xmlns:a16="http://schemas.microsoft.com/office/drawing/2014/main" id="{C34ECC09-D59F-4F82-AF27-00AF20B3513D}"/>
                </a:ext>
              </a:extLst>
            </p:cNvPr>
            <p:cNvSpPr>
              <a:spLocks noEditPoints="1"/>
            </p:cNvSpPr>
            <p:nvPr/>
          </p:nvSpPr>
          <p:spPr bwMode="auto">
            <a:xfrm>
              <a:off x="5090" y="2187"/>
              <a:ext cx="93" cy="93"/>
            </a:xfrm>
            <a:custGeom>
              <a:avLst/>
              <a:gdLst>
                <a:gd name="T0" fmla="*/ 52 w 150"/>
                <a:gd name="T1" fmla="*/ 65 h 150"/>
                <a:gd name="T2" fmla="*/ 52 w 150"/>
                <a:gd name="T3" fmla="*/ 65 h 150"/>
                <a:gd name="T4" fmla="*/ 57 w 150"/>
                <a:gd name="T5" fmla="*/ 57 h 150"/>
                <a:gd name="T6" fmla="*/ 65 w 150"/>
                <a:gd name="T7" fmla="*/ 52 h 150"/>
                <a:gd name="T8" fmla="*/ 75 w 150"/>
                <a:gd name="T9" fmla="*/ 50 h 150"/>
                <a:gd name="T10" fmla="*/ 85 w 150"/>
                <a:gd name="T11" fmla="*/ 52 h 150"/>
                <a:gd name="T12" fmla="*/ 93 w 150"/>
                <a:gd name="T13" fmla="*/ 57 h 150"/>
                <a:gd name="T14" fmla="*/ 98 w 150"/>
                <a:gd name="T15" fmla="*/ 65 h 150"/>
                <a:gd name="T16" fmla="*/ 100 w 150"/>
                <a:gd name="T17" fmla="*/ 75 h 150"/>
                <a:gd name="T18" fmla="*/ 98 w 150"/>
                <a:gd name="T19" fmla="*/ 84 h 150"/>
                <a:gd name="T20" fmla="*/ 93 w 150"/>
                <a:gd name="T21" fmla="*/ 92 h 150"/>
                <a:gd name="T22" fmla="*/ 85 w 150"/>
                <a:gd name="T23" fmla="*/ 98 h 150"/>
                <a:gd name="T24" fmla="*/ 75 w 150"/>
                <a:gd name="T25" fmla="*/ 100 h 150"/>
                <a:gd name="T26" fmla="*/ 65 w 150"/>
                <a:gd name="T27" fmla="*/ 98 h 150"/>
                <a:gd name="T28" fmla="*/ 57 w 150"/>
                <a:gd name="T29" fmla="*/ 92 h 150"/>
                <a:gd name="T30" fmla="*/ 52 w 150"/>
                <a:gd name="T31" fmla="*/ 84 h 150"/>
                <a:gd name="T32" fmla="*/ 50 w 150"/>
                <a:gd name="T33" fmla="*/ 75 h 150"/>
                <a:gd name="T34" fmla="*/ 52 w 150"/>
                <a:gd name="T35" fmla="*/ 65 h 150"/>
                <a:gd name="T36" fmla="*/ 46 w 150"/>
                <a:gd name="T37" fmla="*/ 144 h 150"/>
                <a:gd name="T38" fmla="*/ 46 w 150"/>
                <a:gd name="T39" fmla="*/ 144 h 150"/>
                <a:gd name="T40" fmla="*/ 75 w 150"/>
                <a:gd name="T41" fmla="*/ 150 h 150"/>
                <a:gd name="T42" fmla="*/ 104 w 150"/>
                <a:gd name="T43" fmla="*/ 144 h 150"/>
                <a:gd name="T44" fmla="*/ 128 w 150"/>
                <a:gd name="T45" fmla="*/ 128 h 150"/>
                <a:gd name="T46" fmla="*/ 144 w 150"/>
                <a:gd name="T47" fmla="*/ 104 h 150"/>
                <a:gd name="T48" fmla="*/ 150 w 150"/>
                <a:gd name="T49" fmla="*/ 75 h 150"/>
                <a:gd name="T50" fmla="*/ 144 w 150"/>
                <a:gd name="T51" fmla="*/ 46 h 150"/>
                <a:gd name="T52" fmla="*/ 128 w 150"/>
                <a:gd name="T53" fmla="*/ 22 h 150"/>
                <a:gd name="T54" fmla="*/ 104 w 150"/>
                <a:gd name="T55" fmla="*/ 6 h 150"/>
                <a:gd name="T56" fmla="*/ 75 w 150"/>
                <a:gd name="T57" fmla="*/ 0 h 150"/>
                <a:gd name="T58" fmla="*/ 46 w 150"/>
                <a:gd name="T59" fmla="*/ 6 h 150"/>
                <a:gd name="T60" fmla="*/ 22 w 150"/>
                <a:gd name="T61" fmla="*/ 22 h 150"/>
                <a:gd name="T62" fmla="*/ 6 w 150"/>
                <a:gd name="T63" fmla="*/ 46 h 150"/>
                <a:gd name="T64" fmla="*/ 0 w 150"/>
                <a:gd name="T65" fmla="*/ 75 h 150"/>
                <a:gd name="T66" fmla="*/ 6 w 150"/>
                <a:gd name="T67" fmla="*/ 104 h 150"/>
                <a:gd name="T68" fmla="*/ 22 w 150"/>
                <a:gd name="T69" fmla="*/ 128 h 150"/>
                <a:gd name="T70" fmla="*/ 46 w 150"/>
                <a:gd name="T71" fmla="*/ 14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50">
                  <a:moveTo>
                    <a:pt x="52" y="65"/>
                  </a:moveTo>
                  <a:lnTo>
                    <a:pt x="52" y="65"/>
                  </a:lnTo>
                  <a:cubicBezTo>
                    <a:pt x="53" y="62"/>
                    <a:pt x="55" y="59"/>
                    <a:pt x="57" y="57"/>
                  </a:cubicBezTo>
                  <a:cubicBezTo>
                    <a:pt x="60" y="55"/>
                    <a:pt x="62" y="53"/>
                    <a:pt x="65" y="52"/>
                  </a:cubicBezTo>
                  <a:cubicBezTo>
                    <a:pt x="68" y="50"/>
                    <a:pt x="71" y="50"/>
                    <a:pt x="75" y="50"/>
                  </a:cubicBezTo>
                  <a:cubicBezTo>
                    <a:pt x="79" y="50"/>
                    <a:pt x="82" y="50"/>
                    <a:pt x="85" y="52"/>
                  </a:cubicBezTo>
                  <a:cubicBezTo>
                    <a:pt x="88" y="53"/>
                    <a:pt x="90" y="55"/>
                    <a:pt x="93" y="57"/>
                  </a:cubicBezTo>
                  <a:cubicBezTo>
                    <a:pt x="95" y="59"/>
                    <a:pt x="97" y="62"/>
                    <a:pt x="98" y="65"/>
                  </a:cubicBezTo>
                  <a:cubicBezTo>
                    <a:pt x="99" y="68"/>
                    <a:pt x="100" y="71"/>
                    <a:pt x="100" y="75"/>
                  </a:cubicBezTo>
                  <a:cubicBezTo>
                    <a:pt x="100" y="78"/>
                    <a:pt x="99" y="81"/>
                    <a:pt x="98" y="84"/>
                  </a:cubicBezTo>
                  <a:cubicBezTo>
                    <a:pt x="97" y="87"/>
                    <a:pt x="95" y="90"/>
                    <a:pt x="93" y="92"/>
                  </a:cubicBezTo>
                  <a:cubicBezTo>
                    <a:pt x="90" y="95"/>
                    <a:pt x="88" y="96"/>
                    <a:pt x="85" y="98"/>
                  </a:cubicBezTo>
                  <a:cubicBezTo>
                    <a:pt x="82" y="99"/>
                    <a:pt x="79" y="100"/>
                    <a:pt x="75" y="100"/>
                  </a:cubicBezTo>
                  <a:cubicBezTo>
                    <a:pt x="71" y="100"/>
                    <a:pt x="68" y="99"/>
                    <a:pt x="65" y="98"/>
                  </a:cubicBezTo>
                  <a:cubicBezTo>
                    <a:pt x="62" y="96"/>
                    <a:pt x="60" y="95"/>
                    <a:pt x="57" y="92"/>
                  </a:cubicBezTo>
                  <a:cubicBezTo>
                    <a:pt x="55" y="90"/>
                    <a:pt x="53" y="87"/>
                    <a:pt x="52" y="84"/>
                  </a:cubicBezTo>
                  <a:cubicBezTo>
                    <a:pt x="51" y="81"/>
                    <a:pt x="50" y="78"/>
                    <a:pt x="50" y="75"/>
                  </a:cubicBezTo>
                  <a:cubicBezTo>
                    <a:pt x="50" y="71"/>
                    <a:pt x="51" y="68"/>
                    <a:pt x="52" y="65"/>
                  </a:cubicBezTo>
                  <a:close/>
                  <a:moveTo>
                    <a:pt x="46" y="144"/>
                  </a:moveTo>
                  <a:lnTo>
                    <a:pt x="46" y="144"/>
                  </a:lnTo>
                  <a:cubicBezTo>
                    <a:pt x="55" y="148"/>
                    <a:pt x="65" y="150"/>
                    <a:pt x="75" y="150"/>
                  </a:cubicBezTo>
                  <a:cubicBezTo>
                    <a:pt x="85" y="150"/>
                    <a:pt x="95" y="148"/>
                    <a:pt x="104" y="144"/>
                  </a:cubicBezTo>
                  <a:cubicBezTo>
                    <a:pt x="113" y="140"/>
                    <a:pt x="121" y="134"/>
                    <a:pt x="128" y="128"/>
                  </a:cubicBezTo>
                  <a:cubicBezTo>
                    <a:pt x="135" y="121"/>
                    <a:pt x="140" y="113"/>
                    <a:pt x="144" y="104"/>
                  </a:cubicBezTo>
                  <a:cubicBezTo>
                    <a:pt x="148" y="95"/>
                    <a:pt x="150" y="85"/>
                    <a:pt x="150" y="75"/>
                  </a:cubicBezTo>
                  <a:cubicBezTo>
                    <a:pt x="150" y="64"/>
                    <a:pt x="148" y="55"/>
                    <a:pt x="144" y="46"/>
                  </a:cubicBezTo>
                  <a:cubicBezTo>
                    <a:pt x="140" y="36"/>
                    <a:pt x="135" y="29"/>
                    <a:pt x="128" y="22"/>
                  </a:cubicBezTo>
                  <a:cubicBezTo>
                    <a:pt x="121" y="15"/>
                    <a:pt x="113" y="10"/>
                    <a:pt x="104" y="6"/>
                  </a:cubicBezTo>
                  <a:cubicBezTo>
                    <a:pt x="95" y="2"/>
                    <a:pt x="85" y="0"/>
                    <a:pt x="75" y="0"/>
                  </a:cubicBezTo>
                  <a:cubicBezTo>
                    <a:pt x="65" y="0"/>
                    <a:pt x="55" y="2"/>
                    <a:pt x="46" y="6"/>
                  </a:cubicBezTo>
                  <a:cubicBezTo>
                    <a:pt x="37" y="10"/>
                    <a:pt x="29" y="15"/>
                    <a:pt x="22" y="22"/>
                  </a:cubicBezTo>
                  <a:cubicBezTo>
                    <a:pt x="15" y="29"/>
                    <a:pt x="10" y="36"/>
                    <a:pt x="6" y="46"/>
                  </a:cubicBezTo>
                  <a:cubicBezTo>
                    <a:pt x="2" y="55"/>
                    <a:pt x="0" y="64"/>
                    <a:pt x="0" y="75"/>
                  </a:cubicBezTo>
                  <a:cubicBezTo>
                    <a:pt x="0" y="85"/>
                    <a:pt x="2" y="95"/>
                    <a:pt x="6" y="104"/>
                  </a:cubicBezTo>
                  <a:cubicBezTo>
                    <a:pt x="10" y="113"/>
                    <a:pt x="15" y="121"/>
                    <a:pt x="22" y="128"/>
                  </a:cubicBezTo>
                  <a:cubicBezTo>
                    <a:pt x="29" y="134"/>
                    <a:pt x="37" y="140"/>
                    <a:pt x="46" y="144"/>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155">
              <a:extLst>
                <a:ext uri="{FF2B5EF4-FFF2-40B4-BE49-F238E27FC236}">
                  <a16:creationId xmlns:a16="http://schemas.microsoft.com/office/drawing/2014/main" id="{8C87099B-6AA1-40B4-9482-0CF08ECE8444}"/>
                </a:ext>
              </a:extLst>
            </p:cNvPr>
            <p:cNvSpPr>
              <a:spLocks/>
            </p:cNvSpPr>
            <p:nvPr/>
          </p:nvSpPr>
          <p:spPr bwMode="auto">
            <a:xfrm>
              <a:off x="5121" y="2218"/>
              <a:ext cx="31" cy="31"/>
            </a:xfrm>
            <a:custGeom>
              <a:avLst/>
              <a:gdLst>
                <a:gd name="T0" fmla="*/ 7 w 50"/>
                <a:gd name="T1" fmla="*/ 42 h 50"/>
                <a:gd name="T2" fmla="*/ 7 w 50"/>
                <a:gd name="T3" fmla="*/ 42 h 50"/>
                <a:gd name="T4" fmla="*/ 15 w 50"/>
                <a:gd name="T5" fmla="*/ 48 h 50"/>
                <a:gd name="T6" fmla="*/ 25 w 50"/>
                <a:gd name="T7" fmla="*/ 50 h 50"/>
                <a:gd name="T8" fmla="*/ 35 w 50"/>
                <a:gd name="T9" fmla="*/ 48 h 50"/>
                <a:gd name="T10" fmla="*/ 43 w 50"/>
                <a:gd name="T11" fmla="*/ 42 h 50"/>
                <a:gd name="T12" fmla="*/ 48 w 50"/>
                <a:gd name="T13" fmla="*/ 34 h 50"/>
                <a:gd name="T14" fmla="*/ 50 w 50"/>
                <a:gd name="T15" fmla="*/ 25 h 50"/>
                <a:gd name="T16" fmla="*/ 48 w 50"/>
                <a:gd name="T17" fmla="*/ 15 h 50"/>
                <a:gd name="T18" fmla="*/ 43 w 50"/>
                <a:gd name="T19" fmla="*/ 7 h 50"/>
                <a:gd name="T20" fmla="*/ 35 w 50"/>
                <a:gd name="T21" fmla="*/ 2 h 50"/>
                <a:gd name="T22" fmla="*/ 25 w 50"/>
                <a:gd name="T23" fmla="*/ 0 h 50"/>
                <a:gd name="T24" fmla="*/ 15 w 50"/>
                <a:gd name="T25" fmla="*/ 2 h 50"/>
                <a:gd name="T26" fmla="*/ 7 w 50"/>
                <a:gd name="T27" fmla="*/ 7 h 50"/>
                <a:gd name="T28" fmla="*/ 2 w 50"/>
                <a:gd name="T29" fmla="*/ 15 h 50"/>
                <a:gd name="T30" fmla="*/ 0 w 50"/>
                <a:gd name="T31" fmla="*/ 25 h 50"/>
                <a:gd name="T32" fmla="*/ 2 w 50"/>
                <a:gd name="T33" fmla="*/ 34 h 50"/>
                <a:gd name="T34" fmla="*/ 7 w 50"/>
                <a:gd name="T35"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50">
                  <a:moveTo>
                    <a:pt x="7" y="42"/>
                  </a:moveTo>
                  <a:lnTo>
                    <a:pt x="7" y="42"/>
                  </a:lnTo>
                  <a:cubicBezTo>
                    <a:pt x="10" y="45"/>
                    <a:pt x="12" y="46"/>
                    <a:pt x="15" y="48"/>
                  </a:cubicBezTo>
                  <a:cubicBezTo>
                    <a:pt x="18" y="49"/>
                    <a:pt x="21" y="50"/>
                    <a:pt x="25" y="50"/>
                  </a:cubicBezTo>
                  <a:cubicBezTo>
                    <a:pt x="29" y="50"/>
                    <a:pt x="32" y="49"/>
                    <a:pt x="35" y="48"/>
                  </a:cubicBezTo>
                  <a:cubicBezTo>
                    <a:pt x="38" y="46"/>
                    <a:pt x="40" y="45"/>
                    <a:pt x="43" y="42"/>
                  </a:cubicBezTo>
                  <a:cubicBezTo>
                    <a:pt x="45" y="40"/>
                    <a:pt x="47" y="37"/>
                    <a:pt x="48" y="34"/>
                  </a:cubicBezTo>
                  <a:cubicBezTo>
                    <a:pt x="49" y="31"/>
                    <a:pt x="50" y="28"/>
                    <a:pt x="50" y="25"/>
                  </a:cubicBezTo>
                  <a:cubicBezTo>
                    <a:pt x="50" y="21"/>
                    <a:pt x="49" y="18"/>
                    <a:pt x="48" y="15"/>
                  </a:cubicBezTo>
                  <a:cubicBezTo>
                    <a:pt x="47" y="12"/>
                    <a:pt x="45" y="9"/>
                    <a:pt x="43" y="7"/>
                  </a:cubicBezTo>
                  <a:cubicBezTo>
                    <a:pt x="40" y="5"/>
                    <a:pt x="38" y="3"/>
                    <a:pt x="35" y="2"/>
                  </a:cubicBezTo>
                  <a:cubicBezTo>
                    <a:pt x="32" y="0"/>
                    <a:pt x="29" y="0"/>
                    <a:pt x="25" y="0"/>
                  </a:cubicBezTo>
                  <a:cubicBezTo>
                    <a:pt x="21" y="0"/>
                    <a:pt x="18" y="0"/>
                    <a:pt x="15" y="2"/>
                  </a:cubicBezTo>
                  <a:cubicBezTo>
                    <a:pt x="12" y="3"/>
                    <a:pt x="10" y="5"/>
                    <a:pt x="7" y="7"/>
                  </a:cubicBezTo>
                  <a:cubicBezTo>
                    <a:pt x="5" y="9"/>
                    <a:pt x="3" y="12"/>
                    <a:pt x="2" y="15"/>
                  </a:cubicBezTo>
                  <a:cubicBezTo>
                    <a:pt x="1" y="18"/>
                    <a:pt x="0" y="21"/>
                    <a:pt x="0" y="25"/>
                  </a:cubicBezTo>
                  <a:cubicBezTo>
                    <a:pt x="0" y="28"/>
                    <a:pt x="1" y="31"/>
                    <a:pt x="2" y="34"/>
                  </a:cubicBezTo>
                  <a:cubicBezTo>
                    <a:pt x="3" y="37"/>
                    <a:pt x="5" y="40"/>
                    <a:pt x="7" y="42"/>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156">
              <a:extLst>
                <a:ext uri="{FF2B5EF4-FFF2-40B4-BE49-F238E27FC236}">
                  <a16:creationId xmlns:a16="http://schemas.microsoft.com/office/drawing/2014/main" id="{3C05EF93-9F19-45EB-B4F3-C581526EDE8D}"/>
                </a:ext>
              </a:extLst>
            </p:cNvPr>
            <p:cNvSpPr>
              <a:spLocks/>
            </p:cNvSpPr>
            <p:nvPr/>
          </p:nvSpPr>
          <p:spPr bwMode="auto">
            <a:xfrm>
              <a:off x="5003" y="2153"/>
              <a:ext cx="267" cy="72"/>
            </a:xfrm>
            <a:custGeom>
              <a:avLst/>
              <a:gdLst>
                <a:gd name="T0" fmla="*/ 216 w 429"/>
                <a:gd name="T1" fmla="*/ 0 h 117"/>
                <a:gd name="T2" fmla="*/ 216 w 429"/>
                <a:gd name="T3" fmla="*/ 0 h 117"/>
                <a:gd name="T4" fmla="*/ 212 w 429"/>
                <a:gd name="T5" fmla="*/ 0 h 117"/>
                <a:gd name="T6" fmla="*/ 4 w 429"/>
                <a:gd name="T7" fmla="*/ 95 h 117"/>
                <a:gd name="T8" fmla="*/ 5 w 429"/>
                <a:gd name="T9" fmla="*/ 113 h 117"/>
                <a:gd name="T10" fmla="*/ 22 w 429"/>
                <a:gd name="T11" fmla="*/ 112 h 117"/>
                <a:gd name="T12" fmla="*/ 212 w 429"/>
                <a:gd name="T13" fmla="*/ 25 h 117"/>
                <a:gd name="T14" fmla="*/ 216 w 429"/>
                <a:gd name="T15" fmla="*/ 25 h 117"/>
                <a:gd name="T16" fmla="*/ 405 w 429"/>
                <a:gd name="T17" fmla="*/ 112 h 117"/>
                <a:gd name="T18" fmla="*/ 415 w 429"/>
                <a:gd name="T19" fmla="*/ 116 h 117"/>
                <a:gd name="T20" fmla="*/ 423 w 429"/>
                <a:gd name="T21" fmla="*/ 113 h 117"/>
                <a:gd name="T22" fmla="*/ 424 w 429"/>
                <a:gd name="T23" fmla="*/ 95 h 117"/>
                <a:gd name="T24" fmla="*/ 216 w 42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9" h="117">
                  <a:moveTo>
                    <a:pt x="216" y="0"/>
                  </a:moveTo>
                  <a:lnTo>
                    <a:pt x="216" y="0"/>
                  </a:lnTo>
                  <a:lnTo>
                    <a:pt x="212" y="0"/>
                  </a:lnTo>
                  <a:cubicBezTo>
                    <a:pt x="132" y="0"/>
                    <a:pt x="56" y="35"/>
                    <a:pt x="4" y="95"/>
                  </a:cubicBezTo>
                  <a:cubicBezTo>
                    <a:pt x="0" y="100"/>
                    <a:pt x="1" y="108"/>
                    <a:pt x="5" y="113"/>
                  </a:cubicBezTo>
                  <a:cubicBezTo>
                    <a:pt x="10" y="117"/>
                    <a:pt x="18" y="117"/>
                    <a:pt x="22" y="112"/>
                  </a:cubicBezTo>
                  <a:cubicBezTo>
                    <a:pt x="70" y="56"/>
                    <a:pt x="139" y="25"/>
                    <a:pt x="212" y="25"/>
                  </a:cubicBezTo>
                  <a:lnTo>
                    <a:pt x="216" y="25"/>
                  </a:lnTo>
                  <a:cubicBezTo>
                    <a:pt x="288" y="25"/>
                    <a:pt x="358" y="56"/>
                    <a:pt x="405" y="112"/>
                  </a:cubicBezTo>
                  <a:cubicBezTo>
                    <a:pt x="408" y="114"/>
                    <a:pt x="411" y="116"/>
                    <a:pt x="415" y="116"/>
                  </a:cubicBezTo>
                  <a:cubicBezTo>
                    <a:pt x="418" y="116"/>
                    <a:pt x="420" y="115"/>
                    <a:pt x="423" y="113"/>
                  </a:cubicBezTo>
                  <a:cubicBezTo>
                    <a:pt x="428" y="108"/>
                    <a:pt x="429" y="100"/>
                    <a:pt x="424" y="95"/>
                  </a:cubicBezTo>
                  <a:cubicBezTo>
                    <a:pt x="372" y="35"/>
                    <a:pt x="296" y="0"/>
                    <a:pt x="216"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07" name="Group 223">
            <a:extLst>
              <a:ext uri="{FF2B5EF4-FFF2-40B4-BE49-F238E27FC236}">
                <a16:creationId xmlns:a16="http://schemas.microsoft.com/office/drawing/2014/main" id="{0AD5C4FD-A9CA-451E-9701-9175CA72A94E}"/>
              </a:ext>
            </a:extLst>
          </p:cNvPr>
          <p:cNvGrpSpPr>
            <a:grpSpLocks noChangeAspect="1"/>
          </p:cNvGrpSpPr>
          <p:nvPr/>
        </p:nvGrpSpPr>
        <p:grpSpPr bwMode="auto">
          <a:xfrm>
            <a:off x="4222002" y="4837036"/>
            <a:ext cx="271666" cy="523724"/>
            <a:chOff x="4287" y="2762"/>
            <a:chExt cx="97" cy="187"/>
          </a:xfrm>
        </p:grpSpPr>
        <p:sp>
          <p:nvSpPr>
            <p:cNvPr id="108" name="Freeform 224">
              <a:extLst>
                <a:ext uri="{FF2B5EF4-FFF2-40B4-BE49-F238E27FC236}">
                  <a16:creationId xmlns:a16="http://schemas.microsoft.com/office/drawing/2014/main" id="{F0210F2F-C2AE-457E-85E9-D9C5232410D2}"/>
                </a:ext>
              </a:extLst>
            </p:cNvPr>
            <p:cNvSpPr>
              <a:spLocks/>
            </p:cNvSpPr>
            <p:nvPr/>
          </p:nvSpPr>
          <p:spPr bwMode="auto">
            <a:xfrm>
              <a:off x="4334" y="2762"/>
              <a:ext cx="50" cy="187"/>
            </a:xfrm>
            <a:custGeom>
              <a:avLst/>
              <a:gdLst>
                <a:gd name="T0" fmla="*/ 19 w 81"/>
                <a:gd name="T1" fmla="*/ 0 h 302"/>
                <a:gd name="T2" fmla="*/ 19 w 81"/>
                <a:gd name="T3" fmla="*/ 0 h 302"/>
                <a:gd name="T4" fmla="*/ 0 w 81"/>
                <a:gd name="T5" fmla="*/ 19 h 302"/>
                <a:gd name="T6" fmla="*/ 41 w 81"/>
                <a:gd name="T7" fmla="*/ 79 h 302"/>
                <a:gd name="T8" fmla="*/ 55 w 81"/>
                <a:gd name="T9" fmla="*/ 151 h 302"/>
                <a:gd name="T10" fmla="*/ 41 w 81"/>
                <a:gd name="T11" fmla="*/ 222 h 302"/>
                <a:gd name="T12" fmla="*/ 0 w 81"/>
                <a:gd name="T13" fmla="*/ 283 h 302"/>
                <a:gd name="T14" fmla="*/ 19 w 81"/>
                <a:gd name="T15" fmla="*/ 302 h 302"/>
                <a:gd name="T16" fmla="*/ 65 w 81"/>
                <a:gd name="T17" fmla="*/ 233 h 302"/>
                <a:gd name="T18" fmla="*/ 81 w 81"/>
                <a:gd name="T19" fmla="*/ 151 h 302"/>
                <a:gd name="T20" fmla="*/ 65 w 81"/>
                <a:gd name="T21" fmla="*/ 69 h 302"/>
                <a:gd name="T22" fmla="*/ 19 w 81"/>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302">
                  <a:moveTo>
                    <a:pt x="19" y="0"/>
                  </a:moveTo>
                  <a:lnTo>
                    <a:pt x="19" y="0"/>
                  </a:lnTo>
                  <a:lnTo>
                    <a:pt x="0" y="19"/>
                  </a:lnTo>
                  <a:cubicBezTo>
                    <a:pt x="18" y="37"/>
                    <a:pt x="31" y="57"/>
                    <a:pt x="41" y="79"/>
                  </a:cubicBezTo>
                  <a:cubicBezTo>
                    <a:pt x="50" y="102"/>
                    <a:pt x="55" y="126"/>
                    <a:pt x="55" y="151"/>
                  </a:cubicBezTo>
                  <a:cubicBezTo>
                    <a:pt x="55" y="176"/>
                    <a:pt x="50" y="200"/>
                    <a:pt x="41" y="222"/>
                  </a:cubicBezTo>
                  <a:cubicBezTo>
                    <a:pt x="31" y="245"/>
                    <a:pt x="18" y="265"/>
                    <a:pt x="0" y="283"/>
                  </a:cubicBezTo>
                  <a:lnTo>
                    <a:pt x="19" y="302"/>
                  </a:lnTo>
                  <a:cubicBezTo>
                    <a:pt x="39" y="281"/>
                    <a:pt x="55" y="258"/>
                    <a:pt x="65" y="233"/>
                  </a:cubicBezTo>
                  <a:cubicBezTo>
                    <a:pt x="76" y="207"/>
                    <a:pt x="81" y="180"/>
                    <a:pt x="81" y="151"/>
                  </a:cubicBezTo>
                  <a:cubicBezTo>
                    <a:pt x="81" y="122"/>
                    <a:pt x="76" y="95"/>
                    <a:pt x="65" y="69"/>
                  </a:cubicBezTo>
                  <a:cubicBezTo>
                    <a:pt x="55" y="43"/>
                    <a:pt x="39" y="20"/>
                    <a:pt x="19"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225">
              <a:extLst>
                <a:ext uri="{FF2B5EF4-FFF2-40B4-BE49-F238E27FC236}">
                  <a16:creationId xmlns:a16="http://schemas.microsoft.com/office/drawing/2014/main" id="{9E6A51A9-572C-48CC-9651-6A06AE441BA5}"/>
                </a:ext>
              </a:extLst>
            </p:cNvPr>
            <p:cNvSpPr>
              <a:spLocks/>
            </p:cNvSpPr>
            <p:nvPr/>
          </p:nvSpPr>
          <p:spPr bwMode="auto">
            <a:xfrm>
              <a:off x="4310" y="2786"/>
              <a:ext cx="41" cy="140"/>
            </a:xfrm>
            <a:custGeom>
              <a:avLst/>
              <a:gdLst>
                <a:gd name="T0" fmla="*/ 39 w 66"/>
                <a:gd name="T1" fmla="*/ 113 h 226"/>
                <a:gd name="T2" fmla="*/ 39 w 66"/>
                <a:gd name="T3" fmla="*/ 113 h 226"/>
                <a:gd name="T4" fmla="*/ 29 w 66"/>
                <a:gd name="T5" fmla="*/ 164 h 226"/>
                <a:gd name="T6" fmla="*/ 0 w 66"/>
                <a:gd name="T7" fmla="*/ 207 h 226"/>
                <a:gd name="T8" fmla="*/ 19 w 66"/>
                <a:gd name="T9" fmla="*/ 226 h 226"/>
                <a:gd name="T10" fmla="*/ 54 w 66"/>
                <a:gd name="T11" fmla="*/ 174 h 226"/>
                <a:gd name="T12" fmla="*/ 66 w 66"/>
                <a:gd name="T13" fmla="*/ 113 h 226"/>
                <a:gd name="T14" fmla="*/ 54 w 66"/>
                <a:gd name="T15" fmla="*/ 52 h 226"/>
                <a:gd name="T16" fmla="*/ 19 w 66"/>
                <a:gd name="T17" fmla="*/ 0 h 226"/>
                <a:gd name="T18" fmla="*/ 0 w 66"/>
                <a:gd name="T19" fmla="*/ 19 h 226"/>
                <a:gd name="T20" fmla="*/ 29 w 66"/>
                <a:gd name="T21" fmla="*/ 62 h 226"/>
                <a:gd name="T22" fmla="*/ 39 w 66"/>
                <a:gd name="T23"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226">
                  <a:moveTo>
                    <a:pt x="39" y="113"/>
                  </a:moveTo>
                  <a:lnTo>
                    <a:pt x="39" y="113"/>
                  </a:lnTo>
                  <a:cubicBezTo>
                    <a:pt x="39" y="131"/>
                    <a:pt x="36" y="148"/>
                    <a:pt x="29" y="164"/>
                  </a:cubicBezTo>
                  <a:cubicBezTo>
                    <a:pt x="23" y="180"/>
                    <a:pt x="13" y="194"/>
                    <a:pt x="0" y="207"/>
                  </a:cubicBezTo>
                  <a:lnTo>
                    <a:pt x="19" y="226"/>
                  </a:lnTo>
                  <a:cubicBezTo>
                    <a:pt x="34" y="211"/>
                    <a:pt x="46" y="194"/>
                    <a:pt x="54" y="174"/>
                  </a:cubicBezTo>
                  <a:cubicBezTo>
                    <a:pt x="62" y="155"/>
                    <a:pt x="66" y="134"/>
                    <a:pt x="66" y="113"/>
                  </a:cubicBezTo>
                  <a:cubicBezTo>
                    <a:pt x="66" y="92"/>
                    <a:pt x="62" y="71"/>
                    <a:pt x="54" y="52"/>
                  </a:cubicBezTo>
                  <a:cubicBezTo>
                    <a:pt x="46" y="32"/>
                    <a:pt x="34" y="15"/>
                    <a:pt x="19" y="0"/>
                  </a:cubicBezTo>
                  <a:lnTo>
                    <a:pt x="0" y="19"/>
                  </a:lnTo>
                  <a:cubicBezTo>
                    <a:pt x="13" y="31"/>
                    <a:pt x="23" y="46"/>
                    <a:pt x="29" y="62"/>
                  </a:cubicBezTo>
                  <a:cubicBezTo>
                    <a:pt x="36" y="78"/>
                    <a:pt x="39" y="95"/>
                    <a:pt x="39" y="113"/>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226">
              <a:extLst>
                <a:ext uri="{FF2B5EF4-FFF2-40B4-BE49-F238E27FC236}">
                  <a16:creationId xmlns:a16="http://schemas.microsoft.com/office/drawing/2014/main" id="{ED82953B-2148-4325-9058-B3B00BF8A203}"/>
                </a:ext>
              </a:extLst>
            </p:cNvPr>
            <p:cNvSpPr>
              <a:spLocks/>
            </p:cNvSpPr>
            <p:nvPr/>
          </p:nvSpPr>
          <p:spPr bwMode="auto">
            <a:xfrm>
              <a:off x="4287" y="2808"/>
              <a:ext cx="31" cy="94"/>
            </a:xfrm>
            <a:custGeom>
              <a:avLst/>
              <a:gdLst>
                <a:gd name="T0" fmla="*/ 0 w 50"/>
                <a:gd name="T1" fmla="*/ 132 h 151"/>
                <a:gd name="T2" fmla="*/ 0 w 50"/>
                <a:gd name="T3" fmla="*/ 132 h 151"/>
                <a:gd name="T4" fmla="*/ 18 w 50"/>
                <a:gd name="T5" fmla="*/ 151 h 151"/>
                <a:gd name="T6" fmla="*/ 42 w 50"/>
                <a:gd name="T7" fmla="*/ 117 h 151"/>
                <a:gd name="T8" fmla="*/ 50 w 50"/>
                <a:gd name="T9" fmla="*/ 76 h 151"/>
                <a:gd name="T10" fmla="*/ 42 w 50"/>
                <a:gd name="T11" fmla="*/ 35 h 151"/>
                <a:gd name="T12" fmla="*/ 18 w 50"/>
                <a:gd name="T13" fmla="*/ 0 h 151"/>
                <a:gd name="T14" fmla="*/ 0 w 50"/>
                <a:gd name="T15" fmla="*/ 19 h 151"/>
                <a:gd name="T16" fmla="*/ 17 w 50"/>
                <a:gd name="T17" fmla="*/ 45 h 151"/>
                <a:gd name="T18" fmla="*/ 23 w 50"/>
                <a:gd name="T19" fmla="*/ 76 h 151"/>
                <a:gd name="T20" fmla="*/ 17 w 50"/>
                <a:gd name="T21" fmla="*/ 106 h 151"/>
                <a:gd name="T22" fmla="*/ 0 w 50"/>
                <a:gd name="T23" fmla="*/ 13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151">
                  <a:moveTo>
                    <a:pt x="0" y="132"/>
                  </a:moveTo>
                  <a:lnTo>
                    <a:pt x="0" y="132"/>
                  </a:lnTo>
                  <a:lnTo>
                    <a:pt x="18" y="151"/>
                  </a:lnTo>
                  <a:cubicBezTo>
                    <a:pt x="29" y="141"/>
                    <a:pt x="36" y="130"/>
                    <a:pt x="42" y="117"/>
                  </a:cubicBezTo>
                  <a:cubicBezTo>
                    <a:pt x="47" y="104"/>
                    <a:pt x="50" y="90"/>
                    <a:pt x="50" y="76"/>
                  </a:cubicBezTo>
                  <a:cubicBezTo>
                    <a:pt x="50" y="62"/>
                    <a:pt x="47" y="48"/>
                    <a:pt x="42" y="35"/>
                  </a:cubicBezTo>
                  <a:cubicBezTo>
                    <a:pt x="36" y="22"/>
                    <a:pt x="29" y="10"/>
                    <a:pt x="18" y="0"/>
                  </a:cubicBezTo>
                  <a:lnTo>
                    <a:pt x="0" y="19"/>
                  </a:lnTo>
                  <a:cubicBezTo>
                    <a:pt x="7" y="27"/>
                    <a:pt x="13" y="35"/>
                    <a:pt x="17" y="45"/>
                  </a:cubicBezTo>
                  <a:cubicBezTo>
                    <a:pt x="21" y="55"/>
                    <a:pt x="23" y="65"/>
                    <a:pt x="23" y="76"/>
                  </a:cubicBezTo>
                  <a:cubicBezTo>
                    <a:pt x="23" y="86"/>
                    <a:pt x="21" y="97"/>
                    <a:pt x="17" y="106"/>
                  </a:cubicBezTo>
                  <a:cubicBezTo>
                    <a:pt x="13" y="116"/>
                    <a:pt x="7" y="125"/>
                    <a:pt x="0" y="132"/>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82C80E02-0C3C-4399-849C-B8403861476F}"/>
              </a:ext>
            </a:extLst>
          </p:cNvPr>
          <p:cNvGrpSpPr/>
          <p:nvPr/>
        </p:nvGrpSpPr>
        <p:grpSpPr>
          <a:xfrm>
            <a:off x="5013158" y="5426911"/>
            <a:ext cx="494507" cy="527322"/>
            <a:chOff x="7943850" y="1262063"/>
            <a:chExt cx="419101" cy="417513"/>
          </a:xfrm>
        </p:grpSpPr>
        <p:sp>
          <p:nvSpPr>
            <p:cNvPr id="112" name="Freeform 18">
              <a:extLst>
                <a:ext uri="{FF2B5EF4-FFF2-40B4-BE49-F238E27FC236}">
                  <a16:creationId xmlns:a16="http://schemas.microsoft.com/office/drawing/2014/main" id="{A34F658E-344F-4003-B9D2-05688CCEFE99}"/>
                </a:ext>
              </a:extLst>
            </p:cNvPr>
            <p:cNvSpPr>
              <a:spLocks/>
            </p:cNvSpPr>
            <p:nvPr/>
          </p:nvSpPr>
          <p:spPr bwMode="auto">
            <a:xfrm>
              <a:off x="8075613" y="1262063"/>
              <a:ext cx="287338" cy="287338"/>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19">
              <a:extLst>
                <a:ext uri="{FF2B5EF4-FFF2-40B4-BE49-F238E27FC236}">
                  <a16:creationId xmlns:a16="http://schemas.microsoft.com/office/drawing/2014/main" id="{E6453465-118C-40BE-BDAE-F0AA75C1A063}"/>
                </a:ext>
              </a:extLst>
            </p:cNvPr>
            <p:cNvSpPr>
              <a:spLocks/>
            </p:cNvSpPr>
            <p:nvPr/>
          </p:nvSpPr>
          <p:spPr bwMode="auto">
            <a:xfrm>
              <a:off x="7943850" y="1497013"/>
              <a:ext cx="182563" cy="182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0">
              <a:extLst>
                <a:ext uri="{FF2B5EF4-FFF2-40B4-BE49-F238E27FC236}">
                  <a16:creationId xmlns:a16="http://schemas.microsoft.com/office/drawing/2014/main" id="{76FF0516-ED5B-4F4B-837A-3F396F6FE5C4}"/>
                </a:ext>
              </a:extLst>
            </p:cNvPr>
            <p:cNvSpPr>
              <a:spLocks/>
            </p:cNvSpPr>
            <p:nvPr/>
          </p:nvSpPr>
          <p:spPr bwMode="auto">
            <a:xfrm>
              <a:off x="8101013" y="1287463"/>
              <a:ext cx="236538" cy="236538"/>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5" name="Group 12">
            <a:extLst>
              <a:ext uri="{FF2B5EF4-FFF2-40B4-BE49-F238E27FC236}">
                <a16:creationId xmlns:a16="http://schemas.microsoft.com/office/drawing/2014/main" id="{0FAC8A85-5B32-4151-B4A0-BFBDDC151468}"/>
              </a:ext>
            </a:extLst>
          </p:cNvPr>
          <p:cNvGrpSpPr>
            <a:grpSpLocks noChangeAspect="1"/>
          </p:cNvGrpSpPr>
          <p:nvPr/>
        </p:nvGrpSpPr>
        <p:grpSpPr bwMode="auto">
          <a:xfrm>
            <a:off x="5007803" y="4269380"/>
            <a:ext cx="477472" cy="423943"/>
            <a:chOff x="1571" y="849"/>
            <a:chExt cx="223" cy="198"/>
          </a:xfrm>
        </p:grpSpPr>
        <p:sp>
          <p:nvSpPr>
            <p:cNvPr id="116" name="Freeform 13">
              <a:extLst>
                <a:ext uri="{FF2B5EF4-FFF2-40B4-BE49-F238E27FC236}">
                  <a16:creationId xmlns:a16="http://schemas.microsoft.com/office/drawing/2014/main" id="{AD828FAB-ECCB-4C83-A222-203E20CB0D45}"/>
                </a:ext>
              </a:extLst>
            </p:cNvPr>
            <p:cNvSpPr>
              <a:spLocks noEditPoints="1"/>
            </p:cNvSpPr>
            <p:nvPr/>
          </p:nvSpPr>
          <p:spPr bwMode="auto">
            <a:xfrm>
              <a:off x="1634" y="898"/>
              <a:ext cx="160" cy="149"/>
            </a:xfrm>
            <a:custGeom>
              <a:avLst/>
              <a:gdLst>
                <a:gd name="T0" fmla="*/ 84 w 257"/>
                <a:gd name="T1" fmla="*/ 133 h 240"/>
                <a:gd name="T2" fmla="*/ 84 w 257"/>
                <a:gd name="T3" fmla="*/ 133 h 240"/>
                <a:gd name="T4" fmla="*/ 119 w 257"/>
                <a:gd name="T5" fmla="*/ 54 h 240"/>
                <a:gd name="T6" fmla="*/ 156 w 257"/>
                <a:gd name="T7" fmla="*/ 133 h 240"/>
                <a:gd name="T8" fmla="*/ 84 w 257"/>
                <a:gd name="T9" fmla="*/ 133 h 240"/>
                <a:gd name="T10" fmla="*/ 257 w 257"/>
                <a:gd name="T11" fmla="*/ 230 h 240"/>
                <a:gd name="T12" fmla="*/ 257 w 257"/>
                <a:gd name="T13" fmla="*/ 230 h 240"/>
                <a:gd name="T14" fmla="*/ 240 w 257"/>
                <a:gd name="T15" fmla="*/ 228 h 240"/>
                <a:gd name="T16" fmla="*/ 230 w 257"/>
                <a:gd name="T17" fmla="*/ 221 h 240"/>
                <a:gd name="T18" fmla="*/ 223 w 257"/>
                <a:gd name="T19" fmla="*/ 210 h 240"/>
                <a:gd name="T20" fmla="*/ 216 w 257"/>
                <a:gd name="T21" fmla="*/ 195 h 240"/>
                <a:gd name="T22" fmla="*/ 136 w 257"/>
                <a:gd name="T23" fmla="*/ 0 h 240"/>
                <a:gd name="T24" fmla="*/ 119 w 257"/>
                <a:gd name="T25" fmla="*/ 0 h 240"/>
                <a:gd name="T26" fmla="*/ 38 w 257"/>
                <a:gd name="T27" fmla="*/ 192 h 240"/>
                <a:gd name="T28" fmla="*/ 31 w 257"/>
                <a:gd name="T29" fmla="*/ 209 h 240"/>
                <a:gd name="T30" fmla="*/ 25 w 257"/>
                <a:gd name="T31" fmla="*/ 219 h 240"/>
                <a:gd name="T32" fmla="*/ 16 w 257"/>
                <a:gd name="T33" fmla="*/ 226 h 240"/>
                <a:gd name="T34" fmla="*/ 0 w 257"/>
                <a:gd name="T35" fmla="*/ 230 h 240"/>
                <a:gd name="T36" fmla="*/ 0 w 257"/>
                <a:gd name="T37" fmla="*/ 240 h 240"/>
                <a:gd name="T38" fmla="*/ 78 w 257"/>
                <a:gd name="T39" fmla="*/ 240 h 240"/>
                <a:gd name="T40" fmla="*/ 78 w 257"/>
                <a:gd name="T41" fmla="*/ 230 h 240"/>
                <a:gd name="T42" fmla="*/ 71 w 257"/>
                <a:gd name="T43" fmla="*/ 230 h 240"/>
                <a:gd name="T44" fmla="*/ 63 w 257"/>
                <a:gd name="T45" fmla="*/ 229 h 240"/>
                <a:gd name="T46" fmla="*/ 56 w 257"/>
                <a:gd name="T47" fmla="*/ 226 h 240"/>
                <a:gd name="T48" fmla="*/ 54 w 257"/>
                <a:gd name="T49" fmla="*/ 218 h 240"/>
                <a:gd name="T50" fmla="*/ 55 w 257"/>
                <a:gd name="T51" fmla="*/ 210 h 240"/>
                <a:gd name="T52" fmla="*/ 59 w 257"/>
                <a:gd name="T53" fmla="*/ 199 h 240"/>
                <a:gd name="T54" fmla="*/ 63 w 257"/>
                <a:gd name="T55" fmla="*/ 187 h 240"/>
                <a:gd name="T56" fmla="*/ 68 w 257"/>
                <a:gd name="T57" fmla="*/ 175 h 240"/>
                <a:gd name="T58" fmla="*/ 73 w 257"/>
                <a:gd name="T59" fmla="*/ 166 h 240"/>
                <a:gd name="T60" fmla="*/ 75 w 257"/>
                <a:gd name="T61" fmla="*/ 160 h 240"/>
                <a:gd name="T62" fmla="*/ 168 w 257"/>
                <a:gd name="T63" fmla="*/ 160 h 240"/>
                <a:gd name="T64" fmla="*/ 170 w 257"/>
                <a:gd name="T65" fmla="*/ 165 h 240"/>
                <a:gd name="T66" fmla="*/ 174 w 257"/>
                <a:gd name="T67" fmla="*/ 175 h 240"/>
                <a:gd name="T68" fmla="*/ 179 w 257"/>
                <a:gd name="T69" fmla="*/ 187 h 240"/>
                <a:gd name="T70" fmla="*/ 183 w 257"/>
                <a:gd name="T71" fmla="*/ 199 h 240"/>
                <a:gd name="T72" fmla="*/ 186 w 257"/>
                <a:gd name="T73" fmla="*/ 211 h 240"/>
                <a:gd name="T74" fmla="*/ 188 w 257"/>
                <a:gd name="T75" fmla="*/ 219 h 240"/>
                <a:gd name="T76" fmla="*/ 185 w 257"/>
                <a:gd name="T77" fmla="*/ 226 h 240"/>
                <a:gd name="T78" fmla="*/ 179 w 257"/>
                <a:gd name="T79" fmla="*/ 230 h 240"/>
                <a:gd name="T80" fmla="*/ 171 w 257"/>
                <a:gd name="T81" fmla="*/ 231 h 240"/>
                <a:gd name="T82" fmla="*/ 163 w 257"/>
                <a:gd name="T83" fmla="*/ 230 h 240"/>
                <a:gd name="T84" fmla="*/ 163 w 257"/>
                <a:gd name="T85" fmla="*/ 240 h 240"/>
                <a:gd name="T86" fmla="*/ 257 w 257"/>
                <a:gd name="T87" fmla="*/ 240 h 240"/>
                <a:gd name="T88" fmla="*/ 257 w 257"/>
                <a:gd name="T8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7" h="240">
                  <a:moveTo>
                    <a:pt x="84" y="133"/>
                  </a:moveTo>
                  <a:lnTo>
                    <a:pt x="84" y="133"/>
                  </a:lnTo>
                  <a:lnTo>
                    <a:pt x="119" y="54"/>
                  </a:lnTo>
                  <a:lnTo>
                    <a:pt x="156" y="133"/>
                  </a:lnTo>
                  <a:lnTo>
                    <a:pt x="84" y="133"/>
                  </a:lnTo>
                  <a:close/>
                  <a:moveTo>
                    <a:pt x="257" y="230"/>
                  </a:moveTo>
                  <a:lnTo>
                    <a:pt x="257" y="230"/>
                  </a:lnTo>
                  <a:cubicBezTo>
                    <a:pt x="250" y="230"/>
                    <a:pt x="244" y="230"/>
                    <a:pt x="240" y="228"/>
                  </a:cubicBezTo>
                  <a:cubicBezTo>
                    <a:pt x="236" y="226"/>
                    <a:pt x="233" y="224"/>
                    <a:pt x="230" y="221"/>
                  </a:cubicBezTo>
                  <a:cubicBezTo>
                    <a:pt x="227" y="218"/>
                    <a:pt x="225" y="214"/>
                    <a:pt x="223" y="210"/>
                  </a:cubicBezTo>
                  <a:cubicBezTo>
                    <a:pt x="221" y="205"/>
                    <a:pt x="219" y="200"/>
                    <a:pt x="216" y="195"/>
                  </a:cubicBezTo>
                  <a:lnTo>
                    <a:pt x="136" y="0"/>
                  </a:lnTo>
                  <a:lnTo>
                    <a:pt x="119" y="0"/>
                  </a:lnTo>
                  <a:lnTo>
                    <a:pt x="38" y="192"/>
                  </a:lnTo>
                  <a:cubicBezTo>
                    <a:pt x="35" y="199"/>
                    <a:pt x="33" y="204"/>
                    <a:pt x="31" y="209"/>
                  </a:cubicBezTo>
                  <a:cubicBezTo>
                    <a:pt x="29" y="213"/>
                    <a:pt x="27" y="217"/>
                    <a:pt x="25" y="219"/>
                  </a:cubicBezTo>
                  <a:cubicBezTo>
                    <a:pt x="22" y="222"/>
                    <a:pt x="19" y="224"/>
                    <a:pt x="16" y="226"/>
                  </a:cubicBezTo>
                  <a:cubicBezTo>
                    <a:pt x="12" y="228"/>
                    <a:pt x="7" y="229"/>
                    <a:pt x="0" y="230"/>
                  </a:cubicBezTo>
                  <a:lnTo>
                    <a:pt x="0" y="240"/>
                  </a:lnTo>
                  <a:lnTo>
                    <a:pt x="78" y="240"/>
                  </a:lnTo>
                  <a:lnTo>
                    <a:pt x="78" y="230"/>
                  </a:lnTo>
                  <a:cubicBezTo>
                    <a:pt x="76" y="230"/>
                    <a:pt x="73" y="230"/>
                    <a:pt x="71" y="230"/>
                  </a:cubicBezTo>
                  <a:cubicBezTo>
                    <a:pt x="68" y="230"/>
                    <a:pt x="65" y="230"/>
                    <a:pt x="63" y="229"/>
                  </a:cubicBezTo>
                  <a:cubicBezTo>
                    <a:pt x="60" y="228"/>
                    <a:pt x="58" y="227"/>
                    <a:pt x="56" y="226"/>
                  </a:cubicBezTo>
                  <a:cubicBezTo>
                    <a:pt x="55" y="224"/>
                    <a:pt x="54" y="222"/>
                    <a:pt x="54" y="218"/>
                  </a:cubicBezTo>
                  <a:cubicBezTo>
                    <a:pt x="54" y="216"/>
                    <a:pt x="54" y="214"/>
                    <a:pt x="55" y="210"/>
                  </a:cubicBezTo>
                  <a:cubicBezTo>
                    <a:pt x="56" y="207"/>
                    <a:pt x="57" y="203"/>
                    <a:pt x="59" y="199"/>
                  </a:cubicBezTo>
                  <a:cubicBezTo>
                    <a:pt x="60" y="195"/>
                    <a:pt x="62" y="191"/>
                    <a:pt x="63" y="187"/>
                  </a:cubicBezTo>
                  <a:cubicBezTo>
                    <a:pt x="65" y="183"/>
                    <a:pt x="67" y="179"/>
                    <a:pt x="68" y="175"/>
                  </a:cubicBezTo>
                  <a:cubicBezTo>
                    <a:pt x="70" y="171"/>
                    <a:pt x="71" y="168"/>
                    <a:pt x="73" y="166"/>
                  </a:cubicBezTo>
                  <a:cubicBezTo>
                    <a:pt x="74" y="163"/>
                    <a:pt x="75" y="161"/>
                    <a:pt x="75" y="160"/>
                  </a:cubicBezTo>
                  <a:lnTo>
                    <a:pt x="168" y="160"/>
                  </a:lnTo>
                  <a:cubicBezTo>
                    <a:pt x="168" y="161"/>
                    <a:pt x="169" y="163"/>
                    <a:pt x="170" y="165"/>
                  </a:cubicBezTo>
                  <a:cubicBezTo>
                    <a:pt x="171" y="168"/>
                    <a:pt x="173" y="171"/>
                    <a:pt x="174" y="175"/>
                  </a:cubicBezTo>
                  <a:cubicBezTo>
                    <a:pt x="176" y="179"/>
                    <a:pt x="177" y="183"/>
                    <a:pt x="179" y="187"/>
                  </a:cubicBezTo>
                  <a:cubicBezTo>
                    <a:pt x="180" y="191"/>
                    <a:pt x="182" y="195"/>
                    <a:pt x="183" y="199"/>
                  </a:cubicBezTo>
                  <a:cubicBezTo>
                    <a:pt x="184" y="203"/>
                    <a:pt x="186" y="207"/>
                    <a:pt x="186" y="211"/>
                  </a:cubicBezTo>
                  <a:cubicBezTo>
                    <a:pt x="187" y="214"/>
                    <a:pt x="188" y="217"/>
                    <a:pt x="188" y="219"/>
                  </a:cubicBezTo>
                  <a:cubicBezTo>
                    <a:pt x="188" y="222"/>
                    <a:pt x="187" y="225"/>
                    <a:pt x="185" y="226"/>
                  </a:cubicBezTo>
                  <a:cubicBezTo>
                    <a:pt x="184" y="228"/>
                    <a:pt x="182" y="229"/>
                    <a:pt x="179" y="230"/>
                  </a:cubicBezTo>
                  <a:cubicBezTo>
                    <a:pt x="177" y="230"/>
                    <a:pt x="174" y="231"/>
                    <a:pt x="171" y="231"/>
                  </a:cubicBezTo>
                  <a:cubicBezTo>
                    <a:pt x="168" y="231"/>
                    <a:pt x="166" y="230"/>
                    <a:pt x="163" y="230"/>
                  </a:cubicBezTo>
                  <a:lnTo>
                    <a:pt x="163" y="240"/>
                  </a:lnTo>
                  <a:lnTo>
                    <a:pt x="257" y="240"/>
                  </a:lnTo>
                  <a:lnTo>
                    <a:pt x="257" y="23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14">
              <a:extLst>
                <a:ext uri="{FF2B5EF4-FFF2-40B4-BE49-F238E27FC236}">
                  <a16:creationId xmlns:a16="http://schemas.microsoft.com/office/drawing/2014/main" id="{F7D35EE0-C819-470D-8746-E033532F51C6}"/>
                </a:ext>
              </a:extLst>
            </p:cNvPr>
            <p:cNvSpPr>
              <a:spLocks noEditPoints="1"/>
            </p:cNvSpPr>
            <p:nvPr/>
          </p:nvSpPr>
          <p:spPr bwMode="auto">
            <a:xfrm>
              <a:off x="1571" y="849"/>
              <a:ext cx="96" cy="132"/>
            </a:xfrm>
            <a:custGeom>
              <a:avLst/>
              <a:gdLst>
                <a:gd name="T0" fmla="*/ 55 w 155"/>
                <a:gd name="T1" fmla="*/ 133 h 212"/>
                <a:gd name="T2" fmla="*/ 55 w 155"/>
                <a:gd name="T3" fmla="*/ 133 h 212"/>
                <a:gd name="T4" fmla="*/ 85 w 155"/>
                <a:gd name="T5" fmla="*/ 42 h 212"/>
                <a:gd name="T6" fmla="*/ 115 w 155"/>
                <a:gd name="T7" fmla="*/ 133 h 212"/>
                <a:gd name="T8" fmla="*/ 55 w 155"/>
                <a:gd name="T9" fmla="*/ 133 h 212"/>
                <a:gd name="T10" fmla="*/ 71 w 155"/>
                <a:gd name="T11" fmla="*/ 0 h 212"/>
                <a:gd name="T12" fmla="*/ 71 w 155"/>
                <a:gd name="T13" fmla="*/ 0 h 212"/>
                <a:gd name="T14" fmla="*/ 0 w 155"/>
                <a:gd name="T15" fmla="*/ 212 h 212"/>
                <a:gd name="T16" fmla="*/ 28 w 155"/>
                <a:gd name="T17" fmla="*/ 212 h 212"/>
                <a:gd name="T18" fmla="*/ 46 w 155"/>
                <a:gd name="T19" fmla="*/ 159 h 212"/>
                <a:gd name="T20" fmla="*/ 124 w 155"/>
                <a:gd name="T21" fmla="*/ 159 h 212"/>
                <a:gd name="T22" fmla="*/ 138 w 155"/>
                <a:gd name="T23" fmla="*/ 200 h 212"/>
                <a:gd name="T24" fmla="*/ 155 w 155"/>
                <a:gd name="T25" fmla="*/ 166 h 212"/>
                <a:gd name="T26" fmla="*/ 99 w 155"/>
                <a:gd name="T27" fmla="*/ 0 h 212"/>
                <a:gd name="T28" fmla="*/ 71 w 155"/>
                <a:gd name="T2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2">
                  <a:moveTo>
                    <a:pt x="55" y="133"/>
                  </a:moveTo>
                  <a:lnTo>
                    <a:pt x="55" y="133"/>
                  </a:lnTo>
                  <a:lnTo>
                    <a:pt x="85" y="42"/>
                  </a:lnTo>
                  <a:lnTo>
                    <a:pt x="115" y="133"/>
                  </a:lnTo>
                  <a:lnTo>
                    <a:pt x="55" y="133"/>
                  </a:lnTo>
                  <a:close/>
                  <a:moveTo>
                    <a:pt x="71" y="0"/>
                  </a:moveTo>
                  <a:lnTo>
                    <a:pt x="71" y="0"/>
                  </a:lnTo>
                  <a:lnTo>
                    <a:pt x="0" y="212"/>
                  </a:lnTo>
                  <a:lnTo>
                    <a:pt x="28" y="212"/>
                  </a:lnTo>
                  <a:lnTo>
                    <a:pt x="46" y="159"/>
                  </a:lnTo>
                  <a:lnTo>
                    <a:pt x="124" y="159"/>
                  </a:lnTo>
                  <a:lnTo>
                    <a:pt x="138" y="200"/>
                  </a:lnTo>
                  <a:lnTo>
                    <a:pt x="155" y="166"/>
                  </a:lnTo>
                  <a:lnTo>
                    <a:pt x="99" y="0"/>
                  </a:lnTo>
                  <a:lnTo>
                    <a:pt x="71"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8D8457CF-F21E-4809-A5EE-14D92894552E}"/>
              </a:ext>
            </a:extLst>
          </p:cNvPr>
          <p:cNvGrpSpPr/>
          <p:nvPr/>
        </p:nvGrpSpPr>
        <p:grpSpPr>
          <a:xfrm>
            <a:off x="4286418" y="5941126"/>
            <a:ext cx="494752" cy="497101"/>
            <a:chOff x="8659722" y="4264035"/>
            <a:chExt cx="771525" cy="657225"/>
          </a:xfrm>
        </p:grpSpPr>
        <p:sp>
          <p:nvSpPr>
            <p:cNvPr id="126" name="Freeform: Shape 125">
              <a:extLst>
                <a:ext uri="{FF2B5EF4-FFF2-40B4-BE49-F238E27FC236}">
                  <a16:creationId xmlns:a16="http://schemas.microsoft.com/office/drawing/2014/main" id="{5C9F320D-6A5D-4DF4-8113-A4A28BE13CEF}"/>
                </a:ext>
              </a:extLst>
            </p:cNvPr>
            <p:cNvSpPr/>
            <p:nvPr/>
          </p:nvSpPr>
          <p:spPr bwMode="auto">
            <a:xfrm>
              <a:off x="8727621" y="4313464"/>
              <a:ext cx="650422" cy="605074"/>
            </a:xfrm>
            <a:custGeom>
              <a:avLst/>
              <a:gdLst>
                <a:gd name="connsiteX0" fmla="*/ 397329 w 650422"/>
                <a:gd name="connsiteY0" fmla="*/ 0 h 605074"/>
                <a:gd name="connsiteX1" fmla="*/ 541565 w 650422"/>
                <a:gd name="connsiteY1" fmla="*/ 43543 h 605074"/>
                <a:gd name="connsiteX2" fmla="*/ 579665 w 650422"/>
                <a:gd name="connsiteY2" fmla="*/ 100693 h 605074"/>
                <a:gd name="connsiteX3" fmla="*/ 636815 w 650422"/>
                <a:gd name="connsiteY3" fmla="*/ 125185 h 605074"/>
                <a:gd name="connsiteX4" fmla="*/ 650422 w 650422"/>
                <a:gd name="connsiteY4" fmla="*/ 299357 h 605074"/>
                <a:gd name="connsiteX5" fmla="*/ 606879 w 650422"/>
                <a:gd name="connsiteY5" fmla="*/ 424543 h 605074"/>
                <a:gd name="connsiteX6" fmla="*/ 476250 w 650422"/>
                <a:gd name="connsiteY6" fmla="*/ 453822 h 605074"/>
                <a:gd name="connsiteX7" fmla="*/ 476250 w 650422"/>
                <a:gd name="connsiteY7" fmla="*/ 605074 h 605074"/>
                <a:gd name="connsiteX8" fmla="*/ 367393 w 650422"/>
                <a:gd name="connsiteY8" fmla="*/ 605074 h 605074"/>
                <a:gd name="connsiteX9" fmla="*/ 367393 w 650422"/>
                <a:gd name="connsiteY9" fmla="*/ 433300 h 605074"/>
                <a:gd name="connsiteX10" fmla="*/ 234043 w 650422"/>
                <a:gd name="connsiteY10" fmla="*/ 304800 h 605074"/>
                <a:gd name="connsiteX11" fmla="*/ 70758 w 650422"/>
                <a:gd name="connsiteY11" fmla="*/ 342900 h 605074"/>
                <a:gd name="connsiteX12" fmla="*/ 0 w 650422"/>
                <a:gd name="connsiteY12" fmla="*/ 310243 h 605074"/>
                <a:gd name="connsiteX13" fmla="*/ 29936 w 650422"/>
                <a:gd name="connsiteY13" fmla="*/ 125185 h 605074"/>
                <a:gd name="connsiteX14" fmla="*/ 228600 w 650422"/>
                <a:gd name="connsiteY14" fmla="*/ 8164 h 60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0422" h="605074">
                  <a:moveTo>
                    <a:pt x="397329" y="0"/>
                  </a:moveTo>
                  <a:lnTo>
                    <a:pt x="541565" y="43543"/>
                  </a:lnTo>
                  <a:lnTo>
                    <a:pt x="579665" y="100693"/>
                  </a:lnTo>
                  <a:lnTo>
                    <a:pt x="636815" y="125185"/>
                  </a:lnTo>
                  <a:lnTo>
                    <a:pt x="650422" y="299357"/>
                  </a:lnTo>
                  <a:lnTo>
                    <a:pt x="606879" y="424543"/>
                  </a:lnTo>
                  <a:lnTo>
                    <a:pt x="476250" y="453822"/>
                  </a:lnTo>
                  <a:lnTo>
                    <a:pt x="476250" y="605074"/>
                  </a:lnTo>
                  <a:lnTo>
                    <a:pt x="367393" y="605074"/>
                  </a:lnTo>
                  <a:lnTo>
                    <a:pt x="367393" y="433300"/>
                  </a:lnTo>
                  <a:lnTo>
                    <a:pt x="234043" y="304800"/>
                  </a:lnTo>
                  <a:lnTo>
                    <a:pt x="70758" y="342900"/>
                  </a:lnTo>
                  <a:lnTo>
                    <a:pt x="0" y="310243"/>
                  </a:lnTo>
                  <a:lnTo>
                    <a:pt x="29936" y="125185"/>
                  </a:lnTo>
                  <a:lnTo>
                    <a:pt x="228600" y="816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Graphic 3" descr="Brain">
              <a:extLst>
                <a:ext uri="{FF2B5EF4-FFF2-40B4-BE49-F238E27FC236}">
                  <a16:creationId xmlns:a16="http://schemas.microsoft.com/office/drawing/2014/main" id="{46C73E29-2F75-46D6-835E-E57EEF40DABC}"/>
                </a:ext>
              </a:extLst>
            </p:cNvPr>
            <p:cNvSpPr/>
            <p:nvPr/>
          </p:nvSpPr>
          <p:spPr>
            <a:xfrm>
              <a:off x="8659722" y="4264035"/>
              <a:ext cx="771525" cy="657225"/>
            </a:xfrm>
            <a:custGeom>
              <a:avLst/>
              <a:gdLst>
                <a:gd name="connsiteX0" fmla="*/ 749390 w 771525"/>
                <a:gd name="connsiteY0" fmla="*/ 399794 h 657225"/>
                <a:gd name="connsiteX1" fmla="*/ 744628 w 771525"/>
                <a:gd name="connsiteY1" fmla="*/ 267397 h 657225"/>
                <a:gd name="connsiteX2" fmla="*/ 750343 w 771525"/>
                <a:gd name="connsiteY2" fmla="*/ 233107 h 657225"/>
                <a:gd name="connsiteX3" fmla="*/ 658903 w 771525"/>
                <a:gd name="connsiteY3" fmla="*/ 122617 h 657225"/>
                <a:gd name="connsiteX4" fmla="*/ 550318 w 771525"/>
                <a:gd name="connsiteY4" fmla="*/ 45464 h 657225"/>
                <a:gd name="connsiteX5" fmla="*/ 523648 w 771525"/>
                <a:gd name="connsiteY5" fmla="*/ 48322 h 657225"/>
                <a:gd name="connsiteX6" fmla="*/ 443638 w 771525"/>
                <a:gd name="connsiteY6" fmla="*/ 7364 h 657225"/>
                <a:gd name="connsiteX7" fmla="*/ 358865 w 771525"/>
                <a:gd name="connsiteY7" fmla="*/ 36892 h 657225"/>
                <a:gd name="connsiteX8" fmla="*/ 258853 w 771525"/>
                <a:gd name="connsiteY8" fmla="*/ 21652 h 657225"/>
                <a:gd name="connsiteX9" fmla="*/ 185510 w 771525"/>
                <a:gd name="connsiteY9" fmla="*/ 92137 h 657225"/>
                <a:gd name="connsiteX10" fmla="*/ 178843 w 771525"/>
                <a:gd name="connsiteY10" fmla="*/ 92137 h 657225"/>
                <a:gd name="connsiteX11" fmla="*/ 64543 w 771525"/>
                <a:gd name="connsiteY11" fmla="*/ 204532 h 657225"/>
                <a:gd name="connsiteX12" fmla="*/ 64543 w 771525"/>
                <a:gd name="connsiteY12" fmla="*/ 210247 h 657225"/>
                <a:gd name="connsiteX13" fmla="*/ 7393 w 771525"/>
                <a:gd name="connsiteY13" fmla="*/ 315974 h 657225"/>
                <a:gd name="connsiteX14" fmla="*/ 125503 w 771525"/>
                <a:gd name="connsiteY14" fmla="*/ 420749 h 657225"/>
                <a:gd name="connsiteX15" fmla="*/ 273140 w 771525"/>
                <a:gd name="connsiteY15" fmla="*/ 420749 h 657225"/>
                <a:gd name="connsiteX16" fmla="*/ 388393 w 771525"/>
                <a:gd name="connsiteY16" fmla="*/ 534097 h 657225"/>
                <a:gd name="connsiteX17" fmla="*/ 388393 w 771525"/>
                <a:gd name="connsiteY17" fmla="*/ 656017 h 657225"/>
                <a:gd name="connsiteX18" fmla="*/ 463640 w 771525"/>
                <a:gd name="connsiteY18" fmla="*/ 656017 h 657225"/>
                <a:gd name="connsiteX19" fmla="*/ 463640 w 771525"/>
                <a:gd name="connsiteY19" fmla="*/ 570292 h 657225"/>
                <a:gd name="connsiteX20" fmla="*/ 463640 w 771525"/>
                <a:gd name="connsiteY20" fmla="*/ 557909 h 657225"/>
                <a:gd name="connsiteX21" fmla="*/ 487453 w 771525"/>
                <a:gd name="connsiteY21" fmla="*/ 449324 h 657225"/>
                <a:gd name="connsiteX22" fmla="*/ 537935 w 771525"/>
                <a:gd name="connsiteY22" fmla="*/ 406462 h 657225"/>
                <a:gd name="connsiteX23" fmla="*/ 575083 w 771525"/>
                <a:gd name="connsiteY23" fmla="*/ 375029 h 657225"/>
                <a:gd name="connsiteX24" fmla="*/ 587465 w 771525"/>
                <a:gd name="connsiteY24" fmla="*/ 352169 h 657225"/>
                <a:gd name="connsiteX25" fmla="*/ 525553 w 771525"/>
                <a:gd name="connsiteY25" fmla="*/ 344549 h 657225"/>
                <a:gd name="connsiteX26" fmla="*/ 503645 w 771525"/>
                <a:gd name="connsiteY26" fmla="*/ 328357 h 657225"/>
                <a:gd name="connsiteX27" fmla="*/ 519838 w 771525"/>
                <a:gd name="connsiteY27" fmla="*/ 306449 h 657225"/>
                <a:gd name="connsiteX28" fmla="*/ 596038 w 771525"/>
                <a:gd name="connsiteY28" fmla="*/ 315022 h 657225"/>
                <a:gd name="connsiteX29" fmla="*/ 596990 w 771525"/>
                <a:gd name="connsiteY29" fmla="*/ 307402 h 657225"/>
                <a:gd name="connsiteX30" fmla="*/ 591275 w 771525"/>
                <a:gd name="connsiteY30" fmla="*/ 262634 h 657225"/>
                <a:gd name="connsiteX31" fmla="*/ 513170 w 771525"/>
                <a:gd name="connsiteY31" fmla="*/ 200722 h 657225"/>
                <a:gd name="connsiteX32" fmla="*/ 494120 w 771525"/>
                <a:gd name="connsiteY32" fmla="*/ 195007 h 657225"/>
                <a:gd name="connsiteX33" fmla="*/ 488405 w 771525"/>
                <a:gd name="connsiteY33" fmla="*/ 193102 h 657225"/>
                <a:gd name="connsiteX34" fmla="*/ 487453 w 771525"/>
                <a:gd name="connsiteY34" fmla="*/ 193102 h 657225"/>
                <a:gd name="connsiteX35" fmla="*/ 465545 w 771525"/>
                <a:gd name="connsiteY35" fmla="*/ 198817 h 657225"/>
                <a:gd name="connsiteX36" fmla="*/ 456973 w 771525"/>
                <a:gd name="connsiteY36" fmla="*/ 200722 h 657225"/>
                <a:gd name="connsiteX37" fmla="*/ 447448 w 771525"/>
                <a:gd name="connsiteY37" fmla="*/ 202627 h 657225"/>
                <a:gd name="connsiteX38" fmla="*/ 424588 w 771525"/>
                <a:gd name="connsiteY38" fmla="*/ 272159 h 657225"/>
                <a:gd name="connsiteX39" fmla="*/ 457925 w 771525"/>
                <a:gd name="connsiteY39" fmla="*/ 336929 h 657225"/>
                <a:gd name="connsiteX40" fmla="*/ 459830 w 771525"/>
                <a:gd name="connsiteY40" fmla="*/ 363599 h 657225"/>
                <a:gd name="connsiteX41" fmla="*/ 435065 w 771525"/>
                <a:gd name="connsiteY41" fmla="*/ 365504 h 657225"/>
                <a:gd name="connsiteX42" fmla="*/ 406490 w 771525"/>
                <a:gd name="connsiteY42" fmla="*/ 330262 h 657225"/>
                <a:gd name="connsiteX43" fmla="*/ 404585 w 771525"/>
                <a:gd name="connsiteY43" fmla="*/ 330262 h 657225"/>
                <a:gd name="connsiteX44" fmla="*/ 322670 w 771525"/>
                <a:gd name="connsiteY44" fmla="*/ 304544 h 657225"/>
                <a:gd name="connsiteX45" fmla="*/ 317908 w 771525"/>
                <a:gd name="connsiteY45" fmla="*/ 278827 h 657225"/>
                <a:gd name="connsiteX46" fmla="*/ 343625 w 771525"/>
                <a:gd name="connsiteY46" fmla="*/ 273112 h 657225"/>
                <a:gd name="connsiteX47" fmla="*/ 391250 w 771525"/>
                <a:gd name="connsiteY47" fmla="*/ 289304 h 657225"/>
                <a:gd name="connsiteX48" fmla="*/ 387440 w 771525"/>
                <a:gd name="connsiteY48" fmla="*/ 274064 h 657225"/>
                <a:gd name="connsiteX49" fmla="*/ 397918 w 771525"/>
                <a:gd name="connsiteY49" fmla="*/ 212152 h 657225"/>
                <a:gd name="connsiteX50" fmla="*/ 358865 w 771525"/>
                <a:gd name="connsiteY50" fmla="*/ 215009 h 657225"/>
                <a:gd name="connsiteX51" fmla="*/ 324575 w 771525"/>
                <a:gd name="connsiteY51" fmla="*/ 212152 h 657225"/>
                <a:gd name="connsiteX52" fmla="*/ 241708 w 771525"/>
                <a:gd name="connsiteY52" fmla="*/ 264539 h 657225"/>
                <a:gd name="connsiteX53" fmla="*/ 158840 w 771525"/>
                <a:gd name="connsiteY53" fmla="*/ 360742 h 657225"/>
                <a:gd name="connsiteX54" fmla="*/ 139790 w 771525"/>
                <a:gd name="connsiteY54" fmla="*/ 379792 h 657225"/>
                <a:gd name="connsiteX55" fmla="*/ 120740 w 771525"/>
                <a:gd name="connsiteY55" fmla="*/ 360742 h 657225"/>
                <a:gd name="connsiteX56" fmla="*/ 165508 w 771525"/>
                <a:gd name="connsiteY56" fmla="*/ 268349 h 657225"/>
                <a:gd name="connsiteX57" fmla="*/ 106453 w 771525"/>
                <a:gd name="connsiteY57" fmla="*/ 238822 h 657225"/>
                <a:gd name="connsiteX58" fmla="*/ 109310 w 771525"/>
                <a:gd name="connsiteY58" fmla="*/ 212152 h 657225"/>
                <a:gd name="connsiteX59" fmla="*/ 135980 w 771525"/>
                <a:gd name="connsiteY59" fmla="*/ 214057 h 657225"/>
                <a:gd name="connsiteX60" fmla="*/ 196940 w 771525"/>
                <a:gd name="connsiteY60" fmla="*/ 231202 h 657225"/>
                <a:gd name="connsiteX61" fmla="*/ 283618 w 771525"/>
                <a:gd name="connsiteY61" fmla="*/ 198817 h 657225"/>
                <a:gd name="connsiteX62" fmla="*/ 218848 w 771525"/>
                <a:gd name="connsiteY62" fmla="*/ 139762 h 657225"/>
                <a:gd name="connsiteX63" fmla="*/ 225515 w 771525"/>
                <a:gd name="connsiteY63" fmla="*/ 114044 h 657225"/>
                <a:gd name="connsiteX64" fmla="*/ 251233 w 771525"/>
                <a:gd name="connsiteY64" fmla="*/ 120712 h 657225"/>
                <a:gd name="connsiteX65" fmla="*/ 434113 w 771525"/>
                <a:gd name="connsiteY65" fmla="*/ 164527 h 657225"/>
                <a:gd name="connsiteX66" fmla="*/ 405538 w 771525"/>
                <a:gd name="connsiteY66" fmla="*/ 91184 h 657225"/>
                <a:gd name="connsiteX67" fmla="*/ 425540 w 771525"/>
                <a:gd name="connsiteY67" fmla="*/ 73087 h 657225"/>
                <a:gd name="connsiteX68" fmla="*/ 443638 w 771525"/>
                <a:gd name="connsiteY68" fmla="*/ 93089 h 657225"/>
                <a:gd name="connsiteX69" fmla="*/ 503645 w 771525"/>
                <a:gd name="connsiteY69" fmla="*/ 155954 h 657225"/>
                <a:gd name="connsiteX70" fmla="*/ 520790 w 771525"/>
                <a:gd name="connsiteY70" fmla="*/ 160717 h 657225"/>
                <a:gd name="connsiteX71" fmla="*/ 577940 w 771525"/>
                <a:gd name="connsiteY71" fmla="*/ 112139 h 657225"/>
                <a:gd name="connsiteX72" fmla="*/ 601753 w 771525"/>
                <a:gd name="connsiteY72" fmla="*/ 126427 h 657225"/>
                <a:gd name="connsiteX73" fmla="*/ 587465 w 771525"/>
                <a:gd name="connsiteY73" fmla="*/ 150239 h 657225"/>
                <a:gd name="connsiteX74" fmla="*/ 556985 w 771525"/>
                <a:gd name="connsiteY74" fmla="*/ 175004 h 657225"/>
                <a:gd name="connsiteX75" fmla="*/ 556985 w 771525"/>
                <a:gd name="connsiteY75" fmla="*/ 176909 h 657225"/>
                <a:gd name="connsiteX76" fmla="*/ 625565 w 771525"/>
                <a:gd name="connsiteY76" fmla="*/ 247394 h 657225"/>
                <a:gd name="connsiteX77" fmla="*/ 631280 w 771525"/>
                <a:gd name="connsiteY77" fmla="*/ 270254 h 657225"/>
                <a:gd name="connsiteX78" fmla="*/ 639853 w 771525"/>
                <a:gd name="connsiteY78" fmla="*/ 258824 h 657225"/>
                <a:gd name="connsiteX79" fmla="*/ 653188 w 771525"/>
                <a:gd name="connsiteY79" fmla="*/ 214057 h 657225"/>
                <a:gd name="connsiteX80" fmla="*/ 665570 w 771525"/>
                <a:gd name="connsiteY80" fmla="*/ 198817 h 657225"/>
                <a:gd name="connsiteX81" fmla="*/ 684620 w 771525"/>
                <a:gd name="connsiteY81" fmla="*/ 202627 h 657225"/>
                <a:gd name="connsiteX82" fmla="*/ 690335 w 771525"/>
                <a:gd name="connsiteY82" fmla="*/ 221677 h 657225"/>
                <a:gd name="connsiteX83" fmla="*/ 672238 w 771525"/>
                <a:gd name="connsiteY83" fmla="*/ 276922 h 657225"/>
                <a:gd name="connsiteX84" fmla="*/ 631280 w 771525"/>
                <a:gd name="connsiteY84" fmla="*/ 315974 h 657225"/>
                <a:gd name="connsiteX85" fmla="*/ 610325 w 771525"/>
                <a:gd name="connsiteY85" fmla="*/ 384554 h 657225"/>
                <a:gd name="connsiteX86" fmla="*/ 652235 w 771525"/>
                <a:gd name="connsiteY86" fmla="*/ 420749 h 657225"/>
                <a:gd name="connsiteX87" fmla="*/ 661760 w 771525"/>
                <a:gd name="connsiteY87" fmla="*/ 437894 h 657225"/>
                <a:gd name="connsiteX88" fmla="*/ 651283 w 771525"/>
                <a:gd name="connsiteY88" fmla="*/ 454087 h 657225"/>
                <a:gd name="connsiteX89" fmla="*/ 632233 w 771525"/>
                <a:gd name="connsiteY89" fmla="*/ 453134 h 657225"/>
                <a:gd name="connsiteX90" fmla="*/ 587465 w 771525"/>
                <a:gd name="connsiteY90" fmla="*/ 415034 h 657225"/>
                <a:gd name="connsiteX91" fmla="*/ 557938 w 771525"/>
                <a:gd name="connsiteY91" fmla="*/ 436942 h 657225"/>
                <a:gd name="connsiteX92" fmla="*/ 515075 w 771525"/>
                <a:gd name="connsiteY92" fmla="*/ 473137 h 657225"/>
                <a:gd name="connsiteX93" fmla="*/ 500788 w 771525"/>
                <a:gd name="connsiteY93" fmla="*/ 556957 h 657225"/>
                <a:gd name="connsiteX94" fmla="*/ 500788 w 771525"/>
                <a:gd name="connsiteY94" fmla="*/ 570292 h 657225"/>
                <a:gd name="connsiteX95" fmla="*/ 500788 w 771525"/>
                <a:gd name="connsiteY95" fmla="*/ 656017 h 657225"/>
                <a:gd name="connsiteX96" fmla="*/ 576988 w 771525"/>
                <a:gd name="connsiteY96" fmla="*/ 656017 h 657225"/>
                <a:gd name="connsiteX97" fmla="*/ 643663 w 771525"/>
                <a:gd name="connsiteY97" fmla="*/ 523619 h 657225"/>
                <a:gd name="connsiteX98" fmla="*/ 748438 w 771525"/>
                <a:gd name="connsiteY98" fmla="*/ 412177 h 657225"/>
                <a:gd name="connsiteX99" fmla="*/ 749390 w 771525"/>
                <a:gd name="connsiteY99" fmla="*/ 399794 h 657225"/>
                <a:gd name="connsiteX100" fmla="*/ 749390 w 771525"/>
                <a:gd name="connsiteY100" fmla="*/ 399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771525" h="657225">
                  <a:moveTo>
                    <a:pt x="749390" y="399794"/>
                  </a:moveTo>
                  <a:cubicBezTo>
                    <a:pt x="777013" y="359789"/>
                    <a:pt x="775108" y="305497"/>
                    <a:pt x="744628" y="267397"/>
                  </a:cubicBezTo>
                  <a:cubicBezTo>
                    <a:pt x="748438" y="255967"/>
                    <a:pt x="750343" y="244537"/>
                    <a:pt x="750343" y="233107"/>
                  </a:cubicBezTo>
                  <a:cubicBezTo>
                    <a:pt x="750343" y="178814"/>
                    <a:pt x="711290" y="133094"/>
                    <a:pt x="658903" y="122617"/>
                  </a:cubicBezTo>
                  <a:cubicBezTo>
                    <a:pt x="642710" y="75944"/>
                    <a:pt x="599848" y="45464"/>
                    <a:pt x="550318" y="45464"/>
                  </a:cubicBezTo>
                  <a:cubicBezTo>
                    <a:pt x="541745" y="45464"/>
                    <a:pt x="532220" y="46417"/>
                    <a:pt x="523648" y="48322"/>
                  </a:cubicBezTo>
                  <a:cubicBezTo>
                    <a:pt x="503645" y="24509"/>
                    <a:pt x="474118" y="10222"/>
                    <a:pt x="443638" y="7364"/>
                  </a:cubicBezTo>
                  <a:cubicBezTo>
                    <a:pt x="412205" y="5459"/>
                    <a:pt x="381725" y="15937"/>
                    <a:pt x="358865" y="36892"/>
                  </a:cubicBezTo>
                  <a:cubicBezTo>
                    <a:pt x="329338" y="16889"/>
                    <a:pt x="292190" y="11174"/>
                    <a:pt x="258853" y="21652"/>
                  </a:cubicBezTo>
                  <a:cubicBezTo>
                    <a:pt x="224563" y="32129"/>
                    <a:pt x="197893" y="57847"/>
                    <a:pt x="185510" y="92137"/>
                  </a:cubicBezTo>
                  <a:cubicBezTo>
                    <a:pt x="183605" y="92137"/>
                    <a:pt x="180748" y="92137"/>
                    <a:pt x="178843" y="92137"/>
                  </a:cubicBezTo>
                  <a:cubicBezTo>
                    <a:pt x="115978" y="92137"/>
                    <a:pt x="65495" y="141667"/>
                    <a:pt x="64543" y="204532"/>
                  </a:cubicBezTo>
                  <a:cubicBezTo>
                    <a:pt x="64543" y="206437"/>
                    <a:pt x="64543" y="208342"/>
                    <a:pt x="64543" y="210247"/>
                  </a:cubicBezTo>
                  <a:cubicBezTo>
                    <a:pt x="26443" y="231202"/>
                    <a:pt x="4535" y="272159"/>
                    <a:pt x="7393" y="315974"/>
                  </a:cubicBezTo>
                  <a:cubicBezTo>
                    <a:pt x="11203" y="375982"/>
                    <a:pt x="64543" y="420749"/>
                    <a:pt x="125503" y="420749"/>
                  </a:cubicBezTo>
                  <a:lnTo>
                    <a:pt x="273140" y="420749"/>
                  </a:lnTo>
                  <a:cubicBezTo>
                    <a:pt x="336005" y="420749"/>
                    <a:pt x="387440" y="471232"/>
                    <a:pt x="388393" y="534097"/>
                  </a:cubicBezTo>
                  <a:lnTo>
                    <a:pt x="388393" y="656017"/>
                  </a:lnTo>
                  <a:lnTo>
                    <a:pt x="463640" y="656017"/>
                  </a:lnTo>
                  <a:lnTo>
                    <a:pt x="463640" y="570292"/>
                  </a:lnTo>
                  <a:cubicBezTo>
                    <a:pt x="463640" y="566482"/>
                    <a:pt x="463640" y="561719"/>
                    <a:pt x="463640" y="557909"/>
                  </a:cubicBezTo>
                  <a:cubicBezTo>
                    <a:pt x="463640" y="522667"/>
                    <a:pt x="462688" y="477899"/>
                    <a:pt x="487453" y="449324"/>
                  </a:cubicBezTo>
                  <a:cubicBezTo>
                    <a:pt x="502693" y="433132"/>
                    <a:pt x="519838" y="418844"/>
                    <a:pt x="537935" y="406462"/>
                  </a:cubicBezTo>
                  <a:cubicBezTo>
                    <a:pt x="552223" y="397889"/>
                    <a:pt x="564605" y="387412"/>
                    <a:pt x="575083" y="375029"/>
                  </a:cubicBezTo>
                  <a:cubicBezTo>
                    <a:pt x="579845" y="367409"/>
                    <a:pt x="584608" y="359789"/>
                    <a:pt x="587465" y="352169"/>
                  </a:cubicBezTo>
                  <a:cubicBezTo>
                    <a:pt x="567463" y="344549"/>
                    <a:pt x="546508" y="341692"/>
                    <a:pt x="525553" y="344549"/>
                  </a:cubicBezTo>
                  <a:cubicBezTo>
                    <a:pt x="515075" y="345502"/>
                    <a:pt x="505550" y="338834"/>
                    <a:pt x="503645" y="328357"/>
                  </a:cubicBezTo>
                  <a:cubicBezTo>
                    <a:pt x="502693" y="317879"/>
                    <a:pt x="509360" y="308354"/>
                    <a:pt x="519838" y="306449"/>
                  </a:cubicBezTo>
                  <a:cubicBezTo>
                    <a:pt x="545555" y="302639"/>
                    <a:pt x="571273" y="305497"/>
                    <a:pt x="596038" y="315022"/>
                  </a:cubicBezTo>
                  <a:cubicBezTo>
                    <a:pt x="596038" y="312164"/>
                    <a:pt x="596038" y="310259"/>
                    <a:pt x="596990" y="307402"/>
                  </a:cubicBezTo>
                  <a:cubicBezTo>
                    <a:pt x="597943" y="292162"/>
                    <a:pt x="596038" y="276922"/>
                    <a:pt x="591275" y="262634"/>
                  </a:cubicBezTo>
                  <a:cubicBezTo>
                    <a:pt x="577940" y="228344"/>
                    <a:pt x="544603" y="213104"/>
                    <a:pt x="513170" y="200722"/>
                  </a:cubicBezTo>
                  <a:cubicBezTo>
                    <a:pt x="507455" y="198817"/>
                    <a:pt x="501740" y="196912"/>
                    <a:pt x="494120" y="195007"/>
                  </a:cubicBezTo>
                  <a:lnTo>
                    <a:pt x="488405" y="193102"/>
                  </a:lnTo>
                  <a:lnTo>
                    <a:pt x="487453" y="193102"/>
                  </a:lnTo>
                  <a:cubicBezTo>
                    <a:pt x="479833" y="194054"/>
                    <a:pt x="473165" y="195959"/>
                    <a:pt x="465545" y="198817"/>
                  </a:cubicBezTo>
                  <a:lnTo>
                    <a:pt x="456973" y="200722"/>
                  </a:lnTo>
                  <a:lnTo>
                    <a:pt x="447448" y="202627"/>
                  </a:lnTo>
                  <a:cubicBezTo>
                    <a:pt x="431255" y="221677"/>
                    <a:pt x="422683" y="246442"/>
                    <a:pt x="424588" y="272159"/>
                  </a:cubicBezTo>
                  <a:cubicBezTo>
                    <a:pt x="426493" y="297877"/>
                    <a:pt x="438875" y="320737"/>
                    <a:pt x="457925" y="336929"/>
                  </a:cubicBezTo>
                  <a:cubicBezTo>
                    <a:pt x="465545" y="343597"/>
                    <a:pt x="465545" y="355027"/>
                    <a:pt x="459830" y="363599"/>
                  </a:cubicBezTo>
                  <a:cubicBezTo>
                    <a:pt x="454115" y="370267"/>
                    <a:pt x="442685" y="371219"/>
                    <a:pt x="435065" y="365504"/>
                  </a:cubicBezTo>
                  <a:cubicBezTo>
                    <a:pt x="423635" y="355979"/>
                    <a:pt x="414110" y="343597"/>
                    <a:pt x="406490" y="330262"/>
                  </a:cubicBezTo>
                  <a:lnTo>
                    <a:pt x="404585" y="330262"/>
                  </a:lnTo>
                  <a:cubicBezTo>
                    <a:pt x="377915" y="325499"/>
                    <a:pt x="347435" y="320737"/>
                    <a:pt x="322670" y="304544"/>
                  </a:cubicBezTo>
                  <a:cubicBezTo>
                    <a:pt x="314098" y="298829"/>
                    <a:pt x="312193" y="287399"/>
                    <a:pt x="317908" y="278827"/>
                  </a:cubicBezTo>
                  <a:cubicBezTo>
                    <a:pt x="323623" y="270254"/>
                    <a:pt x="335053" y="267397"/>
                    <a:pt x="343625" y="273112"/>
                  </a:cubicBezTo>
                  <a:cubicBezTo>
                    <a:pt x="357913" y="281684"/>
                    <a:pt x="374105" y="287399"/>
                    <a:pt x="391250" y="289304"/>
                  </a:cubicBezTo>
                  <a:cubicBezTo>
                    <a:pt x="389345" y="284542"/>
                    <a:pt x="388393" y="279779"/>
                    <a:pt x="387440" y="274064"/>
                  </a:cubicBezTo>
                  <a:cubicBezTo>
                    <a:pt x="385535" y="253109"/>
                    <a:pt x="389345" y="231202"/>
                    <a:pt x="397918" y="212152"/>
                  </a:cubicBezTo>
                  <a:cubicBezTo>
                    <a:pt x="384583" y="214057"/>
                    <a:pt x="372200" y="215009"/>
                    <a:pt x="358865" y="215009"/>
                  </a:cubicBezTo>
                  <a:cubicBezTo>
                    <a:pt x="347435" y="215009"/>
                    <a:pt x="336005" y="214057"/>
                    <a:pt x="324575" y="212152"/>
                  </a:cubicBezTo>
                  <a:cubicBezTo>
                    <a:pt x="303620" y="237869"/>
                    <a:pt x="274093" y="256919"/>
                    <a:pt x="241708" y="264539"/>
                  </a:cubicBezTo>
                  <a:cubicBezTo>
                    <a:pt x="198845" y="286447"/>
                    <a:pt x="158840" y="314069"/>
                    <a:pt x="158840" y="360742"/>
                  </a:cubicBezTo>
                  <a:cubicBezTo>
                    <a:pt x="158840" y="371219"/>
                    <a:pt x="150268" y="379792"/>
                    <a:pt x="139790" y="379792"/>
                  </a:cubicBezTo>
                  <a:cubicBezTo>
                    <a:pt x="129313" y="379792"/>
                    <a:pt x="120740" y="371219"/>
                    <a:pt x="120740" y="360742"/>
                  </a:cubicBezTo>
                  <a:cubicBezTo>
                    <a:pt x="121693" y="324547"/>
                    <a:pt x="137885" y="291209"/>
                    <a:pt x="165508" y="268349"/>
                  </a:cubicBezTo>
                  <a:cubicBezTo>
                    <a:pt x="142648" y="265492"/>
                    <a:pt x="121693" y="255967"/>
                    <a:pt x="106453" y="238822"/>
                  </a:cubicBezTo>
                  <a:cubicBezTo>
                    <a:pt x="99785" y="230249"/>
                    <a:pt x="101690" y="218819"/>
                    <a:pt x="109310" y="212152"/>
                  </a:cubicBezTo>
                  <a:cubicBezTo>
                    <a:pt x="116930" y="205484"/>
                    <a:pt x="129313" y="206437"/>
                    <a:pt x="135980" y="214057"/>
                  </a:cubicBezTo>
                  <a:cubicBezTo>
                    <a:pt x="143600" y="223582"/>
                    <a:pt x="165508" y="232154"/>
                    <a:pt x="196940" y="231202"/>
                  </a:cubicBezTo>
                  <a:cubicBezTo>
                    <a:pt x="228373" y="231202"/>
                    <a:pt x="259805" y="219772"/>
                    <a:pt x="283618" y="198817"/>
                  </a:cubicBezTo>
                  <a:cubicBezTo>
                    <a:pt x="255995" y="187387"/>
                    <a:pt x="233135" y="166432"/>
                    <a:pt x="218848" y="139762"/>
                  </a:cubicBezTo>
                  <a:cubicBezTo>
                    <a:pt x="213133" y="130237"/>
                    <a:pt x="216943" y="118807"/>
                    <a:pt x="225515" y="114044"/>
                  </a:cubicBezTo>
                  <a:cubicBezTo>
                    <a:pt x="235040" y="108329"/>
                    <a:pt x="246470" y="112139"/>
                    <a:pt x="251233" y="120712"/>
                  </a:cubicBezTo>
                  <a:cubicBezTo>
                    <a:pt x="279808" y="172147"/>
                    <a:pt x="339815" y="186434"/>
                    <a:pt x="434113" y="164527"/>
                  </a:cubicBezTo>
                  <a:cubicBezTo>
                    <a:pt x="416968" y="150239"/>
                    <a:pt x="404585" y="127379"/>
                    <a:pt x="405538" y="91184"/>
                  </a:cubicBezTo>
                  <a:cubicBezTo>
                    <a:pt x="405538" y="80707"/>
                    <a:pt x="415063" y="72134"/>
                    <a:pt x="425540" y="73087"/>
                  </a:cubicBezTo>
                  <a:cubicBezTo>
                    <a:pt x="436018" y="73087"/>
                    <a:pt x="444590" y="82612"/>
                    <a:pt x="443638" y="93089"/>
                  </a:cubicBezTo>
                  <a:cubicBezTo>
                    <a:pt x="441733" y="135952"/>
                    <a:pt x="465545" y="144524"/>
                    <a:pt x="503645" y="155954"/>
                  </a:cubicBezTo>
                  <a:cubicBezTo>
                    <a:pt x="509360" y="157859"/>
                    <a:pt x="515075" y="158812"/>
                    <a:pt x="520790" y="160717"/>
                  </a:cubicBezTo>
                  <a:cubicBezTo>
                    <a:pt x="531268" y="136904"/>
                    <a:pt x="552223" y="118807"/>
                    <a:pt x="577940" y="112139"/>
                  </a:cubicBezTo>
                  <a:cubicBezTo>
                    <a:pt x="588418" y="109282"/>
                    <a:pt x="598895" y="115949"/>
                    <a:pt x="601753" y="126427"/>
                  </a:cubicBezTo>
                  <a:cubicBezTo>
                    <a:pt x="604610" y="136904"/>
                    <a:pt x="597943" y="147382"/>
                    <a:pt x="587465" y="150239"/>
                  </a:cubicBezTo>
                  <a:cubicBezTo>
                    <a:pt x="574130" y="154049"/>
                    <a:pt x="563653" y="162622"/>
                    <a:pt x="556985" y="175004"/>
                  </a:cubicBezTo>
                  <a:cubicBezTo>
                    <a:pt x="556985" y="175957"/>
                    <a:pt x="556985" y="175957"/>
                    <a:pt x="556985" y="176909"/>
                  </a:cubicBezTo>
                  <a:cubicBezTo>
                    <a:pt x="586513" y="191197"/>
                    <a:pt x="612230" y="212152"/>
                    <a:pt x="625565" y="247394"/>
                  </a:cubicBezTo>
                  <a:cubicBezTo>
                    <a:pt x="628423" y="255014"/>
                    <a:pt x="630328" y="262634"/>
                    <a:pt x="631280" y="270254"/>
                  </a:cubicBezTo>
                  <a:cubicBezTo>
                    <a:pt x="635090" y="267397"/>
                    <a:pt x="637948" y="263587"/>
                    <a:pt x="639853" y="258824"/>
                  </a:cubicBezTo>
                  <a:cubicBezTo>
                    <a:pt x="646520" y="244537"/>
                    <a:pt x="651283" y="230249"/>
                    <a:pt x="653188" y="214057"/>
                  </a:cubicBezTo>
                  <a:cubicBezTo>
                    <a:pt x="654140" y="207389"/>
                    <a:pt x="658903" y="201674"/>
                    <a:pt x="665570" y="198817"/>
                  </a:cubicBezTo>
                  <a:cubicBezTo>
                    <a:pt x="672238" y="195959"/>
                    <a:pt x="679858" y="197864"/>
                    <a:pt x="684620" y="202627"/>
                  </a:cubicBezTo>
                  <a:cubicBezTo>
                    <a:pt x="690335" y="207389"/>
                    <a:pt x="692240" y="214057"/>
                    <a:pt x="690335" y="221677"/>
                  </a:cubicBezTo>
                  <a:cubicBezTo>
                    <a:pt x="687478" y="240727"/>
                    <a:pt x="681763" y="259777"/>
                    <a:pt x="672238" y="276922"/>
                  </a:cubicBezTo>
                  <a:cubicBezTo>
                    <a:pt x="662713" y="293114"/>
                    <a:pt x="648425" y="306449"/>
                    <a:pt x="631280" y="315974"/>
                  </a:cubicBezTo>
                  <a:cubicBezTo>
                    <a:pt x="629375" y="339787"/>
                    <a:pt x="621755" y="363599"/>
                    <a:pt x="610325" y="384554"/>
                  </a:cubicBezTo>
                  <a:cubicBezTo>
                    <a:pt x="622708" y="398842"/>
                    <a:pt x="636043" y="411224"/>
                    <a:pt x="652235" y="420749"/>
                  </a:cubicBezTo>
                  <a:cubicBezTo>
                    <a:pt x="657950" y="424559"/>
                    <a:pt x="661760" y="431227"/>
                    <a:pt x="661760" y="437894"/>
                  </a:cubicBezTo>
                  <a:cubicBezTo>
                    <a:pt x="661760" y="444562"/>
                    <a:pt x="657950" y="451229"/>
                    <a:pt x="651283" y="454087"/>
                  </a:cubicBezTo>
                  <a:cubicBezTo>
                    <a:pt x="644615" y="456944"/>
                    <a:pt x="637948" y="456944"/>
                    <a:pt x="632233" y="453134"/>
                  </a:cubicBezTo>
                  <a:cubicBezTo>
                    <a:pt x="616040" y="442657"/>
                    <a:pt x="600800" y="429322"/>
                    <a:pt x="587465" y="415034"/>
                  </a:cubicBezTo>
                  <a:cubicBezTo>
                    <a:pt x="577940" y="422654"/>
                    <a:pt x="567463" y="430274"/>
                    <a:pt x="557938" y="436942"/>
                  </a:cubicBezTo>
                  <a:cubicBezTo>
                    <a:pt x="541745" y="447419"/>
                    <a:pt x="527458" y="458849"/>
                    <a:pt x="515075" y="473137"/>
                  </a:cubicBezTo>
                  <a:cubicBezTo>
                    <a:pt x="499835" y="491234"/>
                    <a:pt x="500788" y="526477"/>
                    <a:pt x="500788" y="556957"/>
                  </a:cubicBezTo>
                  <a:cubicBezTo>
                    <a:pt x="500788" y="561719"/>
                    <a:pt x="500788" y="565529"/>
                    <a:pt x="500788" y="570292"/>
                  </a:cubicBezTo>
                  <a:lnTo>
                    <a:pt x="500788" y="656017"/>
                  </a:lnTo>
                  <a:lnTo>
                    <a:pt x="576988" y="656017"/>
                  </a:lnTo>
                  <a:cubicBezTo>
                    <a:pt x="576988" y="532192"/>
                    <a:pt x="636043" y="525524"/>
                    <a:pt x="643663" y="523619"/>
                  </a:cubicBezTo>
                  <a:cubicBezTo>
                    <a:pt x="668428" y="516952"/>
                    <a:pt x="734150" y="482662"/>
                    <a:pt x="748438" y="412177"/>
                  </a:cubicBezTo>
                  <a:cubicBezTo>
                    <a:pt x="750343" y="408367"/>
                    <a:pt x="749390" y="403604"/>
                    <a:pt x="749390" y="399794"/>
                  </a:cubicBezTo>
                  <a:cubicBezTo>
                    <a:pt x="748438" y="399794"/>
                    <a:pt x="748438" y="399794"/>
                    <a:pt x="749390" y="39979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 name="TextBox 1">
            <a:extLst>
              <a:ext uri="{FF2B5EF4-FFF2-40B4-BE49-F238E27FC236}">
                <a16:creationId xmlns:a16="http://schemas.microsoft.com/office/drawing/2014/main" id="{24C07F8B-5932-4B25-BF62-99AF84D324ED}"/>
              </a:ext>
            </a:extLst>
          </p:cNvPr>
          <p:cNvSpPr txBox="1"/>
          <p:nvPr/>
        </p:nvSpPr>
        <p:spPr>
          <a:xfrm>
            <a:off x="295386" y="6411444"/>
            <a:ext cx="2667598" cy="258532"/>
          </a:xfrm>
          <a:prstGeom prst="rect">
            <a:avLst/>
          </a:prstGeom>
          <a:noFill/>
        </p:spPr>
        <p:txBody>
          <a:bodyPr wrap="square" lIns="91440" tIns="45720" rIns="91440" bIns="45720" rtlCol="0">
            <a:spAutoFit/>
          </a:bodyPr>
          <a:lstStyle/>
          <a:p>
            <a:pPr algn="l">
              <a:lnSpc>
                <a:spcPct val="90000"/>
              </a:lnSpc>
              <a:spcAft>
                <a:spcPts val="600"/>
              </a:spcAft>
            </a:pPr>
            <a:r>
              <a:rPr lang="en-US" sz="1200">
                <a:gradFill>
                  <a:gsLst>
                    <a:gs pos="2917">
                      <a:schemeClr val="tx1"/>
                    </a:gs>
                    <a:gs pos="30000">
                      <a:schemeClr val="tx1"/>
                    </a:gs>
                  </a:gsLst>
                  <a:lin ang="5400000" scaled="0"/>
                </a:gradFill>
                <a:hlinkClick r:id="rId3"/>
              </a:rPr>
              <a:t>Azure Search Compete FAQ</a:t>
            </a:r>
            <a:endParaRPr lang="en-US" sz="12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532156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f93ed1d-2801-41f5-b085-8a9eb000d6ba&quot;,&quot;TimeStamp&quot;:&quot;2018-03-09T14:36:39.934296-08:00&quot;}"/>
</p:tagLst>
</file>

<file path=ppt/theme/theme1.xml><?xml version="1.0" encoding="utf-8"?>
<a:theme xmlns:a="http://schemas.openxmlformats.org/drawingml/2006/main" name="5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A09567B1-D444-4124-A573-EC4BB5565348}"/>
    </a:ext>
  </a:extLst>
</a:theme>
</file>

<file path=ppt/theme/theme10.xml><?xml version="1.0" encoding="utf-8"?>
<a:theme xmlns:a="http://schemas.openxmlformats.org/drawingml/2006/main" name="1_Office Theme">
  <a:themeElements>
    <a:clrScheme name="Microsoft Dynamics">
      <a:dk1>
        <a:sysClr val="windowText" lastClr="000000"/>
      </a:dk1>
      <a:lt1>
        <a:sysClr val="window" lastClr="FFFFFF"/>
      </a:lt1>
      <a:dk2>
        <a:srgbClr val="44546A"/>
      </a:dk2>
      <a:lt2>
        <a:srgbClr val="E7E6E6"/>
      </a:lt2>
      <a:accent1>
        <a:srgbClr val="002050"/>
      </a:accent1>
      <a:accent2>
        <a:srgbClr val="00188F"/>
      </a:accent2>
      <a:accent3>
        <a:srgbClr val="0078D7"/>
      </a:accent3>
      <a:accent4>
        <a:srgbClr val="00BCF2"/>
      </a:accent4>
      <a:accent5>
        <a:srgbClr val="000000"/>
      </a:accent5>
      <a:accent6>
        <a:srgbClr val="FFFFFF"/>
      </a:accent6>
      <a:hlink>
        <a:srgbClr val="00BCF2"/>
      </a:hlink>
      <a:folHlink>
        <a:srgbClr val="00BCF2"/>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nowledge Mining Seller Execution Guide" id="{ED18E9E0-0872-479D-BDE5-5E9807A5E6ED}" vid="{70D647BE-8B7B-47A2-BEEF-AA34E7165952}"/>
    </a:ext>
  </a:extLst>
</a:theme>
</file>

<file path=ppt/theme/theme11.xml><?xml version="1.0" encoding="utf-8"?>
<a:theme xmlns:a="http://schemas.openxmlformats.org/drawingml/2006/main" name="3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2B0040A7-5EBA-41F9-ABC6-736CE7F98D0B}"/>
    </a:ext>
  </a:extLst>
</a:theme>
</file>

<file path=ppt/theme/theme1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nowledge Mining Seller Execution Guide" id="{ED18E9E0-0872-479D-BDE5-5E9807A5E6ED}" vid="{4F945DDE-68CF-4D04-A20E-0ED43AD8F2B5}"/>
    </a:ext>
  </a:extLst>
</a:theme>
</file>

<file path=ppt/theme/theme13.xml><?xml version="1.0" encoding="utf-8"?>
<a:theme xmlns:a="http://schemas.openxmlformats.org/drawingml/2006/main" name="4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9B45CB65-2A2A-4997-85C6-C6CA3DE52273}"/>
    </a:ext>
  </a:extLst>
</a:theme>
</file>

<file path=ppt/theme/theme14.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6.xml><?xml version="1.0" encoding="utf-8"?>
<a:theme xmlns:a="http://schemas.openxmlformats.org/drawingml/2006/main" name="EY dark print">
  <a:themeElements>
    <a:clrScheme name="Custom 3">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5A6F0"/>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7.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ne Commercial Partner - Template option 1" id="{41313F86-BBDE-4687-B562-FA3D8CB44DFA}" vid="{AFD07445-316D-48DD-8E2A-6E3D756B2E03}"/>
    </a:ext>
  </a:extLst>
</a:theme>
</file>

<file path=ppt/theme/theme18.xml><?xml version="1.0" encoding="utf-8"?>
<a:theme xmlns:a="http://schemas.openxmlformats.org/drawingml/2006/main" name="2017 ICB">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D4BFA26F-FAAC-40EF-881D-54583FE295B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3_2018 Data &amp; AI _light version">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A23437BF-DC2E-4056-9B2C-93F958F6DBA5}"/>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D0892993-2C3D-4D13-B38B-11537FA3E82F}"/>
    </a:ext>
  </a:extLst>
</a:theme>
</file>

<file path=ppt/theme/theme5.xml><?xml version="1.0" encoding="utf-8"?>
<a:theme xmlns:a="http://schemas.openxmlformats.org/drawingml/2006/main" name="4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EBBD6A9C-3A94-47E0-B284-3A6A51AD80B8}"/>
    </a:ext>
  </a:extLst>
</a:theme>
</file>

<file path=ppt/theme/theme6.xml><?xml version="1.0" encoding="utf-8"?>
<a:theme xmlns:a="http://schemas.openxmlformats.org/drawingml/2006/main" name="3_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12700">
          <a:solidFill>
            <a:schemeClr val="tx2"/>
          </a:solid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7916F041-FEB9-4D11-9896-A4BDD53A0D9D}"/>
    </a:ext>
  </a:extLst>
</a:theme>
</file>

<file path=ppt/theme/theme7.xml><?xml version="1.0" encoding="utf-8"?>
<a:theme xmlns:a="http://schemas.openxmlformats.org/drawingml/2006/main" name="4_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12700">
          <a:solidFill>
            <a:schemeClr val="tx2"/>
          </a:solid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78AB28AC-75C3-44C3-A35B-9DAF394705E3}"/>
    </a:ext>
  </a:extLst>
</a:theme>
</file>

<file path=ppt/theme/theme8.xml><?xml version="1.0" encoding="utf-8"?>
<a:theme xmlns:a="http://schemas.openxmlformats.org/drawingml/2006/main" name="5_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12700">
          <a:solidFill>
            <a:schemeClr val="tx2"/>
          </a:solid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0273A0B1-E209-431D-85AC-09FE11059276}"/>
    </a:ext>
  </a:extLst>
</a:theme>
</file>

<file path=ppt/theme/theme9.xml><?xml version="1.0" encoding="utf-8"?>
<a:theme xmlns:a="http://schemas.openxmlformats.org/drawingml/2006/main" name="3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Knowledge Mining Seller Execution Guide" id="{ED18E9E0-0872-479D-BDE5-5E9807A5E6ED}" vid="{94FBBFFB-C5CC-4117-985E-CA0E9901059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3737ba99-4bf9-4c34-88b8-9869613277df" xsi:nil="true"/>
    <SharedWithUsers xmlns="73ca0715-0375-4521-9ead-332664f46b87">
      <UserInfo>
        <DisplayName>Sunny Amin</DisplayName>
        <AccountId>29179</AccountId>
        <AccountType/>
      </UserInfo>
      <UserInfo>
        <DisplayName>Michael Warren</DisplayName>
        <AccountId>29180</AccountId>
        <AccountType/>
      </UserInfo>
      <UserInfo>
        <DisplayName>Joao Bilhim</DisplayName>
        <AccountId>13057</AccountId>
        <AccountType/>
      </UserInfo>
      <UserInfo>
        <DisplayName>Ling Yi Chang</DisplayName>
        <AccountId>1739</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A50CA72FA5E3B4BAC644C551D5261E1" ma:contentTypeVersion="15" ma:contentTypeDescription="Create a new document." ma:contentTypeScope="" ma:versionID="860b098bfd0a97773f41e884b08b9000">
  <xsd:schema xmlns:xsd="http://www.w3.org/2001/XMLSchema" xmlns:xs="http://www.w3.org/2001/XMLSchema" xmlns:p="http://schemas.microsoft.com/office/2006/metadata/properties" xmlns:ns1="http://schemas.microsoft.com/sharepoint/v3" xmlns:ns2="3737ba99-4bf9-4c34-88b8-9869613277df" xmlns:ns3="73ca0715-0375-4521-9ead-332664f46b87" targetNamespace="http://schemas.microsoft.com/office/2006/metadata/properties" ma:root="true" ma:fieldsID="f089c865decaa61e6a679f24357fc1e9" ns1:_="" ns2:_="" ns3:_="">
    <xsd:import namespace="http://schemas.microsoft.com/sharepoint/v3"/>
    <xsd:import namespace="3737ba99-4bf9-4c34-88b8-9869613277df"/>
    <xsd:import namespace="73ca0715-0375-4521-9ead-332664f46b8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AutoTags" minOccurs="0"/>
                <xsd:element ref="ns2:MediaServiceOCR" minOccurs="0"/>
                <xsd:element ref="ns2:MediaServiceDateTaken" minOccurs="0"/>
                <xsd:element ref="ns2:MediaServiceEventHashCode" minOccurs="0"/>
                <xsd:element ref="ns2:MediaServiceGenerationTime"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737ba99-4bf9-4c34-88b8-9869613277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ca0715-0375-4521-9ead-332664f46b8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F89E69-8507-4721-BE21-193C0B991716}">
  <ds:schemaRefs>
    <ds:schemaRef ds:uri="http://schemas.microsoft.com/office/2006/metadata/properties"/>
    <ds:schemaRef ds:uri="http://schemas.microsoft.com/office/infopath/2007/PartnerControls"/>
    <ds:schemaRef ds:uri="http://schemas.microsoft.com/sharepoint/v3"/>
    <ds:schemaRef ds:uri="http://www.w3.org/XML/1998/namespace"/>
    <ds:schemaRef ds:uri="http://purl.org/dc/dcmitype/"/>
    <ds:schemaRef ds:uri="http://schemas.microsoft.com/office/2006/documentManagement/types"/>
    <ds:schemaRef ds:uri="http://purl.org/dc/elements/1.1/"/>
    <ds:schemaRef ds:uri="http://schemas.openxmlformats.org/package/2006/metadata/core-properties"/>
    <ds:schemaRef ds:uri="73ca0715-0375-4521-9ead-332664f46b87"/>
    <ds:schemaRef ds:uri="3737ba99-4bf9-4c34-88b8-9869613277df"/>
    <ds:schemaRef ds:uri="http://purl.org/dc/terms/"/>
  </ds:schemaRefs>
</ds:datastoreItem>
</file>

<file path=customXml/itemProps2.xml><?xml version="1.0" encoding="utf-8"?>
<ds:datastoreItem xmlns:ds="http://schemas.openxmlformats.org/officeDocument/2006/customXml" ds:itemID="{0547CA4A-8BE8-42C3-B5B2-3DB8DE4EE33C}">
  <ds:schemaRefs>
    <ds:schemaRef ds:uri="http://schemas.microsoft.com/sharepoint/v3/contenttype/forms"/>
  </ds:schemaRefs>
</ds:datastoreItem>
</file>

<file path=customXml/itemProps3.xml><?xml version="1.0" encoding="utf-8"?>
<ds:datastoreItem xmlns:ds="http://schemas.openxmlformats.org/officeDocument/2006/customXml" ds:itemID="{949CEC53-5FF7-4EBF-9734-E64525CA71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737ba99-4bf9-4c34-88b8-9869613277df"/>
    <ds:schemaRef ds:uri="73ca0715-0375-4521-9ead-332664f46b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000</Words>
  <Application>Microsoft Office PowerPoint</Application>
  <PresentationFormat>Widescreen</PresentationFormat>
  <Paragraphs>1059</Paragraphs>
  <Slides>54</Slides>
  <Notes>36</Notes>
  <HiddenSlides>1</HiddenSlides>
  <MMClips>0</MMClips>
  <ScaleCrop>false</ScaleCrop>
  <HeadingPairs>
    <vt:vector size="8" baseType="variant">
      <vt:variant>
        <vt:lpstr>Fonts Used</vt:lpstr>
      </vt:variant>
      <vt:variant>
        <vt:i4>17</vt:i4>
      </vt:variant>
      <vt:variant>
        <vt:lpstr>Theme</vt:lpstr>
      </vt:variant>
      <vt:variant>
        <vt:i4>19</vt:i4>
      </vt:variant>
      <vt:variant>
        <vt:lpstr>Embedded OLE Servers</vt:lpstr>
      </vt:variant>
      <vt:variant>
        <vt:i4>1</vt:i4>
      </vt:variant>
      <vt:variant>
        <vt:lpstr>Slide Titles</vt:lpstr>
      </vt:variant>
      <vt:variant>
        <vt:i4>54</vt:i4>
      </vt:variant>
    </vt:vector>
  </HeadingPairs>
  <TitlesOfParts>
    <vt:vector size="91" baseType="lpstr">
      <vt:lpstr>Arial</vt:lpstr>
      <vt:lpstr>Arial,Sans-Serif</vt:lpstr>
      <vt:lpstr>Calibri</vt:lpstr>
      <vt:lpstr>Calibri Light</vt:lpstr>
      <vt:lpstr>Consolas</vt:lpstr>
      <vt:lpstr>Corbel</vt:lpstr>
      <vt:lpstr>Merriweather Sans</vt:lpstr>
      <vt:lpstr>Segoe UI</vt:lpstr>
      <vt:lpstr>Segoe UI Emoji</vt:lpstr>
      <vt:lpstr>Segoe UI Light</vt:lpstr>
      <vt:lpstr>Segoe UI Semibold</vt:lpstr>
      <vt:lpstr>Segoe UI Semilight</vt:lpstr>
      <vt:lpstr>SegoeUI</vt:lpstr>
      <vt:lpstr>Source Sans Pro Light</vt:lpstr>
      <vt:lpstr>Source Sans Pro SemiBold</vt:lpstr>
      <vt:lpstr>Times New Roman</vt:lpstr>
      <vt:lpstr>Wingdings</vt:lpstr>
      <vt:lpstr>5_ML</vt:lpstr>
      <vt:lpstr>7_ML</vt:lpstr>
      <vt:lpstr>23_2018 Data &amp; AI _light version</vt:lpstr>
      <vt:lpstr>2_WHITE TEMPLATE</vt:lpstr>
      <vt:lpstr>4_ML</vt:lpstr>
      <vt:lpstr>3_SQL Server 2017</vt:lpstr>
      <vt:lpstr>4_SQL Server 2017</vt:lpstr>
      <vt:lpstr>5_SQL Server 2017</vt:lpstr>
      <vt:lpstr>3_ML</vt:lpstr>
      <vt:lpstr>1_Office Theme</vt:lpstr>
      <vt:lpstr>3_HEERON</vt:lpstr>
      <vt:lpstr>2_Office Theme</vt:lpstr>
      <vt:lpstr>4_HEERON</vt:lpstr>
      <vt:lpstr>3_WHITE TEMPLATE</vt:lpstr>
      <vt:lpstr>1_WHITE TEMPLATE</vt:lpstr>
      <vt:lpstr>EY dark print</vt:lpstr>
      <vt:lpstr>WHITE TEMPLATE</vt:lpstr>
      <vt:lpstr>2017 ICB</vt:lpstr>
      <vt:lpstr>Office Theme</vt:lpstr>
      <vt:lpstr>think-cell Slide</vt:lpstr>
      <vt:lpstr>Knowledge Mining With Azure Search &amp; Cognitive Services </vt:lpstr>
      <vt:lpstr>PowerPoint Presentation</vt:lpstr>
      <vt:lpstr>Knowledge Mining Opportunity</vt:lpstr>
      <vt:lpstr>Turning DATA into KNOWLEDGE with AI powered search. </vt:lpstr>
      <vt:lpstr>PowerPoint Presentation</vt:lpstr>
      <vt:lpstr>PowerPoint Presentation</vt:lpstr>
      <vt:lpstr>Knowledge Mining Growth and Execu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ers &amp; Case Studies</vt:lpstr>
      <vt:lpstr>Top Consumers (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ount Targeting</vt:lpstr>
      <vt:lpstr>Research and Targeting</vt:lpstr>
      <vt:lpstr>Customer Conversation Guide</vt:lpstr>
      <vt:lpstr>Account Qualification and Key Questions</vt:lpstr>
      <vt:lpstr>Working With Partners</vt:lpstr>
      <vt:lpstr>Engage Early with Partners</vt:lpstr>
      <vt:lpstr>PowerPoint Presentation</vt:lpstr>
      <vt:lpstr>PowerPoint Presentation</vt:lpstr>
      <vt:lpstr>PowerPoint Presentation</vt:lpstr>
      <vt:lpstr>PowerPoint Presentation</vt:lpstr>
      <vt:lpstr>Key SI Partner: Solution Benefits and Value</vt:lpstr>
      <vt:lpstr>PowerPoint Presentation</vt:lpstr>
      <vt:lpstr>PowerPoint Presentation</vt:lpstr>
      <vt:lpstr>PowerPoint Presentation</vt:lpstr>
      <vt:lpstr>Current Partner Ecosystem</vt:lpstr>
      <vt:lpstr>PowerPoint Presentation</vt:lpstr>
      <vt:lpstr>Engagement &amp; Execution Gu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roduct Update Roadmap</vt:lpstr>
      <vt:lpstr>Region Availability</vt:lpstr>
      <vt:lpstr>Language Support Across Capabilities</vt:lpstr>
      <vt:lpstr>Product Differentiation</vt:lpstr>
      <vt:lpstr>FY19 Data &amp; AI – Offer Wal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nowledge Mining With Azure Search &amp; Cognitive Services </dc:title>
  <dc:creator>Lia Taylor</dc:creator>
  <cp:lastModifiedBy>James Byun</cp:lastModifiedBy>
  <cp:revision>1</cp:revision>
  <dcterms:created xsi:type="dcterms:W3CDTF">2018-12-09T19:13:43Z</dcterms:created>
  <dcterms:modified xsi:type="dcterms:W3CDTF">2019-12-02T13:0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50CA72FA5E3B4BAC644C551D5261E1</vt:lpwstr>
  </property>
  <property fmtid="{D5CDD505-2E9C-101B-9397-08002B2CF9AE}" pid="3" name="AuthorIds_UIVersion_128000">
    <vt:lpwstr>8383</vt:lpwstr>
  </property>
  <property fmtid="{D5CDD505-2E9C-101B-9397-08002B2CF9AE}" pid="4" name="AuthorIds_UIVersion_130560">
    <vt:lpwstr>6</vt:lpwstr>
  </property>
</Properties>
</file>